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2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3.xml" ContentType="application/vnd.openxmlformats-officedocument.theme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5.xml" ContentType="application/vnd.openxmlformats-officedocument.theme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theme/theme9.xml" ContentType="application/vnd.openxmlformats-officedocument.theme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theme/theme11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theme/theme13.xml" ContentType="application/vnd.openxmlformats-officedocument.theme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theme/theme14.xml" ContentType="application/vnd.openxmlformats-officedocument.theme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theme/theme15.xml" ContentType="application/vnd.openxmlformats-officedocument.theme+xml"/>
  <Override PartName="/ppt/tags/tag10.xml" ContentType="application/vnd.openxmlformats-officedocument.presentationml.tags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theme/theme16.xml" ContentType="application/vnd.openxmlformats-officedocument.theme+xml"/>
  <Override PartName="/ppt/tags/tag11.xml" ContentType="application/vnd.openxmlformats-officedocument.presentationml.tags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theme/theme18.xml" ContentType="application/vnd.openxmlformats-officedocument.theme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theme/theme20.xml" ContentType="application/vnd.openxmlformats-officedocument.theme+xml"/>
  <Override PartName="/ppt/tags/tag14.xml" ContentType="application/vnd.openxmlformats-officedocument.presentationml.tags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theme/theme21.xml" ContentType="application/vnd.openxmlformats-officedocument.theme+xml"/>
  <Override PartName="/ppt/tags/tag15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55" r:id="rId5"/>
    <p:sldMasterId id="2147483826" r:id="rId6"/>
    <p:sldMasterId id="2147485494" r:id="rId7"/>
    <p:sldMasterId id="2147486198" r:id="rId8"/>
    <p:sldMasterId id="2147486333" r:id="rId9"/>
    <p:sldMasterId id="2147486537" r:id="rId10"/>
    <p:sldMasterId id="2147486609" r:id="rId11"/>
    <p:sldMasterId id="2147486690" r:id="rId12"/>
    <p:sldMasterId id="2147486723" r:id="rId13"/>
    <p:sldMasterId id="2147486795" r:id="rId14"/>
    <p:sldMasterId id="2147486868" r:id="rId15"/>
    <p:sldMasterId id="2147486939" r:id="rId16"/>
    <p:sldMasterId id="2147486951" r:id="rId17"/>
    <p:sldMasterId id="2147487023" r:id="rId18"/>
    <p:sldMasterId id="2147487322" r:id="rId19"/>
    <p:sldMasterId id="2147487394" r:id="rId20"/>
    <p:sldMasterId id="2147487690" r:id="rId21"/>
    <p:sldMasterId id="2147487910" r:id="rId22"/>
    <p:sldMasterId id="2147488055" r:id="rId23"/>
    <p:sldMasterId id="2147488198" r:id="rId24"/>
  </p:sldMasterIdLst>
  <p:notesMasterIdLst>
    <p:notesMasterId r:id="rId46"/>
  </p:notesMasterIdLst>
  <p:handoutMasterIdLst>
    <p:handoutMasterId r:id="rId47"/>
  </p:handoutMasterIdLst>
  <p:sldIdLst>
    <p:sldId id="282" r:id="rId25"/>
    <p:sldId id="1276" r:id="rId26"/>
    <p:sldId id="267" r:id="rId27"/>
    <p:sldId id="264" r:id="rId28"/>
    <p:sldId id="262" r:id="rId29"/>
    <p:sldId id="275" r:id="rId30"/>
    <p:sldId id="286" r:id="rId31"/>
    <p:sldId id="287" r:id="rId32"/>
    <p:sldId id="280" r:id="rId33"/>
    <p:sldId id="281" r:id="rId34"/>
    <p:sldId id="288" r:id="rId35"/>
    <p:sldId id="284" r:id="rId36"/>
    <p:sldId id="278" r:id="rId37"/>
    <p:sldId id="289" r:id="rId38"/>
    <p:sldId id="283" r:id="rId39"/>
    <p:sldId id="263" r:id="rId40"/>
    <p:sldId id="291" r:id="rId41"/>
    <p:sldId id="305" r:id="rId42"/>
    <p:sldId id="2147483646" r:id="rId43"/>
    <p:sldId id="258" r:id="rId44"/>
    <p:sldId id="257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F29CF1F-49A9-8553-BF8D-7E1CAFFCB8AC}" name="Kauschus, Melanie (SI BP S MK ACD)" initials="KM(BSMA" userId="S::melanie.kauschus@siemens.com::9c18d49b-0b37-44e4-8f8d-5e255e91eb12" providerId="AD"/>
  <p188:author id="{83149DBD-A42E-5C76-6BED-3955818DEB9F}" name="Oberbossel, Kira (SI BP AUT BA)" initials="OK(BAB" userId="S::kira.oberbossel@siemens.com::52cc4ddd-7b32-49f0-b196-d8ae0ee613d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  <p:cmAuthor id="2" name="Autor" initials="A" lastIdx="34" clrIdx="1"/>
  <p:cmAuthor id="3" name="Kauschus, Melanie (SI BP S MK ACD)" initials="KM(BSMA" lastIdx="21" clrIdx="2">
    <p:extLst>
      <p:ext uri="{19B8F6BF-5375-455C-9EA6-DF929625EA0E}">
        <p15:presenceInfo xmlns:p15="http://schemas.microsoft.com/office/powerpoint/2012/main" userId="S::melanie.kauschus@siemens.com::9c18d49b-0b37-44e4-8f8d-5e255e91eb12" providerId="AD"/>
      </p:ext>
    </p:extLst>
  </p:cmAuthor>
  <p:cmAuthor id="4" name="Hüppi, Hans (SI BP S MK ACD)" initials="HH(BSMA" lastIdx="15" clrIdx="3">
    <p:extLst>
      <p:ext uri="{19B8F6BF-5375-455C-9EA6-DF929625EA0E}">
        <p15:presenceInfo xmlns:p15="http://schemas.microsoft.com/office/powerpoint/2012/main" userId="S::hans.hueppi@siemens.com::1d7f3f27-815e-40c4-a0dd-a074668d099a" providerId="AD"/>
      </p:ext>
    </p:extLst>
  </p:cmAuthor>
  <p:cmAuthor id="5" name="Surjani, Preeti (SI BP S MK ACD)" initials="SA" lastIdx="7" clrIdx="4">
    <p:extLst>
      <p:ext uri="{19B8F6BF-5375-455C-9EA6-DF929625EA0E}">
        <p15:presenceInfo xmlns:p15="http://schemas.microsoft.com/office/powerpoint/2012/main" userId="S::preeti.surjani@siemens.com::e54b0f4f-e65b-45f7-8bee-d459065a405b" providerId="AD"/>
      </p:ext>
    </p:extLst>
  </p:cmAuthor>
  <p:cmAuthor id="6" name="Oberbossel, Kira (SI BP AUT BA)" initials="OK(BAB" lastIdx="5" clrIdx="5">
    <p:extLst>
      <p:ext uri="{19B8F6BF-5375-455C-9EA6-DF929625EA0E}">
        <p15:presenceInfo xmlns:p15="http://schemas.microsoft.com/office/powerpoint/2012/main" userId="S::kira.oberbossel@siemens.com::52cc4ddd-7b32-49f0-b196-d8ae0ee613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53"/>
    <a:srgbClr val="009999"/>
    <a:srgbClr val="0065BD"/>
    <a:srgbClr val="1C2F67"/>
    <a:srgbClr val="00FFB9"/>
    <a:srgbClr val="26314C"/>
    <a:srgbClr val="EB1A39"/>
    <a:srgbClr val="00A5D5"/>
    <a:srgbClr val="F3F3F0"/>
    <a:srgbClr val="00C1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90381" autoAdjust="0"/>
  </p:normalViewPr>
  <p:slideViewPr>
    <p:cSldViewPr snapToGrid="0">
      <p:cViewPr varScale="1">
        <p:scale>
          <a:sx n="74" d="100"/>
          <a:sy n="74" d="100"/>
        </p:scale>
        <p:origin x="979" y="77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2281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2.xml"/><Relationship Id="rId39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0.xml"/><Relationship Id="rId42" Type="http://schemas.openxmlformats.org/officeDocument/2006/relationships/slide" Target="slides/slide18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5.xml"/><Relationship Id="rId41" Type="http://schemas.openxmlformats.org/officeDocument/2006/relationships/slide" Target="slides/slide17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slide" Target="slides/slide16.xml"/><Relationship Id="rId45" Type="http://schemas.openxmlformats.org/officeDocument/2006/relationships/slide" Target="slides/slide21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49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7.xml"/><Relationship Id="rId44" Type="http://schemas.openxmlformats.org/officeDocument/2006/relationships/slide" Target="slides/slide2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slide" Target="slides/slide19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3/25/2026</a:t>
            </a:fld>
            <a:endParaRPr lang="en-US" sz="105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</a:rPr>
              <a:t>Hand out</a:t>
            </a:r>
            <a:r>
              <a:rPr lang="en-US" sz="105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3/25/2026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050" b="0" i="0" u="none" strike="noStrike" kern="0" cap="none" spc="0" normalizeH="0" baseline="0" noProof="0" smtClean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413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46E0B-4A37-A96A-C8D6-3283D129D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E0FC6A-F658-EB70-34D8-03B212A8A7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426FB7-1AE7-CB09-806E-396FC4AC63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E15DE-3E8D-6E9E-C605-DA8FE09725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6385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0B4C6D-7297-F52D-2A3D-4F387EA89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7AF4FD-6CB4-5B34-E24D-106CAC8105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EED20B-B54F-4AC3-6D15-8F8C6A7905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9B848D-7E3F-0CEB-EC18-66EA9FA4D4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4555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82D2B7-2779-0DB3-74F0-56763B6D4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5B930C-2790-A1FA-DF6D-9750CF1FF3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02F2BA-2A1A-B32E-8219-05DAEA59AD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6B45EC-EDF0-99DF-A9F7-AD7B3F0D40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2354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27D41C-96E9-61E9-15D1-A9C0B8DF5E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CF6F27-6130-4E24-10F4-9FD9AC01A9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59B9BB-F2D7-35C4-B565-2B5FC10917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2EB128-F5F3-2468-107E-007D3BEFB5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4104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1196B1-93D3-6A94-B148-1D7FC3534C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01753B4-7648-5986-58A8-8D8868D308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E493A464-2352-BB2A-1C59-C0022E1FF1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03C7A92-A0CE-5701-8EAC-0CB17374A3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8375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</a:rPr>
              <a:t>Notes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fld id="{E76C657F-0E32-4130-ADDA-66B81138A76A}" type="slidenum">
              <a:rPr kumimoji="0" lang="en-US" sz="1050" b="0" i="0" u="none" strike="noStrike" kern="0" cap="none" spc="0" normalizeH="0" baseline="0" noProof="0" smtClean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t>17</a:t>
            </a:fld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002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476442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697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290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Notizzettel</a:t>
            </a:r>
            <a:r>
              <a:rPr lang="de-DE"/>
              <a:t> </a:t>
            </a:r>
            <a:fld id="{E76C657F-0E32-4130-ADDA-66B81138A76A}" type="slidenum">
              <a:rPr lang="de-DE" smtClean="0">
                <a:solidFill>
                  <a:schemeClr val="tx2"/>
                </a:solidFill>
              </a:rPr>
              <a:pPr/>
              <a:t>2</a:t>
            </a:fld>
            <a:endParaRPr lang="de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125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3F81A9-38B5-FB56-8F43-BE3C40282F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E9417ED-56F1-0A2E-1B62-B505B16711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5741A4A-4A45-754F-AECA-93FB50303F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A60233-CDDC-32AC-3201-C6DFE38A29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Notizzettel</a:t>
            </a:r>
            <a:r>
              <a:rPr lang="de-DE"/>
              <a:t> </a:t>
            </a:r>
            <a:fld id="{E76C657F-0E32-4130-ADDA-66B81138A76A}" type="slidenum">
              <a:rPr lang="de-DE" smtClean="0">
                <a:solidFill>
                  <a:schemeClr val="tx2"/>
                </a:solidFill>
              </a:rPr>
              <a:pPr/>
              <a:t>3</a:t>
            </a:fld>
            <a:endParaRPr lang="de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819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98DA04-3954-5352-8791-DAB5A85C6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E860886-91B6-449F-C946-F38184550B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E68805D-1A78-569D-E530-50A350B5DF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8DF5AF-1999-FA96-928F-30DCD0E2F5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Notizzettel</a:t>
            </a:r>
            <a:r>
              <a:rPr lang="de-DE"/>
              <a:t> </a:t>
            </a:r>
            <a:fld id="{E76C657F-0E32-4130-ADDA-66B81138A76A}" type="slidenum">
              <a:rPr lang="de-DE" smtClean="0">
                <a:solidFill>
                  <a:schemeClr val="tx2"/>
                </a:solidFill>
              </a:rPr>
              <a:pPr/>
              <a:t>5</a:t>
            </a:fld>
            <a:endParaRPr lang="de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972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1505A-E226-B76E-C1B9-7B5E613E4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4BC7898-C6A2-4397-B500-F807D919F1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E384C8E-BF30-2082-AF21-304D12EFF0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B7B614-268E-1F4B-9DBA-DE5EF77D16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Notizzettel</a:t>
            </a:r>
            <a:r>
              <a:rPr lang="de-DE"/>
              <a:t> </a:t>
            </a:r>
            <a:fld id="{E76C657F-0E32-4130-ADDA-66B81138A76A}" type="slidenum">
              <a:rPr lang="de-DE" smtClean="0">
                <a:solidFill>
                  <a:schemeClr val="tx2"/>
                </a:solidFill>
              </a:rPr>
              <a:pPr/>
              <a:t>7</a:t>
            </a:fld>
            <a:endParaRPr lang="de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8037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304DCF-BC49-78E5-3F4B-2ECDB3B8E4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0607E8D-C7F8-89A6-7D23-38A1BC84EC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56EDB13-B062-EB8B-7644-0B8D7FD3D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ED2C4B-3B1D-5804-EC99-8901250EF1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Notizzettel</a:t>
            </a:r>
            <a:r>
              <a:rPr lang="de-DE"/>
              <a:t> </a:t>
            </a:r>
            <a:fld id="{E76C657F-0E32-4130-ADDA-66B81138A76A}" type="slidenum">
              <a:rPr lang="de-DE" smtClean="0">
                <a:solidFill>
                  <a:schemeClr val="tx2"/>
                </a:solidFill>
              </a:rPr>
              <a:pPr/>
              <a:t>8</a:t>
            </a:fld>
            <a:endParaRPr lang="de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0963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69F34-E5A1-1002-88AE-0EB3B669F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9C8272-F46D-923B-D750-CFF5B10B73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2AA09A-EC4C-FB81-C4A6-CB7EF895DC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619E3D-0A3F-AF75-25F6-2D994ADBA3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299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679A33-4178-62B8-1BA9-E96FE29A54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B6E050-05EC-DAC0-B376-05E7040B4A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E2763E-5CE3-71FC-1CB6-4C8143F29C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198E9B-EA15-864B-8D3B-0F742D0C0F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0303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340DD5-4839-6A55-A900-38CA4235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F722F6-6E2B-576E-F8B2-CD67971408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393B20-1186-FF32-069B-A55265173D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C82438-9D4A-0C30-ECF1-DB2BE631FC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526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0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0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0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10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0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.svg"/></Relationships>
</file>

<file path=ppt/slideLayouts/_rels/slideLayout10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5.svg"/></Relationships>
</file>

<file path=ppt/slideLayouts/_rels/slideLayout10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0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1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5.svg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1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8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8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8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9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9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9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0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0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0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1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1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1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2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2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2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3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3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3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1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5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5.svg"/></Relationships>
</file>

<file path=ppt/slideLayouts/_rels/slideLayout1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5.svg"/></Relationships>
</file>

<file path=ppt/slideLayouts/_rels/slideLayout1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1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.svg"/></Relationships>
</file>

<file path=ppt/slideLayouts/_rels/slideLayout1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.jpeg"/></Relationships>
</file>

<file path=ppt/slideLayouts/_rels/slideLayout1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67.jpeg"/></Relationships>
</file>

<file path=ppt/slideLayouts/_rels/slideLayout1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68.jpe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7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7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7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5.svg"/></Relationships>
</file>

<file path=ppt/slideLayouts/_rels/slideLayout1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.jpeg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7.jpeg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8.jpeg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.svg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8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3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3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5.svg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backgroun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952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393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6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422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521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650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277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40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128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GB"/>
              <a:t>Click icon to add tabl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135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463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793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194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00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767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507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217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Deep Blue 80pt (X three images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53D9847C-9116-401A-9CC5-FC0C4B2B67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1163" y="1414464"/>
            <a:ext cx="6338063" cy="2462213"/>
          </a:xfrm>
          <a:noFill/>
        </p:spPr>
        <p:txBody>
          <a:bodyPr wrap="square"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Master title style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6336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Unrestricted | © Siemens 2023 | Smart Infrastructure | July 2023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526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9" pos="4250">
          <p15:clr>
            <a:srgbClr val="65CEFF"/>
          </p15:clr>
        </p15:guide>
      </p15:sldGuideLst>
    </p:ext>
  </p:extLs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776659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2817567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4112648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3916253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335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540482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4040363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1326909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705714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</p:spTree>
    <p:extLst>
      <p:ext uri="{BB962C8B-B14F-4D97-AF65-F5344CB8AC3E}">
        <p14:creationId xmlns:p14="http://schemas.microsoft.com/office/powerpoint/2010/main" val="317182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3 | Smart Infrastructure | July 2023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082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3 | Smart Infrastructure | July 2023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539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490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96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255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834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996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197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369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880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4471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318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686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614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458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525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412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230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396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170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87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967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105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815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433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668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47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894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928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3 | Smart Infrastructure | July 2023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414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18213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726064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49659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957815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12983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36755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865503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0275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1163" y="1234800"/>
            <a:ext cx="9863237" cy="116252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390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556083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7727083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650622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389891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7077802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889485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222113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725749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874817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526524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75489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696810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896546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324778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949268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644068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667146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18431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61892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070702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015189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34950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4000068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740728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345657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670044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010887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27487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6511543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136479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4213830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730673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176614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987253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1079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8324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81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772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761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88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490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640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615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248655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10144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771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44553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98093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934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20803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958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658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067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9772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62039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96548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08359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68486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221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80463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40492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0282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283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65349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031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53704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6810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097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836124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824219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646081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9900108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65935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696048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81731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948380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149041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422143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282261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504634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895265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369179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43620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495574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883361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65178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89688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82438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491704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34779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976809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36270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576791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187645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57369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66113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4208488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16216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399989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8729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560620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77776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822181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381246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65769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020180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713279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4176871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350740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79813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4160757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515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839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523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09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884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432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965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996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236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25270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99552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927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19696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78533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839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26158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24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332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6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51500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761634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34891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19499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9970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47717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92858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89555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313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622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41077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316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9703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6375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733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61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CD6ADD99-F105-42E7-A7BC-A5E56AC59B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nrestricted | © Siemens 2025 | SI B SW​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CF8521F-5D9B-4227-89E4-533A92977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890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17531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14270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331067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7834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51274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8535876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54303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17951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543453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743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86734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855100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5440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8297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92704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522610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086811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65531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30167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69591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965429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92195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097231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11852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4547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563523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97006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87442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35486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99036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51928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040627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673243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28247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42374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8445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84437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025608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65665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138503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5374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392186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016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623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856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266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878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207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611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6051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79688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374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088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256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371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616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363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129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700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590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38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11971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996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110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149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231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211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458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13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60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692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8039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84598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669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970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714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688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84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>
            <a:extLst>
              <a:ext uri="{FF2B5EF4-FFF2-40B4-BE49-F238E27FC236}">
                <a16:creationId xmlns:a16="http://schemas.microsoft.com/office/drawing/2014/main" id="{AE83F1C5-95B7-47C3-B837-8191D1E397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20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>
            <a:extLst>
              <a:ext uri="{FF2B5EF4-FFF2-40B4-BE49-F238E27FC236}">
                <a16:creationId xmlns:a16="http://schemas.microsoft.com/office/drawing/2014/main" id="{E2F7C1AE-8376-445B-98CD-DBE6E96E38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60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8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93378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6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0315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4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1716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60136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8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04037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6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75124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4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41861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8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44579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6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87231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4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93978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8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67265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6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5500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4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7867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8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127826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60854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6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515161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4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05567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8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77296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6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94134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4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525046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8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1197412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6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218706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4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0271010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8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9038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6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8401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80213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40pt (motif 2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871328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8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443929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6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056332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40pt (motif 3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27368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514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>
            <a:extLst>
              <a:ext uri="{FF2B5EF4-FFF2-40B4-BE49-F238E27FC236}">
                <a16:creationId xmlns:a16="http://schemas.microsoft.com/office/drawing/2014/main" id="{AE83F1C5-95B7-47C3-B837-8191D1E397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777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>
            <a:extLst>
              <a:ext uri="{FF2B5EF4-FFF2-40B4-BE49-F238E27FC236}">
                <a16:creationId xmlns:a16="http://schemas.microsoft.com/office/drawing/2014/main" id="{E2F7C1AE-8376-445B-98CD-DBE6E96E38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254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419724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4025171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678837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639299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647469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813202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648250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723842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2991230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0186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4164852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1455344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480761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411385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798626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989668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2540815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97123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8721497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006421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4176338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41820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8785293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840505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158661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4533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22009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309142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927263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133233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641301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4063360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316220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562802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856771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2644280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78136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131621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07925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848265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473609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3016970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</p:spTree>
    <p:extLst>
      <p:ext uri="{BB962C8B-B14F-4D97-AF65-F5344CB8AC3E}">
        <p14:creationId xmlns:p14="http://schemas.microsoft.com/office/powerpoint/2010/main" val="1338675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| SW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157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| SW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97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200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14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24761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624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979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81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1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327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560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87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095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722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461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83352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521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379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103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784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925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480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212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756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06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796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48051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844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5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852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393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87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117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| SW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60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163027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423055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069338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528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59488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619197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0389538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3256371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3297823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35270750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619675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234838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28974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4041288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002453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061223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850094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3169481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472168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548470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412507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408562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167639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626683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053117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149759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218074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8208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4229400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3118232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9300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737892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4964232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592347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3686452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1165463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66755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299210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148756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09482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4057135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2896944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</p:spTree>
    <p:extLst>
      <p:ext uri="{BB962C8B-B14F-4D97-AF65-F5344CB8AC3E}">
        <p14:creationId xmlns:p14="http://schemas.microsoft.com/office/powerpoint/2010/main" val="1032359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mart Infrastructure – Buildings – Software 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207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mart Infrastructure – Buildings – Software 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269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166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30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10590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313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612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14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264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423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287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911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12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424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989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69018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423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684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432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96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553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30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303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527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240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929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622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 err="1"/>
              <a:t>Tabelle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Symbol </a:t>
            </a:r>
            <a:r>
              <a:rPr lang="en-US" err="1"/>
              <a:t>hinzufügen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651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541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1805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710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003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030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6744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D8CD4F08-A99E-1108-3BA1-DC6DBC6A0B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Siemens Logo">
            <a:extLst>
              <a:ext uri="{FF2B5EF4-FFF2-40B4-BE49-F238E27FC236}">
                <a16:creationId xmlns:a16="http://schemas.microsoft.com/office/drawing/2014/main" id="{50BE90F5-410B-F381-7D04-D0C4C00752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016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9DCC3CF8-D7A2-9B45-7E2E-A0EA09362E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Siemens Logo">
            <a:extLst>
              <a:ext uri="{FF2B5EF4-FFF2-40B4-BE49-F238E27FC236}">
                <a16:creationId xmlns:a16="http://schemas.microsoft.com/office/drawing/2014/main" id="{91F71494-B6EA-390D-2C0F-9DD362B08D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3270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92E30E2B-9542-0111-7768-C89C712D3D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6" name="Siemens Logo">
            <a:extLst>
              <a:ext uri="{FF2B5EF4-FFF2-40B4-BE49-F238E27FC236}">
                <a16:creationId xmlns:a16="http://schemas.microsoft.com/office/drawing/2014/main" id="{08C48FC6-E193-6F31-8799-53BF2E9B85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483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0620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862109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669999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941208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2622021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937766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944870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2303550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2846435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558787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3032152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611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4261114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3342711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9122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4149988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2587449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604409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3680626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352080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920905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234923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972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316672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2067320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163812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740717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098277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3810568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292087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CD3828F2-0295-A551-4970-E9102165EC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701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EE092F3B-1015-CBEF-BF88-B411700158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14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B82E4E1F-AC2D-3AB8-2B96-04E4A0F2A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076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924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933276AF-A7FA-9D79-C565-19C84BE91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530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32ACA939-0470-6205-B4FC-EA0100C23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476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F3871A1C-1F0A-0D84-B11E-0A23F25B5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28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08863469-D22D-3A70-87C7-F4B82D54FC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29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04CE35DF-5EF0-E5CD-E1F4-334AF712AB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620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CD7CF124-FFDE-7280-D0CB-964FA16BDF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40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5DD813E7-00D1-F95F-5B83-133816F090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253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F9A1C312-BB5D-BB47-071C-3C6B7BEB0F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666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95ECD43B-4AB4-61FB-8270-CD4D409051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700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936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339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330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705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C1493874-C24C-0EEE-7B6B-0190249533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A0BB7EBD-129A-365F-6E68-A91EC9DFB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943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864A92F6-BC86-CA4C-7E58-7D7425825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752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126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203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>
            <a:extLst>
              <a:ext uri="{FF2B5EF4-FFF2-40B4-BE49-F238E27FC236}">
                <a16:creationId xmlns:a16="http://schemas.microsoft.com/office/drawing/2014/main" id="{ADBD4CB8-49BB-DD74-67A3-895D43DCB3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568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>
            <a:extLst>
              <a:ext uri="{FF2B5EF4-FFF2-40B4-BE49-F238E27FC236}">
                <a16:creationId xmlns:a16="http://schemas.microsoft.com/office/drawing/2014/main" id="{5637A5E2-F2CF-1FDB-0EA2-172CC16CD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51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249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64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36584E30-598F-53C6-84B9-BBF43B2027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166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>
            <a:extLst>
              <a:ext uri="{FF2B5EF4-FFF2-40B4-BE49-F238E27FC236}">
                <a16:creationId xmlns:a16="http://schemas.microsoft.com/office/drawing/2014/main" id="{F2A8CD1C-3278-7796-F714-21BA78ABD0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815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>
            <a:extLst>
              <a:ext uri="{FF2B5EF4-FFF2-40B4-BE49-F238E27FC236}">
                <a16:creationId xmlns:a16="http://schemas.microsoft.com/office/drawing/2014/main" id="{15957C9D-443B-2B2C-BA28-F894645936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14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890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15DAAA44-CC02-89F8-CE99-B1F0FF622E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885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C8628F8A-7E13-D888-CA15-84D275C71D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71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0A403127-99CB-34A9-5FC2-525C45FD1A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5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963C26AA-5C0D-B02A-6592-D51E8613F4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962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D4247C80-6296-C6BC-3D64-4B7BCE62B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624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AD8E1FE4-3103-69F2-FD7C-12CAA29EB2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810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94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F1C312C3-7A91-36BA-C4CC-0455260363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118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4EFAB62C-A68C-0C9D-6C98-435BF89B8B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732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733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06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28C60D0D-1AF6-C7C7-DBDF-81C4D5EF12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663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8053FC36-23AB-B8AB-7BB8-B28694DABD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663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4C37260C-BC37-7C33-2E43-FEA42D2555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906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735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816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754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683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362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992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48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289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86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1527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629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96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261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723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919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999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98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4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437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071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999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527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094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880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480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819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757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311554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58941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489376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742293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90947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4040741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597804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17737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1305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653128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88394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84883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78956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00282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593394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01110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60452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0569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98468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54251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593404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1564800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64240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952B786D-DA1E-4C45-A0F8-09AC340C13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90663" y="0"/>
            <a:ext cx="10707687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3EF713C-9AAB-4FC5-A68F-00A92D933B6D}"/>
              </a:ext>
            </a:extLst>
          </p:cNvPr>
          <p:cNvSpPr/>
          <p:nvPr userDrawn="1"/>
        </p:nvSpPr>
        <p:spPr>
          <a:xfrm>
            <a:off x="-6350" y="0"/>
            <a:ext cx="12198350" cy="6858000"/>
          </a:xfrm>
          <a:prstGeom prst="rect">
            <a:avLst/>
          </a:prstGeom>
          <a:gradFill>
            <a:gsLst>
              <a:gs pos="5000">
                <a:srgbClr val="000028">
                  <a:alpha val="70000"/>
                </a:srgbClr>
              </a:gs>
              <a:gs pos="30000">
                <a:srgbClr val="000028">
                  <a:alpha val="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72253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60386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584496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6968601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19244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46728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832821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984556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84446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72112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906726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474791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99804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20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071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209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929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282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168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59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53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902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497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018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843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307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273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266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27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551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024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9160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766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952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889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91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170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472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230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781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827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5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21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3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721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971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867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7401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89200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9446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CF657620-4B29-9574-3A51-DA5AA1C1B1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132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66AB203A-3D46-A99C-1C0B-2332A6CE218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772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96E34A53-E40F-A4E4-20C9-3CB883FCE4F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75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943D71EE-082D-6025-1384-BF133D19599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04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mask&amp;blur Artificial Intelligence 80p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61730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64111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416966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104423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03820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93492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20724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68678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003667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439682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337774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21849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059724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888014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36835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188668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35726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04781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60886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5276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91399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73114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53894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077249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93282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22292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92466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443055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50378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74304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41190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76347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953260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31690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975345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54693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782943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510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586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422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912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818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496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335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917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953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3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390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610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066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456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439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278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752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199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55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111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Siemens Cognisphere on white backgroun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4675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32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411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915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843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685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810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760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147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493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882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290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33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252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740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632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653169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86377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298467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507619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369616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839509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426228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227678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491536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814553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528454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584559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24707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174182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5731091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170346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97790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42644564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848514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9522222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5174480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307192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61553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03091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2729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4161879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48849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301482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813483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718811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363323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430857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3197034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645937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4237919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4134672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1518951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2924594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</p:spTree>
    <p:extLst>
      <p:ext uri="{BB962C8B-B14F-4D97-AF65-F5344CB8AC3E}">
        <p14:creationId xmlns:p14="http://schemas.microsoft.com/office/powerpoint/2010/main" val="3262372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543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807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37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812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256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764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backgroun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7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272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889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4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695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1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064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554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072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833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054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51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75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520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178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541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631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424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57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245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Petrol gradient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49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926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73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359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09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772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543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804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45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92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Petrol gradient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80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459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120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133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766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584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464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731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212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020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089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437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680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362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113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932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813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643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693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668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623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154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506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164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439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70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166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567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235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673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724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36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577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3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fr-FR"/>
              <a:t>Restricted | © Siemens 2025 | Communications | 2025-17-01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596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fr-FR"/>
              <a:t>Restricted | © Siemens 2025 | Communications | 2025-17-01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374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337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292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734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3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08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02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91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5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976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230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447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94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455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433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8922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184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41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190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8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325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388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016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160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986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ltGray"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153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21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179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929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751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44B5D57-05E3-3F81-4381-F0E10B9AEAF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1"/>
          </a:solidFill>
          <a:effectLst/>
        </p:spPr>
        <p:txBody>
          <a:bodyPr lIns="144000" tIns="108000" rIns="144000" bIns="864000"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5171E712-764D-90FF-ED0F-DE4696E438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00" y="2310395"/>
            <a:ext cx="5472000" cy="223721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200" b="1" cap="all" baseline="0">
                <a:solidFill>
                  <a:srgbClr val="00C1B6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Aft>
                <a:spcPts val="1200"/>
              </a:spcAft>
              <a:buClr>
                <a:srgbClr val="00FFB9"/>
              </a:buClr>
              <a:buNone/>
              <a:defRPr sz="3600" b="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ct val="120000"/>
              </a:lnSpc>
              <a:spcBef>
                <a:spcPts val="1200"/>
              </a:spcBef>
              <a:buClr>
                <a:srgbClr val="00FFB9"/>
              </a:buClr>
              <a:buNone/>
              <a:defRPr sz="1600" b="1">
                <a:solidFill>
                  <a:srgbClr val="00C1B6"/>
                </a:solidFill>
                <a:latin typeface="+mj-lt"/>
              </a:defRPr>
            </a:lvl3pPr>
            <a:lvl4pPr marL="0" indent="0">
              <a:lnSpc>
                <a:spcPct val="120000"/>
              </a:lnSpc>
              <a:spcBef>
                <a:spcPts val="600"/>
              </a:spcBef>
              <a:buClr>
                <a:srgbClr val="00FFB9"/>
              </a:buClr>
              <a:buNone/>
              <a:defRPr sz="1200">
                <a:solidFill>
                  <a:schemeClr val="tx1"/>
                </a:solidFill>
                <a:latin typeface="+mj-lt"/>
              </a:defRPr>
            </a:lvl4pPr>
            <a:lvl5pPr marL="144000" indent="-144000">
              <a:lnSpc>
                <a:spcPct val="120000"/>
              </a:lnSpc>
              <a:buClr>
                <a:srgbClr val="00FFB9"/>
              </a:buClr>
              <a:defRPr sz="1200">
                <a:solidFill>
                  <a:schemeClr val="tx1"/>
                </a:solidFill>
                <a:latin typeface="+mj-lt"/>
              </a:defRPr>
            </a:lvl5pPr>
            <a:lvl6pPr marL="288000" indent="-144000">
              <a:lnSpc>
                <a:spcPct val="120000"/>
              </a:lnSpc>
              <a:buClr>
                <a:srgbClr val="00FFB9"/>
              </a:buClr>
              <a:defRPr sz="1200">
                <a:latin typeface="+mj-lt"/>
              </a:defRPr>
            </a:lvl6pPr>
          </a:lstStyle>
          <a:p>
            <a:pPr lvl="0"/>
            <a:r>
              <a:rPr lang="en-US"/>
              <a:t>Topline</a:t>
            </a:r>
          </a:p>
          <a:p>
            <a:pPr lvl="1"/>
            <a:r>
              <a:rPr lang="en-US"/>
              <a:t>Headline</a:t>
            </a:r>
          </a:p>
          <a:p>
            <a:pPr lvl="2"/>
            <a:r>
              <a:rPr lang="en-US"/>
              <a:t>Subhead</a:t>
            </a:r>
          </a:p>
          <a:p>
            <a:pPr lvl="3"/>
            <a:r>
              <a:rPr lang="en-US"/>
              <a:t>Copy</a:t>
            </a:r>
          </a:p>
          <a:p>
            <a:pPr lvl="4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3171642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833911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7148471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790666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3309925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ltGray"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961485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4064348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3329371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62182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011545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067723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692504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998371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1594634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3407622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1870195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100105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3374175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224522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734141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1937834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1710313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4245631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651973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3142276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618074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4746894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466866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184616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1818361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867207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699231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4219173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1408820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490401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710556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3654307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12256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549447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</p:spTree>
    <p:extLst>
      <p:ext uri="{BB962C8B-B14F-4D97-AF65-F5344CB8AC3E}">
        <p14:creationId xmlns:p14="http://schemas.microsoft.com/office/powerpoint/2010/main" val="27927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emens Smart Infrastructure | Building X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962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emens Smart Infrastructure | Building X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011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02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109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96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449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09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078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3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454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45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80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301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709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206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77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404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040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14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390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615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102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955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717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13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6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972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48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320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217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145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623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CD6ADD99-F105-42E7-A7BC-A5E56AC59B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nrestricted | © Siemens 2025 | Siemens Smart Infrastructure | Building X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CF8521F-5D9B-4227-89E4-533A92977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405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168335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156088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431266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69768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980102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730266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84647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066158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901308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463863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44160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045417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backgroun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75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364456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556741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948190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643736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9276053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40302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491212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7853963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986222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88255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952B786D-DA1E-4C45-A0F8-09AC340C13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90663" y="0"/>
            <a:ext cx="10707687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3EF713C-9AAB-4FC5-A68F-00A92D933B6D}"/>
              </a:ext>
            </a:extLst>
          </p:cNvPr>
          <p:cNvSpPr/>
          <p:nvPr userDrawn="1"/>
        </p:nvSpPr>
        <p:spPr>
          <a:xfrm>
            <a:off x="-6350" y="0"/>
            <a:ext cx="12198350" cy="6858000"/>
          </a:xfrm>
          <a:prstGeom prst="rect">
            <a:avLst/>
          </a:prstGeom>
          <a:gradFill>
            <a:gsLst>
              <a:gs pos="5000">
                <a:srgbClr val="000028">
                  <a:alpha val="70000"/>
                </a:srgbClr>
              </a:gs>
              <a:gs pos="30000">
                <a:srgbClr val="000028">
                  <a:alpha val="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057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58211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70006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161579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711925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129979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429567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062947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79383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03069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945536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693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210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36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36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149814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669203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854824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36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36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28110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222191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199562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36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36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517188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80 pt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71870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87565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76559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Petrol gradient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270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80 pt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4907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33485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17061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80 pt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97168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79107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04292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 noProof="0" err="1"/>
              <a:t>Inhaltsverzeichnis</a:t>
            </a:r>
            <a:endParaRPr lang="en-US" noProof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 noProof="0" err="1"/>
              <a:t>Inhaltsverzeichni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61229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Inhaltsverzeichnis</a:t>
            </a:r>
            <a:endParaRPr lang="en-US" noProof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noProof="0" err="1"/>
              <a:t>Inhaltsverzeichni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 noProof="0" err="1"/>
              <a:t>Inhaltsverzeichni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87646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5882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ormatfüllendes</a:t>
            </a:r>
            <a:r>
              <a:rPr lang="en-US" noProof="0"/>
              <a:t> Bild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Inhaltsseite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050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650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ormatfüllendes</a:t>
            </a:r>
            <a:r>
              <a:rPr lang="en-US" noProof="0"/>
              <a:t> Bild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Inhaltsseite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80355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hematisches</a:t>
            </a:r>
            <a:r>
              <a:rPr lang="en-US" noProof="0"/>
              <a:t> Bild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Inhaltsseite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12412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7102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noProof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64832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242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91783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3507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12393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30099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2217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440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noProof="0" err="1"/>
              <a:t>Thematisches</a:t>
            </a:r>
            <a:r>
              <a:rPr lang="en-US" noProof="0"/>
              <a:t> Bild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0894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 noProof="0"/>
              <a:t>Click icon to add tabl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21660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30781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noProof="0"/>
              <a:t>Bitte </a:t>
            </a:r>
            <a:r>
              <a:rPr lang="en-US" noProof="0" err="1"/>
              <a:t>hier</a:t>
            </a:r>
            <a:r>
              <a:rPr lang="en-US" noProof="0"/>
              <a:t> das </a:t>
            </a:r>
            <a:r>
              <a:rPr lang="en-US" noProof="0" err="1"/>
              <a:t>Zitat</a:t>
            </a:r>
            <a:r>
              <a:rPr lang="en-US" noProof="0"/>
              <a:t> </a:t>
            </a:r>
            <a:r>
              <a:rPr lang="en-US" noProof="0" err="1"/>
              <a:t>einfügen</a:t>
            </a:r>
            <a:r>
              <a:rPr lang="en-US" noProof="0"/>
              <a:t>.</a:t>
            </a:r>
          </a:p>
          <a:p>
            <a:pPr lvl="1"/>
            <a:r>
              <a:rPr lang="en-US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6269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noProof="0"/>
              <a:t>Bitte </a:t>
            </a:r>
            <a:r>
              <a:rPr lang="en-US" noProof="0" err="1"/>
              <a:t>hier</a:t>
            </a:r>
            <a:r>
              <a:rPr lang="en-US" noProof="0"/>
              <a:t> das </a:t>
            </a:r>
            <a:r>
              <a:rPr lang="en-US" noProof="0" err="1"/>
              <a:t>Zitat</a:t>
            </a:r>
            <a:r>
              <a:rPr lang="en-US" noProof="0"/>
              <a:t> </a:t>
            </a:r>
            <a:r>
              <a:rPr lang="en-US" noProof="0" err="1"/>
              <a:t>einfügen</a:t>
            </a:r>
            <a:r>
              <a:rPr lang="en-US" noProof="0"/>
              <a:t>.</a:t>
            </a:r>
          </a:p>
          <a:p>
            <a:pPr lvl="1"/>
            <a:r>
              <a:rPr lang="en-US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94565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9037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6144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ontakt</a:t>
            </a:r>
            <a:endParaRPr lang="en-US" noProof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noProof="0" err="1"/>
              <a:t>Kontak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/>
              <a:t>Name etc.</a:t>
            </a:r>
          </a:p>
          <a:p>
            <a:pPr lvl="2"/>
            <a:r>
              <a:rPr lang="en-US" noProof="0" err="1"/>
              <a:t>Kompetenzen</a:t>
            </a:r>
            <a:r>
              <a:rPr lang="en-US" noProof="0"/>
              <a:t> etc.</a:t>
            </a:r>
          </a:p>
          <a:p>
            <a:pPr lvl="3"/>
            <a:r>
              <a:rPr lang="en-US" noProof="0"/>
              <a:t>Name </a:t>
            </a:r>
            <a:r>
              <a:rPr lang="en-US" noProof="0" err="1"/>
              <a:t>oder</a:t>
            </a:r>
            <a:r>
              <a:rPr lang="en-US" noProof="0"/>
              <a:t> </a:t>
            </a:r>
            <a:r>
              <a:rPr lang="en-US" noProof="0" err="1"/>
              <a:t>Unterebene</a:t>
            </a:r>
            <a:endParaRPr lang="en-US" noProof="0"/>
          </a:p>
          <a:p>
            <a:pPr lvl="4"/>
            <a:r>
              <a:rPr lang="en-US" noProof="0" err="1"/>
              <a:t>Kompetenzen</a:t>
            </a:r>
            <a:r>
              <a:rPr lang="en-US" noProof="0"/>
              <a:t> </a:t>
            </a:r>
            <a:r>
              <a:rPr lang="en-US" noProof="0" err="1"/>
              <a:t>oder</a:t>
            </a:r>
            <a:r>
              <a:rPr lang="en-US" noProof="0"/>
              <a:t> </a:t>
            </a:r>
            <a:r>
              <a:rPr lang="en-US" noProof="0" err="1"/>
              <a:t>Unterebene</a:t>
            </a:r>
            <a:endParaRPr lang="en-US" noProof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4370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734604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4239404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1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890337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028432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476655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507345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946672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582129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118182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302305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504192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820760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83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407387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20875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451977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4068412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4442110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862228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00014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46338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681141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388070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242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537712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117303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416535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8122519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602915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3251142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126822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562539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58514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668887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411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781778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726886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2715685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4023751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1204982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986032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</p:spTree>
    <p:extLst>
      <p:ext uri="{BB962C8B-B14F-4D97-AF65-F5344CB8AC3E}">
        <p14:creationId xmlns:p14="http://schemas.microsoft.com/office/powerpoint/2010/main" val="47131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899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176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981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621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85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810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438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883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971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79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807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07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349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491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313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194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411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690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998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dark (Text spotlight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981D8F55-811B-AEDF-5E04-DCFE25B08BD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15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380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dark (smal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A0D24217-CDAA-9414-DB12-8FECD39730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165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883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dark (large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70697368-7933-D4EC-C605-5BEF353296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864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549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133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4F8BBD80-F603-890B-5CCC-27FC59B1600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165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029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A53CF7CF-3A43-5B1E-4240-BD93149833D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397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04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buClr>
                <a:schemeClr val="tx1"/>
              </a:buClr>
              <a:defRPr sz="1600"/>
            </a:lvl6pPr>
            <a:lvl7pPr>
              <a:buClr>
                <a:schemeClr val="tx1"/>
              </a:buClr>
              <a:defRPr sz="1600"/>
            </a:lvl7pPr>
            <a:lvl8pPr>
              <a:buClr>
                <a:schemeClr val="tx1"/>
              </a:buClr>
              <a:defRPr sz="1600"/>
            </a:lvl8pPr>
            <a:lvl9pPr>
              <a:buClr>
                <a:schemeClr val="tx1"/>
              </a:buCl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buClr>
                <a:schemeClr val="tx1"/>
              </a:buClr>
              <a:defRPr sz="1600"/>
            </a:lvl6pPr>
            <a:lvl7pPr>
              <a:buClr>
                <a:schemeClr val="tx1"/>
              </a:buClr>
              <a:defRPr sz="1600"/>
            </a:lvl7pPr>
            <a:lvl8pPr>
              <a:buClr>
                <a:schemeClr val="tx1"/>
              </a:buClr>
              <a:defRPr sz="1600"/>
            </a:lvl8pPr>
            <a:lvl9pPr>
              <a:buClr>
                <a:schemeClr val="tx1"/>
              </a:buCl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buClr>
                <a:schemeClr val="tx1"/>
              </a:buClr>
              <a:defRPr sz="1600"/>
            </a:lvl6pPr>
            <a:lvl7pPr>
              <a:buClr>
                <a:schemeClr val="tx1"/>
              </a:buClr>
              <a:defRPr sz="1600"/>
            </a:lvl7pPr>
            <a:lvl8pPr>
              <a:buClr>
                <a:schemeClr val="tx1"/>
              </a:buClr>
              <a:defRPr sz="1600"/>
            </a:lvl8pPr>
            <a:lvl9pPr>
              <a:buClr>
                <a:schemeClr val="tx1"/>
              </a:buCl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buClr>
                <a:schemeClr val="tx1"/>
              </a:buClr>
              <a:defRPr sz="1600"/>
            </a:lvl6pPr>
            <a:lvl7pPr>
              <a:buClr>
                <a:schemeClr val="tx1"/>
              </a:buClr>
              <a:defRPr sz="1600"/>
            </a:lvl7pPr>
            <a:lvl8pPr>
              <a:buClr>
                <a:schemeClr val="tx1"/>
              </a:buClr>
              <a:defRPr sz="1600"/>
            </a:lvl8pPr>
            <a:lvl9pPr>
              <a:buClr>
                <a:schemeClr val="tx1"/>
              </a:buCl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6876CD70-E828-5653-E034-0E836EE5EAD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501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11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dark (Spotlight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2E6EBD77-9439-0F2D-3512-7EAC1BD87F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734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30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dark (large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DBDDA68C-D369-4260-610E-00284B3EA64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902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403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079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rgbClr val="00C1B6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rgbClr val="00C1B6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rgbClr val="00C1B6"/>
          </a:solidFill>
          <a:ln w="19050">
            <a:solidFill>
              <a:srgbClr val="00C1B6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386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</a:defRPr>
            </a:lvl5pPr>
            <a:lvl6pPr>
              <a:buClr>
                <a:schemeClr val="accent1"/>
              </a:buClr>
              <a:defRPr>
                <a:ln>
                  <a:noFill/>
                </a:ln>
              </a:defRPr>
            </a:lvl6pPr>
            <a:lvl7pPr>
              <a:buClr>
                <a:schemeClr val="accent1"/>
              </a:buClr>
              <a:defRPr>
                <a:ln>
                  <a:noFill/>
                </a:ln>
              </a:defRPr>
            </a:lvl7pPr>
            <a:lvl8pPr>
              <a:buClr>
                <a:schemeClr val="accent1"/>
              </a:buClr>
              <a:defRPr>
                <a:ln>
                  <a:noFill/>
                </a:ln>
              </a:defRPr>
            </a:lvl8pPr>
            <a:lvl9pPr>
              <a:buClr>
                <a:schemeClr val="accent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</a:defRPr>
            </a:lvl5pPr>
            <a:lvl6pPr>
              <a:buClr>
                <a:schemeClr val="accent1"/>
              </a:buClr>
              <a:defRPr>
                <a:ln>
                  <a:noFill/>
                </a:ln>
              </a:defRPr>
            </a:lvl6pPr>
            <a:lvl7pPr>
              <a:buClr>
                <a:schemeClr val="accent1"/>
              </a:buClr>
              <a:defRPr>
                <a:ln>
                  <a:noFill/>
                </a:ln>
              </a:defRPr>
            </a:lvl7pPr>
            <a:lvl8pPr>
              <a:buClr>
                <a:schemeClr val="accent1"/>
              </a:buClr>
              <a:defRPr>
                <a:ln>
                  <a:noFill/>
                </a:ln>
              </a:defRPr>
            </a:lvl8pPr>
            <a:lvl9pPr>
              <a:buClr>
                <a:schemeClr val="accent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t" anchorCtr="0"/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 lang="en-US" dirty="0">
                <a:solidFill>
                  <a:schemeClr val="tx1"/>
                </a:solidFill>
              </a:defRPr>
            </a:lvl9pPr>
          </a:lstStyle>
          <a:p>
            <a:pPr lvl="0">
              <a:buClr>
                <a:schemeClr val="accent1"/>
              </a:buClr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219FA372-8978-3FA6-7DE8-9278A9E578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414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696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213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793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174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752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accent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A2886B6C-3288-1F00-A9B6-D56E01FC2F4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753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9833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2133662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548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213545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405301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39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355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837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574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714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50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387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214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5364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Siemens 2023 | Smart Infrastructure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051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074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586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363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44B5D57-05E3-3F81-4381-F0E10B9AEAF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1"/>
          </a:solidFill>
          <a:effectLst/>
        </p:spPr>
        <p:txBody>
          <a:bodyPr lIns="144000" tIns="108000" rIns="144000" bIns="864000"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5171E712-764D-90FF-ED0F-DE4696E438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00" y="2310395"/>
            <a:ext cx="5472000" cy="223721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200" b="1" cap="all" baseline="0">
                <a:solidFill>
                  <a:srgbClr val="00C1B6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Aft>
                <a:spcPts val="1200"/>
              </a:spcAft>
              <a:buClr>
                <a:srgbClr val="00FFB9"/>
              </a:buClr>
              <a:buNone/>
              <a:defRPr sz="3600" b="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ct val="120000"/>
              </a:lnSpc>
              <a:spcBef>
                <a:spcPts val="1200"/>
              </a:spcBef>
              <a:buClr>
                <a:srgbClr val="00FFB9"/>
              </a:buClr>
              <a:buNone/>
              <a:defRPr sz="1600" b="1">
                <a:solidFill>
                  <a:srgbClr val="00C1B6"/>
                </a:solidFill>
                <a:latin typeface="+mj-lt"/>
              </a:defRPr>
            </a:lvl3pPr>
            <a:lvl4pPr marL="0" indent="0">
              <a:lnSpc>
                <a:spcPct val="120000"/>
              </a:lnSpc>
              <a:spcBef>
                <a:spcPts val="600"/>
              </a:spcBef>
              <a:buClr>
                <a:srgbClr val="00FFB9"/>
              </a:buClr>
              <a:buNone/>
              <a:defRPr sz="1200">
                <a:solidFill>
                  <a:schemeClr val="tx1"/>
                </a:solidFill>
                <a:latin typeface="+mj-lt"/>
              </a:defRPr>
            </a:lvl4pPr>
            <a:lvl5pPr marL="144000" indent="-144000">
              <a:lnSpc>
                <a:spcPct val="120000"/>
              </a:lnSpc>
              <a:buClr>
                <a:srgbClr val="00FFB9"/>
              </a:buClr>
              <a:defRPr sz="1200">
                <a:solidFill>
                  <a:schemeClr val="tx1"/>
                </a:solidFill>
                <a:latin typeface="+mj-lt"/>
              </a:defRPr>
            </a:lvl5pPr>
            <a:lvl6pPr marL="288000" indent="-144000">
              <a:lnSpc>
                <a:spcPct val="120000"/>
              </a:lnSpc>
              <a:buClr>
                <a:srgbClr val="00FFB9"/>
              </a:buClr>
              <a:defRPr sz="1200">
                <a:latin typeface="+mj-lt"/>
              </a:defRPr>
            </a:lvl6pPr>
          </a:lstStyle>
          <a:p>
            <a:pPr lvl="0"/>
            <a:r>
              <a:rPr lang="en-US"/>
              <a:t>Topline</a:t>
            </a:r>
          </a:p>
          <a:p>
            <a:pPr lvl="1"/>
            <a:r>
              <a:rPr lang="en-US"/>
              <a:t>Headline</a:t>
            </a:r>
          </a:p>
          <a:p>
            <a:pPr lvl="2"/>
            <a:r>
              <a:rPr lang="en-US"/>
              <a:t>Subhead</a:t>
            </a:r>
          </a:p>
          <a:p>
            <a:pPr lvl="3"/>
            <a:r>
              <a:rPr lang="en-US"/>
              <a:t>Copy</a:t>
            </a:r>
          </a:p>
          <a:p>
            <a:pPr lvl="4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290805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40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821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345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27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48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195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24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082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234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791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643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518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994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475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119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779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372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© Siemens 2023 | Smart Infrastructure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5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412525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61602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934921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822272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41924047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72261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204734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4148856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09292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280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33112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614964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906419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041433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495269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55771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095601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769012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680010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425481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827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824794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362943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727848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277853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308716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452119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646817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33883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82124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976220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90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936641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677017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23585154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1579161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928439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202049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018740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447599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284888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</p:spTree>
    <p:extLst>
      <p:ext uri="{BB962C8B-B14F-4D97-AF65-F5344CB8AC3E}">
        <p14:creationId xmlns:p14="http://schemas.microsoft.com/office/powerpoint/2010/main" val="3975390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000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987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835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0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44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287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53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12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354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598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05026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884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122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16320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31668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8200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888982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171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59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912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35632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02670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30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082282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79021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60874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50842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24868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990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499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44869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490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73054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6968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816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_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py 1" descr="Agenda text frame">
            <a:extLst>
              <a:ext uri="{FF2B5EF4-FFF2-40B4-BE49-F238E27FC236}">
                <a16:creationId xmlns:a16="http://schemas.microsoft.com/office/drawing/2014/main" id="{E8B59314-D772-ADDE-CB97-75E060F58E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9863137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0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5331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6D716D99-D690-EF0F-58B1-0999635CFAD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Siemens Logo">
            <a:extLst>
              <a:ext uri="{FF2B5EF4-FFF2-40B4-BE49-F238E27FC236}">
                <a16:creationId xmlns:a16="http://schemas.microsoft.com/office/drawing/2014/main" id="{75623173-F323-8239-AAC9-0F6E2AD0A4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068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C9D6B82F-5A25-CA60-6239-3CDFADE74FC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Siemens Logo">
            <a:extLst>
              <a:ext uri="{FF2B5EF4-FFF2-40B4-BE49-F238E27FC236}">
                <a16:creationId xmlns:a16="http://schemas.microsoft.com/office/drawing/2014/main" id="{D646A890-65D2-94B3-9851-BD8E93411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5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E011732A-1A50-4C89-A274-AD5E9E7C4C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6" name="Siemens Logo">
            <a:extLst>
              <a:ext uri="{FF2B5EF4-FFF2-40B4-BE49-F238E27FC236}">
                <a16:creationId xmlns:a16="http://schemas.microsoft.com/office/drawing/2014/main" id="{63BB9F42-5091-E8A1-C981-76D0893076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141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760526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810142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210515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611702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879691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540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932838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067357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563241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430085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401484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870826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25732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54720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69419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420930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6825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3914048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944674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466324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3359656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9602312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856593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853132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325989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806256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1272233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46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222469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</p:spTree>
    <p:extLst>
      <p:ext uri="{BB962C8B-B14F-4D97-AF65-F5344CB8AC3E}">
        <p14:creationId xmlns:p14="http://schemas.microsoft.com/office/powerpoint/2010/main" val="21201089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256D691A-1AA1-A9FB-4E7B-4B9CD8046C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69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743B24AB-5D28-5259-FBEA-24D1306E90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728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838E5A19-E793-FC51-4FC6-A1EEC44870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24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86060E23-BA1A-6D76-E86C-01E45293B5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87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FF5A58DF-A4CD-11B1-C840-A52F8D7219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682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D644ED7C-DD80-FD18-7A23-528B4AA195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108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09F95D5A-AB5E-3B60-0D90-BE60FB881B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00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97B74898-02AC-C980-A83B-C0DD67B19E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018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93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BB91522B-E9FA-4B95-A2D8-F5D5973635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708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6FEB3703-4D83-5498-04D5-4CC1E4C458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047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6C1C1ED2-2CCD-3A6A-E511-3C4BAD1F9C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828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9EA3F436-F8EA-A7C7-4728-7781DE32C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834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426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202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986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E8CCD74E-3B12-4CB1-40D9-8A3CA208BE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431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8CE14C10-288B-6780-49EE-6C3F97E772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64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10919E33-200C-7363-AE3F-451752C625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85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004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824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972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65344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>
            <a:extLst>
              <a:ext uri="{FF2B5EF4-FFF2-40B4-BE49-F238E27FC236}">
                <a16:creationId xmlns:a16="http://schemas.microsoft.com/office/drawing/2014/main" id="{381B6CD9-0294-5554-DF6F-D0692A1AC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378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9630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8DD1E55F-07FA-1A10-FC5E-1FFC9E9CA5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5916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>
            <a:extLst>
              <a:ext uri="{FF2B5EF4-FFF2-40B4-BE49-F238E27FC236}">
                <a16:creationId xmlns:a16="http://schemas.microsoft.com/office/drawing/2014/main" id="{0994CC73-708D-D24B-CE3D-06E480014A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81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Siemens Logo">
            <a:extLst>
              <a:ext uri="{FF2B5EF4-FFF2-40B4-BE49-F238E27FC236}">
                <a16:creationId xmlns:a16="http://schemas.microsoft.com/office/drawing/2014/main" id="{87D1BBB5-450B-5B7D-3ABC-89D03E9912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296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07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5F543D5E-E760-3BCC-80CE-9736C4C1C2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6075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Siemens Cognisphere on white backgroun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4675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34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EB0E9850-9538-C5D8-1392-6D710F146E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6979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4B9458AC-6102-8238-E334-E2D51D3372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54005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649F062D-2596-782E-32DC-CDF3DB2539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8248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6B741507-341A-1A53-3BE3-0980E45611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31336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8EFA5164-12E2-B471-1225-740B2FA77C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66703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67850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8097EAF1-9D8E-2F4E-C161-ABCC0911D9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370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824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72260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Unrestricted | © Siemens 2025 | Building X | Sales Enablement Deck​</a:t>
            </a:r>
            <a:endParaRPr lang="fr-FR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GB"/>
              <a:t>Page </a:t>
            </a:r>
            <a:fld id="{00000000-1234-1234-1234-123412341234}" type="slidenum">
              <a:rPr lang="en-GB"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3568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671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Siemens Logo">
            <a:extLst>
              <a:ext uri="{FF2B5EF4-FFF2-40B4-BE49-F238E27FC236}">
                <a16:creationId xmlns:a16="http://schemas.microsoft.com/office/drawing/2014/main" id="{407085A6-874F-E636-79F2-97225F55C0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06965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Siemens Logo">
            <a:extLst>
              <a:ext uri="{FF2B5EF4-FFF2-40B4-BE49-F238E27FC236}">
                <a16:creationId xmlns:a16="http://schemas.microsoft.com/office/drawing/2014/main" id="{B26DFDE4-5195-5DA0-76D4-DE3DBCB779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213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Deep Blue 40pt (X one image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6336475" cy="246221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X picture">
            <a:extLst>
              <a:ext uri="{FF2B5EF4-FFF2-40B4-BE49-F238E27FC236}">
                <a16:creationId xmlns:a16="http://schemas.microsoft.com/office/drawing/2014/main" id="{40510273-7F67-43F4-A29E-D4A6AEE8C1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black">
          <a:xfrm>
            <a:off x="6394891" y="-1357312"/>
            <a:ext cx="6735322" cy="6908801"/>
          </a:xfrm>
          <a:custGeom>
            <a:avLst/>
            <a:gdLst>
              <a:gd name="connsiteX0" fmla="*/ 4932802 w 6735322"/>
              <a:gd name="connsiteY0" fmla="*/ 3833813 h 6908801"/>
              <a:gd name="connsiteX1" fmla="*/ 6735322 w 6735322"/>
              <a:gd name="connsiteY1" fmla="*/ 5637264 h 6908801"/>
              <a:gd name="connsiteX2" fmla="*/ 5464442 w 6735322"/>
              <a:gd name="connsiteY2" fmla="*/ 6908801 h 6908801"/>
              <a:gd name="connsiteX3" fmla="*/ 3661922 w 6735322"/>
              <a:gd name="connsiteY3" fmla="*/ 5105350 h 6908801"/>
              <a:gd name="connsiteX4" fmla="*/ 898774 w 6735322"/>
              <a:gd name="connsiteY4" fmla="*/ 171898 h 6908801"/>
              <a:gd name="connsiteX5" fmla="*/ 1534287 w 6735322"/>
              <a:gd name="connsiteY5" fmla="*/ 435176 h 6908801"/>
              <a:gd name="connsiteX6" fmla="*/ 4552510 w 6735322"/>
              <a:gd name="connsiteY6" fmla="*/ 3453607 h 6908801"/>
              <a:gd name="connsiteX7" fmla="*/ 1534287 w 6735322"/>
              <a:gd name="connsiteY7" fmla="*/ 6472453 h 6908801"/>
              <a:gd name="connsiteX8" fmla="*/ 263261 w 6735322"/>
              <a:gd name="connsiteY8" fmla="*/ 6472453 h 6908801"/>
              <a:gd name="connsiteX9" fmla="*/ 263261 w 6735322"/>
              <a:gd name="connsiteY9" fmla="*/ 5201338 h 6908801"/>
              <a:gd name="connsiteX10" fmla="*/ 2010871 w 6735322"/>
              <a:gd name="connsiteY10" fmla="*/ 3453607 h 6908801"/>
              <a:gd name="connsiteX11" fmla="*/ 263261 w 6735322"/>
              <a:gd name="connsiteY11" fmla="*/ 1706291 h 6908801"/>
              <a:gd name="connsiteX12" fmla="*/ 263261 w 6735322"/>
              <a:gd name="connsiteY12" fmla="*/ 435176 h 6908801"/>
              <a:gd name="connsiteX13" fmla="*/ 898774 w 6735322"/>
              <a:gd name="connsiteY13" fmla="*/ 171898 h 6908801"/>
              <a:gd name="connsiteX14" fmla="*/ 5464442 w 6735322"/>
              <a:gd name="connsiteY14" fmla="*/ 0 h 6908801"/>
              <a:gd name="connsiteX15" fmla="*/ 6735322 w 6735322"/>
              <a:gd name="connsiteY15" fmla="*/ 1270880 h 6908801"/>
              <a:gd name="connsiteX16" fmla="*/ 4932802 w 6735322"/>
              <a:gd name="connsiteY16" fmla="*/ 3073400 h 6908801"/>
              <a:gd name="connsiteX17" fmla="*/ 3661922 w 6735322"/>
              <a:gd name="connsiteY17" fmla="*/ 1802520 h 6908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35322" h="6908801">
                <a:moveTo>
                  <a:pt x="4932802" y="3833813"/>
                </a:moveTo>
                <a:lnTo>
                  <a:pt x="6735322" y="5637264"/>
                </a:lnTo>
                <a:lnTo>
                  <a:pt x="5464442" y="6908801"/>
                </a:lnTo>
                <a:lnTo>
                  <a:pt x="3661922" y="5105350"/>
                </a:lnTo>
                <a:close/>
                <a:moveTo>
                  <a:pt x="898774" y="171898"/>
                </a:moveTo>
                <a:cubicBezTo>
                  <a:pt x="1128777" y="171898"/>
                  <a:pt x="1358781" y="259657"/>
                  <a:pt x="1534287" y="435176"/>
                </a:cubicBezTo>
                <a:lnTo>
                  <a:pt x="4552510" y="3453607"/>
                </a:lnTo>
                <a:lnTo>
                  <a:pt x="1534287" y="6472453"/>
                </a:lnTo>
                <a:cubicBezTo>
                  <a:pt x="1183274" y="6823076"/>
                  <a:pt x="614275" y="6823076"/>
                  <a:pt x="263261" y="6472453"/>
                </a:cubicBezTo>
                <a:cubicBezTo>
                  <a:pt x="-87753" y="6121414"/>
                  <a:pt x="-87753" y="5552376"/>
                  <a:pt x="263261" y="5201338"/>
                </a:cubicBezTo>
                <a:lnTo>
                  <a:pt x="2010871" y="3453607"/>
                </a:lnTo>
                <a:lnTo>
                  <a:pt x="263261" y="1706291"/>
                </a:lnTo>
                <a:cubicBezTo>
                  <a:pt x="-87753" y="1355253"/>
                  <a:pt x="-87753" y="786215"/>
                  <a:pt x="263261" y="435176"/>
                </a:cubicBezTo>
                <a:cubicBezTo>
                  <a:pt x="438768" y="259657"/>
                  <a:pt x="668771" y="171898"/>
                  <a:pt x="898774" y="171898"/>
                </a:cubicBezTo>
                <a:close/>
                <a:moveTo>
                  <a:pt x="5464442" y="0"/>
                </a:moveTo>
                <a:lnTo>
                  <a:pt x="6735322" y="1270880"/>
                </a:lnTo>
                <a:lnTo>
                  <a:pt x="4932802" y="3073400"/>
                </a:lnTo>
                <a:lnTo>
                  <a:pt x="3661922" y="1802520"/>
                </a:lnTo>
                <a:close/>
              </a:path>
            </a:pathLst>
          </a:custGeom>
          <a:solidFill>
            <a:srgbClr val="CCCCD4"/>
          </a:solidFill>
        </p:spPr>
        <p:txBody>
          <a:bodyPr wrap="square" lIns="0" rIns="468000" anchor="ctr" anchorCtr="0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lease insert </a:t>
            </a:r>
            <a:br>
              <a:rPr lang="en-US" noProof="0"/>
            </a:br>
            <a:r>
              <a:rPr lang="en-US" noProof="0"/>
              <a:t>one X picture here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6335712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Building X | Sales Enablement Deck​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00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pos="4250">
          <p15:clr>
            <a:srgbClr val="65CEFF"/>
          </p15:clr>
        </p15:guide>
      </p15:sldGuideLst>
    </p:ext>
  </p:extLs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164730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53757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681360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366082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50117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234971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835026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757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05821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948287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476228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215863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175509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4155239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536972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575699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36684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015936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3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989903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5000119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09942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160994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774687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46275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998679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220389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636916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305112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474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7427090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679013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80341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8704588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413715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530615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4570749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15218851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662703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829592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backgroun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288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358352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</p:spTree>
    <p:extLst>
      <p:ext uri="{BB962C8B-B14F-4D97-AF65-F5344CB8AC3E}">
        <p14:creationId xmlns:p14="http://schemas.microsoft.com/office/powerpoint/2010/main" val="2778209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60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52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7965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462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127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14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665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118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16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9893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516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395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463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705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066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180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656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021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906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Petrol gradient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690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701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147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729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834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806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671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8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452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610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089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81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783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498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I B SW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296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F4F3ADC-31A8-491E-B24C-46665225E4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B679E877-2D55-4525-9054-C82FC5C10A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GB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2C0CB4E-F9E0-4FD2-97E4-E502D21C7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93F3F-9074-460D-B5A3-5C97B41F1138}" type="datetime1">
              <a:rPr lang="en-GB" smtClean="0"/>
              <a:t>25/03/2026</a:t>
            </a:fld>
            <a:endParaRPr lang="en-GB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2C28B44-AB86-4CE3-9577-15AED9C4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7FF6623-EA3C-4406-87B7-7CE26CDAD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4D4978B7-D743-4B37-9F54-C784F40BD3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67951" y="60751"/>
            <a:ext cx="1710064" cy="701249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7502D7B7-22AF-49A8-A008-C4F62CA7AB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3298" y="60751"/>
            <a:ext cx="1409877" cy="701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029085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56DFF55-8E4E-4DF4-A3D3-54D9C33D6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88913A9-30BD-4360-BA91-1F249F4DF5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8811836-3ECD-43B5-9FAA-D8B5F3B00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90F45-3D8A-4860-B152-BBCCB97CB9F5}" type="datetime1">
              <a:rPr lang="en-GB" smtClean="0"/>
              <a:t>25/03/2026</a:t>
            </a:fld>
            <a:endParaRPr lang="en-GB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551BAB6-C897-432B-B379-2ACD1F862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4AF30FC-940C-476A-92DB-A7EA65A14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DCFAEAB6-E371-4AC7-9992-28CD237568CB}"/>
              </a:ext>
            </a:extLst>
          </p:cNvPr>
          <p:cNvGrpSpPr/>
          <p:nvPr userDrawn="1"/>
        </p:nvGrpSpPr>
        <p:grpSpPr>
          <a:xfrm>
            <a:off x="0" y="60751"/>
            <a:ext cx="12339532" cy="6783393"/>
            <a:chOff x="0" y="60751"/>
            <a:chExt cx="12339532" cy="6783393"/>
          </a:xfrm>
        </p:grpSpPr>
        <p:sp>
          <p:nvSpPr>
            <p:cNvPr id="9" name="Obdélník: s jedním odříznutým rohem 8">
              <a:extLst>
                <a:ext uri="{FF2B5EF4-FFF2-40B4-BE49-F238E27FC236}">
                  <a16:creationId xmlns:a16="http://schemas.microsoft.com/office/drawing/2014/main" id="{ADC510C1-B511-4664-94E0-34E6E26A2775}"/>
                </a:ext>
              </a:extLst>
            </p:cNvPr>
            <p:cNvSpPr/>
            <p:nvPr/>
          </p:nvSpPr>
          <p:spPr>
            <a:xfrm flipH="1">
              <a:off x="0" y="6428509"/>
              <a:ext cx="12205854" cy="415635"/>
            </a:xfrm>
            <a:prstGeom prst="snip1Rect">
              <a:avLst>
                <a:gd name="adj" fmla="val 40000"/>
              </a:avLst>
            </a:prstGeom>
            <a:solidFill>
              <a:srgbClr val="006C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0" name="TextovéPole 9">
              <a:extLst>
                <a:ext uri="{FF2B5EF4-FFF2-40B4-BE49-F238E27FC236}">
                  <a16:creationId xmlns:a16="http://schemas.microsoft.com/office/drawing/2014/main" id="{B5CFBEA1-2292-4FA3-8763-3E993DF9C5DA}"/>
                </a:ext>
              </a:extLst>
            </p:cNvPr>
            <p:cNvSpPr txBox="1"/>
            <p:nvPr/>
          </p:nvSpPr>
          <p:spPr>
            <a:xfrm>
              <a:off x="6956327" y="6428509"/>
              <a:ext cx="53832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cs-CZ" b="1" err="1">
                  <a:solidFill>
                    <a:schemeClr val="bg1"/>
                  </a:solidFill>
                  <a:latin typeface="Gulim" panose="020B0600000101010101" pitchFamily="34" charset="-127"/>
                  <a:ea typeface="Gulim" panose="020B0600000101010101" pitchFamily="34" charset="-127"/>
                </a:rPr>
                <a:t>Introduction</a:t>
              </a:r>
              <a:r>
                <a:rPr lang="cs-CZ" b="1">
                  <a:solidFill>
                    <a:schemeClr val="bg1"/>
                  </a:solidFill>
                  <a:latin typeface="Gulim" panose="020B0600000101010101" pitchFamily="34" charset="-127"/>
                  <a:ea typeface="Gulim" panose="020B0600000101010101" pitchFamily="34" charset="-127"/>
                </a:rPr>
                <a:t> to </a:t>
              </a:r>
              <a:r>
                <a:rPr lang="cs-CZ" b="1" err="1">
                  <a:solidFill>
                    <a:schemeClr val="bg1"/>
                  </a:solidFill>
                  <a:latin typeface="Gulim" panose="020B0600000101010101" pitchFamily="34" charset="-127"/>
                  <a:ea typeface="Gulim" panose="020B0600000101010101" pitchFamily="34" charset="-127"/>
                </a:rPr>
                <a:t>building</a:t>
              </a:r>
              <a:r>
                <a:rPr lang="cs-CZ" b="1">
                  <a:solidFill>
                    <a:schemeClr val="bg1"/>
                  </a:solidFill>
                  <a:latin typeface="Gulim" panose="020B0600000101010101" pitchFamily="34" charset="-127"/>
                  <a:ea typeface="Gulim" panose="020B0600000101010101" pitchFamily="34" charset="-127"/>
                </a:rPr>
                <a:t> performance </a:t>
              </a:r>
              <a:r>
                <a:rPr lang="cs-CZ" b="1" err="1">
                  <a:solidFill>
                    <a:schemeClr val="bg1"/>
                  </a:solidFill>
                  <a:latin typeface="Gulim" panose="020B0600000101010101" pitchFamily="34" charset="-127"/>
                  <a:ea typeface="Gulim" panose="020B0600000101010101" pitchFamily="34" charset="-127"/>
                </a:rPr>
                <a:t>simulation</a:t>
              </a:r>
              <a:r>
                <a:rPr lang="cs-CZ" b="1">
                  <a:solidFill>
                    <a:schemeClr val="bg1"/>
                  </a:solidFill>
                  <a:latin typeface="Gulim" panose="020B0600000101010101" pitchFamily="34" charset="-127"/>
                  <a:ea typeface="Gulim" panose="020B0600000101010101" pitchFamily="34" charset="-127"/>
                </a:rPr>
                <a:t> </a:t>
              </a:r>
            </a:p>
          </p:txBody>
        </p:sp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948D5938-3667-4DB0-B2E2-CDA61E15D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267951" y="60751"/>
              <a:ext cx="1710064" cy="701249"/>
            </a:xfrm>
            <a:prstGeom prst="rect">
              <a:avLst/>
            </a:prstGeom>
          </p:spPr>
        </p:pic>
        <p:pic>
          <p:nvPicPr>
            <p:cNvPr id="12" name="Obrázek 11">
              <a:extLst>
                <a:ext uri="{FF2B5EF4-FFF2-40B4-BE49-F238E27FC236}">
                  <a16:creationId xmlns:a16="http://schemas.microsoft.com/office/drawing/2014/main" id="{7CB6DB53-618A-48D2-9C71-CC0B3556AC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3298" y="60751"/>
              <a:ext cx="1409877" cy="7012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5035834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0F3C69-6F29-4A11-861D-8652287D5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0A69AA48-053D-4D2D-81FA-7452093E8A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63B7B73-9C6B-41C1-AEC5-E25FB9AE1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004C-D37B-4A61-8B7E-9D78FC1DCBE0}" type="datetime1">
              <a:rPr lang="en-GB" smtClean="0"/>
              <a:t>25/03/2026</a:t>
            </a:fld>
            <a:endParaRPr lang="en-GB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4FD4198-E8C5-499E-8121-E8739F504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1568811-1440-453F-8D04-2E5EB8815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5043" y="6356349"/>
            <a:ext cx="2743200" cy="365125"/>
          </a:xfrm>
        </p:spPr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812626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9823C4A-53BF-4D9D-BAD9-E9364FF42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8493ABD9-03BE-4E9F-8303-60D538A56B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3D38CB5A-2F79-4288-8EE4-0EF0AAD4DF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2D7EB95-2FAB-46E6-82B5-EBF95A294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D7804-6C36-4DD2-9075-1854C68765CB}" type="datetime1">
              <a:rPr lang="en-GB" smtClean="0"/>
              <a:t>25/03/2026</a:t>
            </a:fld>
            <a:endParaRPr lang="en-GB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FC74679-74BE-46BD-ABBA-D787A4D26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754C2D9-6C50-40AE-9534-20634747D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2477376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2539EE0-DDEC-47D8-8BE3-7EDF59EAD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C390008A-9F93-4FBF-89F1-F69168339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8F78903D-01ED-4D60-B800-00EC5492DF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CE1CD2CE-6EAE-469E-B01A-6E8560E721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D4473C70-9CFC-4EF2-B405-FA00774C5FC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3EB6DD23-A12D-4D40-887E-15FB09BD2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1652B-33E0-46D6-820D-4C06F86EEA1D}" type="datetime1">
              <a:rPr lang="en-GB" smtClean="0"/>
              <a:t>25/03/2026</a:t>
            </a:fld>
            <a:endParaRPr lang="en-GB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37EC4105-6912-4105-A7A0-5CA8B6E15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EF84E4B0-2940-47CA-9E5E-4A9D1C6FE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6957449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BD208A3-6E58-4908-B8A1-E8794C57A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5BF339A5-01B7-40E8-8F51-C708721A17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D9135-EA41-461C-B6BB-5C1231AEE1E9}" type="datetime1">
              <a:rPr lang="en-GB" smtClean="0"/>
              <a:t>25/03/2026</a:t>
            </a:fld>
            <a:endParaRPr lang="en-GB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C74028C-C93C-4DB9-B3C8-E51E40F4E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0C712D6-9FDA-4DBD-B257-1AD24DD6B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3207301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8AF0E796-82A2-4340-9479-C4C14C641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90E9B-F6CA-479C-8CD3-BF3A05A122D8}" type="datetime1">
              <a:rPr lang="en-GB" smtClean="0"/>
              <a:t>25/03/2026</a:t>
            </a:fld>
            <a:endParaRPr lang="en-GB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D103D9B-CC44-4C00-955F-31C70D8AA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784085-575A-4408-8E89-1630BADBF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97451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69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2792C39-E95A-4C05-99DC-74B099B10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637A4919-E33E-4D58-A1B7-C63CF7BCAA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20C82E3B-DF69-4421-AE40-345B94EEF3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DBA9670-92F6-4AC5-AA9D-6673EB9BC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09FCA-133E-4AA5-8FAA-A4FEA6932378}" type="datetime1">
              <a:rPr lang="en-GB" smtClean="0"/>
              <a:t>25/03/2026</a:t>
            </a:fld>
            <a:endParaRPr lang="en-GB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462C07B-CEB2-4599-B52F-F909AFBA6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BF80659-F234-486C-824B-959EF9F62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859813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C0D95-AD54-44B0-BE84-624736FE6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0552B2E-2174-4232-B405-15B26F9C42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705A853B-C141-4D87-A311-A84A47720C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8C96BB4-2E06-46A7-954A-68B2F9E71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CE55D9-E45B-47AB-9AD5-87DCFF370D59}" type="datetime1">
              <a:rPr lang="en-GB" smtClean="0"/>
              <a:t>25/03/2026</a:t>
            </a:fld>
            <a:endParaRPr lang="en-GB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1C07155-857F-4EC1-A609-F3F567077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AC3CCC2-3E81-459C-8CB1-0A637354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1584927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8C390DC-5A03-40C4-8B2B-541EA4818D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C7E4E5A3-CB29-42B5-87CA-DD36E3973F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DEFD371-6D52-4FDF-8BFB-85985BACB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BCC36B-05C4-4870-BE97-3198497DE6CE}" type="datetime1">
              <a:rPr lang="en-GB" smtClean="0"/>
              <a:t>25/03/2026</a:t>
            </a:fld>
            <a:endParaRPr lang="en-GB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C08ECD4-6A54-44AF-AABC-D42D3BF5A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4E9FE68-FB47-438E-93D7-3EB0CA935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913217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D6A3E697-CFEE-465D-901C-77AA10E782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1C32D92-0C05-43D1-B49A-39F56D0AD6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F487347-C9CC-44F0-AB40-B592207A65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252A23-D161-4D41-9D23-A94DCAB2AD96}" type="datetime1">
              <a:rPr lang="en-GB" smtClean="0"/>
              <a:t>25/03/2026</a:t>
            </a:fld>
            <a:endParaRPr lang="en-GB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E38732E-F855-40A4-AF8A-CC313F54D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E25D38F-355A-4453-875E-A0DBE59F4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57424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36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0757145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466408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742721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434968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29259196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632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396068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82046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807441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469316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85519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593912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9512491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986422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2456486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7213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044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155085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4203460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2657680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831181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2419592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660406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2370635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722084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519822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135686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577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192340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045758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344696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2084117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569378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8288716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722370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2284653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418143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725739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617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15713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3615005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</p:spTree>
    <p:extLst>
      <p:ext uri="{BB962C8B-B14F-4D97-AF65-F5344CB8AC3E}">
        <p14:creationId xmlns:p14="http://schemas.microsoft.com/office/powerpoint/2010/main" val="949917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4 | Smart Infrastructure | 2024-05-30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89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4 | Smart Infrastructure | 2024-05-30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359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423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040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861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5995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307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ltGray"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05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333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470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867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39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725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233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77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444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680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773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07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3.xml"/><Relationship Id="rId18" Type="http://schemas.openxmlformats.org/officeDocument/2006/relationships/slideLayout" Target="../slideLayouts/slideLayout738.xml"/><Relationship Id="rId26" Type="http://schemas.openxmlformats.org/officeDocument/2006/relationships/slideLayout" Target="../slideLayouts/slideLayout746.xml"/><Relationship Id="rId39" Type="http://schemas.openxmlformats.org/officeDocument/2006/relationships/slideLayout" Target="../slideLayouts/slideLayout759.xml"/><Relationship Id="rId21" Type="http://schemas.openxmlformats.org/officeDocument/2006/relationships/slideLayout" Target="../slideLayouts/slideLayout741.xml"/><Relationship Id="rId34" Type="http://schemas.openxmlformats.org/officeDocument/2006/relationships/slideLayout" Target="../slideLayouts/slideLayout754.xml"/><Relationship Id="rId42" Type="http://schemas.openxmlformats.org/officeDocument/2006/relationships/slideLayout" Target="../slideLayouts/slideLayout762.xml"/><Relationship Id="rId47" Type="http://schemas.openxmlformats.org/officeDocument/2006/relationships/slideLayout" Target="../slideLayouts/slideLayout767.xml"/><Relationship Id="rId50" Type="http://schemas.openxmlformats.org/officeDocument/2006/relationships/slideLayout" Target="../slideLayouts/slideLayout770.xml"/><Relationship Id="rId55" Type="http://schemas.openxmlformats.org/officeDocument/2006/relationships/slideLayout" Target="../slideLayouts/slideLayout775.xml"/><Relationship Id="rId63" Type="http://schemas.openxmlformats.org/officeDocument/2006/relationships/slideLayout" Target="../slideLayouts/slideLayout783.xml"/><Relationship Id="rId68" Type="http://schemas.openxmlformats.org/officeDocument/2006/relationships/slideLayout" Target="../slideLayouts/slideLayout788.xml"/><Relationship Id="rId7" Type="http://schemas.openxmlformats.org/officeDocument/2006/relationships/slideLayout" Target="../slideLayouts/slideLayout727.xml"/><Relationship Id="rId71" Type="http://schemas.openxmlformats.org/officeDocument/2006/relationships/slideLayout" Target="../slideLayouts/slideLayout791.xml"/><Relationship Id="rId2" Type="http://schemas.openxmlformats.org/officeDocument/2006/relationships/slideLayout" Target="../slideLayouts/slideLayout722.xml"/><Relationship Id="rId16" Type="http://schemas.openxmlformats.org/officeDocument/2006/relationships/slideLayout" Target="../slideLayouts/slideLayout736.xml"/><Relationship Id="rId29" Type="http://schemas.openxmlformats.org/officeDocument/2006/relationships/slideLayout" Target="../slideLayouts/slideLayout749.xml"/><Relationship Id="rId11" Type="http://schemas.openxmlformats.org/officeDocument/2006/relationships/slideLayout" Target="../slideLayouts/slideLayout731.xml"/><Relationship Id="rId24" Type="http://schemas.openxmlformats.org/officeDocument/2006/relationships/slideLayout" Target="../slideLayouts/slideLayout744.xml"/><Relationship Id="rId32" Type="http://schemas.openxmlformats.org/officeDocument/2006/relationships/slideLayout" Target="../slideLayouts/slideLayout752.xml"/><Relationship Id="rId37" Type="http://schemas.openxmlformats.org/officeDocument/2006/relationships/slideLayout" Target="../slideLayouts/slideLayout757.xml"/><Relationship Id="rId40" Type="http://schemas.openxmlformats.org/officeDocument/2006/relationships/slideLayout" Target="../slideLayouts/slideLayout760.xml"/><Relationship Id="rId45" Type="http://schemas.openxmlformats.org/officeDocument/2006/relationships/slideLayout" Target="../slideLayouts/slideLayout765.xml"/><Relationship Id="rId53" Type="http://schemas.openxmlformats.org/officeDocument/2006/relationships/slideLayout" Target="../slideLayouts/slideLayout773.xml"/><Relationship Id="rId58" Type="http://schemas.openxmlformats.org/officeDocument/2006/relationships/slideLayout" Target="../slideLayouts/slideLayout778.xml"/><Relationship Id="rId66" Type="http://schemas.openxmlformats.org/officeDocument/2006/relationships/slideLayout" Target="../slideLayouts/slideLayout786.xml"/><Relationship Id="rId74" Type="http://schemas.openxmlformats.org/officeDocument/2006/relationships/oleObject" Target="../embeddings/oleObject5.bin"/><Relationship Id="rId5" Type="http://schemas.openxmlformats.org/officeDocument/2006/relationships/slideLayout" Target="../slideLayouts/slideLayout725.xml"/><Relationship Id="rId15" Type="http://schemas.openxmlformats.org/officeDocument/2006/relationships/slideLayout" Target="../slideLayouts/slideLayout735.xml"/><Relationship Id="rId23" Type="http://schemas.openxmlformats.org/officeDocument/2006/relationships/slideLayout" Target="../slideLayouts/slideLayout743.xml"/><Relationship Id="rId28" Type="http://schemas.openxmlformats.org/officeDocument/2006/relationships/slideLayout" Target="../slideLayouts/slideLayout748.xml"/><Relationship Id="rId36" Type="http://schemas.openxmlformats.org/officeDocument/2006/relationships/slideLayout" Target="../slideLayouts/slideLayout756.xml"/><Relationship Id="rId49" Type="http://schemas.openxmlformats.org/officeDocument/2006/relationships/slideLayout" Target="../slideLayouts/slideLayout769.xml"/><Relationship Id="rId57" Type="http://schemas.openxmlformats.org/officeDocument/2006/relationships/slideLayout" Target="../slideLayouts/slideLayout777.xml"/><Relationship Id="rId61" Type="http://schemas.openxmlformats.org/officeDocument/2006/relationships/slideLayout" Target="../slideLayouts/slideLayout781.xml"/><Relationship Id="rId10" Type="http://schemas.openxmlformats.org/officeDocument/2006/relationships/slideLayout" Target="../slideLayouts/slideLayout730.xml"/><Relationship Id="rId19" Type="http://schemas.openxmlformats.org/officeDocument/2006/relationships/slideLayout" Target="../slideLayouts/slideLayout739.xml"/><Relationship Id="rId31" Type="http://schemas.openxmlformats.org/officeDocument/2006/relationships/slideLayout" Target="../slideLayouts/slideLayout751.xml"/><Relationship Id="rId44" Type="http://schemas.openxmlformats.org/officeDocument/2006/relationships/slideLayout" Target="../slideLayouts/slideLayout764.xml"/><Relationship Id="rId52" Type="http://schemas.openxmlformats.org/officeDocument/2006/relationships/slideLayout" Target="../slideLayouts/slideLayout772.xml"/><Relationship Id="rId60" Type="http://schemas.openxmlformats.org/officeDocument/2006/relationships/slideLayout" Target="../slideLayouts/slideLayout780.xml"/><Relationship Id="rId65" Type="http://schemas.openxmlformats.org/officeDocument/2006/relationships/slideLayout" Target="../slideLayouts/slideLayout785.xml"/><Relationship Id="rId73" Type="http://schemas.openxmlformats.org/officeDocument/2006/relationships/tags" Target="../tags/tag6.xml"/><Relationship Id="rId4" Type="http://schemas.openxmlformats.org/officeDocument/2006/relationships/slideLayout" Target="../slideLayouts/slideLayout724.xml"/><Relationship Id="rId9" Type="http://schemas.openxmlformats.org/officeDocument/2006/relationships/slideLayout" Target="../slideLayouts/slideLayout729.xml"/><Relationship Id="rId14" Type="http://schemas.openxmlformats.org/officeDocument/2006/relationships/slideLayout" Target="../slideLayouts/slideLayout734.xml"/><Relationship Id="rId22" Type="http://schemas.openxmlformats.org/officeDocument/2006/relationships/slideLayout" Target="../slideLayouts/slideLayout742.xml"/><Relationship Id="rId27" Type="http://schemas.openxmlformats.org/officeDocument/2006/relationships/slideLayout" Target="../slideLayouts/slideLayout747.xml"/><Relationship Id="rId30" Type="http://schemas.openxmlformats.org/officeDocument/2006/relationships/slideLayout" Target="../slideLayouts/slideLayout750.xml"/><Relationship Id="rId35" Type="http://schemas.openxmlformats.org/officeDocument/2006/relationships/slideLayout" Target="../slideLayouts/slideLayout755.xml"/><Relationship Id="rId43" Type="http://schemas.openxmlformats.org/officeDocument/2006/relationships/slideLayout" Target="../slideLayouts/slideLayout763.xml"/><Relationship Id="rId48" Type="http://schemas.openxmlformats.org/officeDocument/2006/relationships/slideLayout" Target="../slideLayouts/slideLayout768.xml"/><Relationship Id="rId56" Type="http://schemas.openxmlformats.org/officeDocument/2006/relationships/slideLayout" Target="../slideLayouts/slideLayout776.xml"/><Relationship Id="rId64" Type="http://schemas.openxmlformats.org/officeDocument/2006/relationships/slideLayout" Target="../slideLayouts/slideLayout784.xml"/><Relationship Id="rId69" Type="http://schemas.openxmlformats.org/officeDocument/2006/relationships/slideLayout" Target="../slideLayouts/slideLayout789.xml"/><Relationship Id="rId8" Type="http://schemas.openxmlformats.org/officeDocument/2006/relationships/slideLayout" Target="../slideLayouts/slideLayout728.xml"/><Relationship Id="rId51" Type="http://schemas.openxmlformats.org/officeDocument/2006/relationships/slideLayout" Target="../slideLayouts/slideLayout771.xml"/><Relationship Id="rId72" Type="http://schemas.openxmlformats.org/officeDocument/2006/relationships/theme" Target="../theme/theme10.xml"/><Relationship Id="rId3" Type="http://schemas.openxmlformats.org/officeDocument/2006/relationships/slideLayout" Target="../slideLayouts/slideLayout723.xml"/><Relationship Id="rId12" Type="http://schemas.openxmlformats.org/officeDocument/2006/relationships/slideLayout" Target="../slideLayouts/slideLayout732.xml"/><Relationship Id="rId17" Type="http://schemas.openxmlformats.org/officeDocument/2006/relationships/slideLayout" Target="../slideLayouts/slideLayout737.xml"/><Relationship Id="rId25" Type="http://schemas.openxmlformats.org/officeDocument/2006/relationships/slideLayout" Target="../slideLayouts/slideLayout745.xml"/><Relationship Id="rId33" Type="http://schemas.openxmlformats.org/officeDocument/2006/relationships/slideLayout" Target="../slideLayouts/slideLayout753.xml"/><Relationship Id="rId38" Type="http://schemas.openxmlformats.org/officeDocument/2006/relationships/slideLayout" Target="../slideLayouts/slideLayout758.xml"/><Relationship Id="rId46" Type="http://schemas.openxmlformats.org/officeDocument/2006/relationships/slideLayout" Target="../slideLayouts/slideLayout766.xml"/><Relationship Id="rId59" Type="http://schemas.openxmlformats.org/officeDocument/2006/relationships/slideLayout" Target="../slideLayouts/slideLayout779.xml"/><Relationship Id="rId67" Type="http://schemas.openxmlformats.org/officeDocument/2006/relationships/slideLayout" Target="../slideLayouts/slideLayout787.xml"/><Relationship Id="rId20" Type="http://schemas.openxmlformats.org/officeDocument/2006/relationships/slideLayout" Target="../slideLayouts/slideLayout740.xml"/><Relationship Id="rId41" Type="http://schemas.openxmlformats.org/officeDocument/2006/relationships/slideLayout" Target="../slideLayouts/slideLayout761.xml"/><Relationship Id="rId54" Type="http://schemas.openxmlformats.org/officeDocument/2006/relationships/slideLayout" Target="../slideLayouts/slideLayout774.xml"/><Relationship Id="rId62" Type="http://schemas.openxmlformats.org/officeDocument/2006/relationships/slideLayout" Target="../slideLayouts/slideLayout782.xml"/><Relationship Id="rId70" Type="http://schemas.openxmlformats.org/officeDocument/2006/relationships/slideLayout" Target="../slideLayouts/slideLayout790.xml"/><Relationship Id="rId75" Type="http://schemas.openxmlformats.org/officeDocument/2006/relationships/image" Target="../media/image65.emf"/><Relationship Id="rId1" Type="http://schemas.openxmlformats.org/officeDocument/2006/relationships/slideLayout" Target="../slideLayouts/slideLayout721.xml"/><Relationship Id="rId6" Type="http://schemas.openxmlformats.org/officeDocument/2006/relationships/slideLayout" Target="../slideLayouts/slideLayout726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04.xml"/><Relationship Id="rId18" Type="http://schemas.openxmlformats.org/officeDocument/2006/relationships/slideLayout" Target="../slideLayouts/slideLayout809.xml"/><Relationship Id="rId26" Type="http://schemas.openxmlformats.org/officeDocument/2006/relationships/slideLayout" Target="../slideLayouts/slideLayout817.xml"/><Relationship Id="rId39" Type="http://schemas.openxmlformats.org/officeDocument/2006/relationships/slideLayout" Target="../slideLayouts/slideLayout830.xml"/><Relationship Id="rId21" Type="http://schemas.openxmlformats.org/officeDocument/2006/relationships/slideLayout" Target="../slideLayouts/slideLayout812.xml"/><Relationship Id="rId34" Type="http://schemas.openxmlformats.org/officeDocument/2006/relationships/slideLayout" Target="../slideLayouts/slideLayout825.xml"/><Relationship Id="rId42" Type="http://schemas.openxmlformats.org/officeDocument/2006/relationships/slideLayout" Target="../slideLayouts/slideLayout833.xml"/><Relationship Id="rId47" Type="http://schemas.openxmlformats.org/officeDocument/2006/relationships/slideLayout" Target="../slideLayouts/slideLayout838.xml"/><Relationship Id="rId50" Type="http://schemas.openxmlformats.org/officeDocument/2006/relationships/slideLayout" Target="../slideLayouts/slideLayout841.xml"/><Relationship Id="rId55" Type="http://schemas.openxmlformats.org/officeDocument/2006/relationships/slideLayout" Target="../slideLayouts/slideLayout846.xml"/><Relationship Id="rId63" Type="http://schemas.openxmlformats.org/officeDocument/2006/relationships/slideLayout" Target="../slideLayouts/slideLayout854.xml"/><Relationship Id="rId68" Type="http://schemas.openxmlformats.org/officeDocument/2006/relationships/slideLayout" Target="../slideLayouts/slideLayout859.xml"/><Relationship Id="rId76" Type="http://schemas.openxmlformats.org/officeDocument/2006/relationships/image" Target="../media/image66.emf"/><Relationship Id="rId7" Type="http://schemas.openxmlformats.org/officeDocument/2006/relationships/slideLayout" Target="../slideLayouts/slideLayout798.xml"/><Relationship Id="rId71" Type="http://schemas.openxmlformats.org/officeDocument/2006/relationships/slideLayout" Target="../slideLayouts/slideLayout862.xml"/><Relationship Id="rId2" Type="http://schemas.openxmlformats.org/officeDocument/2006/relationships/slideLayout" Target="../slideLayouts/slideLayout793.xml"/><Relationship Id="rId16" Type="http://schemas.openxmlformats.org/officeDocument/2006/relationships/slideLayout" Target="../slideLayouts/slideLayout807.xml"/><Relationship Id="rId29" Type="http://schemas.openxmlformats.org/officeDocument/2006/relationships/slideLayout" Target="../slideLayouts/slideLayout820.xml"/><Relationship Id="rId11" Type="http://schemas.openxmlformats.org/officeDocument/2006/relationships/slideLayout" Target="../slideLayouts/slideLayout802.xml"/><Relationship Id="rId24" Type="http://schemas.openxmlformats.org/officeDocument/2006/relationships/slideLayout" Target="../slideLayouts/slideLayout815.xml"/><Relationship Id="rId32" Type="http://schemas.openxmlformats.org/officeDocument/2006/relationships/slideLayout" Target="../slideLayouts/slideLayout823.xml"/><Relationship Id="rId37" Type="http://schemas.openxmlformats.org/officeDocument/2006/relationships/slideLayout" Target="../slideLayouts/slideLayout828.xml"/><Relationship Id="rId40" Type="http://schemas.openxmlformats.org/officeDocument/2006/relationships/slideLayout" Target="../slideLayouts/slideLayout831.xml"/><Relationship Id="rId45" Type="http://schemas.openxmlformats.org/officeDocument/2006/relationships/slideLayout" Target="../slideLayouts/slideLayout836.xml"/><Relationship Id="rId53" Type="http://schemas.openxmlformats.org/officeDocument/2006/relationships/slideLayout" Target="../slideLayouts/slideLayout844.xml"/><Relationship Id="rId58" Type="http://schemas.openxmlformats.org/officeDocument/2006/relationships/slideLayout" Target="../slideLayouts/slideLayout849.xml"/><Relationship Id="rId66" Type="http://schemas.openxmlformats.org/officeDocument/2006/relationships/slideLayout" Target="../slideLayouts/slideLayout857.xml"/><Relationship Id="rId74" Type="http://schemas.openxmlformats.org/officeDocument/2006/relationships/tags" Target="../tags/tag8.xml"/><Relationship Id="rId5" Type="http://schemas.openxmlformats.org/officeDocument/2006/relationships/slideLayout" Target="../slideLayouts/slideLayout796.xml"/><Relationship Id="rId15" Type="http://schemas.openxmlformats.org/officeDocument/2006/relationships/slideLayout" Target="../slideLayouts/slideLayout806.xml"/><Relationship Id="rId23" Type="http://schemas.openxmlformats.org/officeDocument/2006/relationships/slideLayout" Target="../slideLayouts/slideLayout814.xml"/><Relationship Id="rId28" Type="http://schemas.openxmlformats.org/officeDocument/2006/relationships/slideLayout" Target="../slideLayouts/slideLayout819.xml"/><Relationship Id="rId36" Type="http://schemas.openxmlformats.org/officeDocument/2006/relationships/slideLayout" Target="../slideLayouts/slideLayout827.xml"/><Relationship Id="rId49" Type="http://schemas.openxmlformats.org/officeDocument/2006/relationships/slideLayout" Target="../slideLayouts/slideLayout840.xml"/><Relationship Id="rId57" Type="http://schemas.openxmlformats.org/officeDocument/2006/relationships/slideLayout" Target="../slideLayouts/slideLayout848.xml"/><Relationship Id="rId61" Type="http://schemas.openxmlformats.org/officeDocument/2006/relationships/slideLayout" Target="../slideLayouts/slideLayout852.xml"/><Relationship Id="rId10" Type="http://schemas.openxmlformats.org/officeDocument/2006/relationships/slideLayout" Target="../slideLayouts/slideLayout801.xml"/><Relationship Id="rId19" Type="http://schemas.openxmlformats.org/officeDocument/2006/relationships/slideLayout" Target="../slideLayouts/slideLayout810.xml"/><Relationship Id="rId31" Type="http://schemas.openxmlformats.org/officeDocument/2006/relationships/slideLayout" Target="../slideLayouts/slideLayout822.xml"/><Relationship Id="rId44" Type="http://schemas.openxmlformats.org/officeDocument/2006/relationships/slideLayout" Target="../slideLayouts/slideLayout835.xml"/><Relationship Id="rId52" Type="http://schemas.openxmlformats.org/officeDocument/2006/relationships/slideLayout" Target="../slideLayouts/slideLayout843.xml"/><Relationship Id="rId60" Type="http://schemas.openxmlformats.org/officeDocument/2006/relationships/slideLayout" Target="../slideLayouts/slideLayout851.xml"/><Relationship Id="rId65" Type="http://schemas.openxmlformats.org/officeDocument/2006/relationships/slideLayout" Target="../slideLayouts/slideLayout856.xml"/><Relationship Id="rId73" Type="http://schemas.openxmlformats.org/officeDocument/2006/relationships/tags" Target="../tags/tag7.xml"/><Relationship Id="rId4" Type="http://schemas.openxmlformats.org/officeDocument/2006/relationships/slideLayout" Target="../slideLayouts/slideLayout795.xml"/><Relationship Id="rId9" Type="http://schemas.openxmlformats.org/officeDocument/2006/relationships/slideLayout" Target="../slideLayouts/slideLayout800.xml"/><Relationship Id="rId14" Type="http://schemas.openxmlformats.org/officeDocument/2006/relationships/slideLayout" Target="../slideLayouts/slideLayout805.xml"/><Relationship Id="rId22" Type="http://schemas.openxmlformats.org/officeDocument/2006/relationships/slideLayout" Target="../slideLayouts/slideLayout813.xml"/><Relationship Id="rId27" Type="http://schemas.openxmlformats.org/officeDocument/2006/relationships/slideLayout" Target="../slideLayouts/slideLayout818.xml"/><Relationship Id="rId30" Type="http://schemas.openxmlformats.org/officeDocument/2006/relationships/slideLayout" Target="../slideLayouts/slideLayout821.xml"/><Relationship Id="rId35" Type="http://schemas.openxmlformats.org/officeDocument/2006/relationships/slideLayout" Target="../slideLayouts/slideLayout826.xml"/><Relationship Id="rId43" Type="http://schemas.openxmlformats.org/officeDocument/2006/relationships/slideLayout" Target="../slideLayouts/slideLayout834.xml"/><Relationship Id="rId48" Type="http://schemas.openxmlformats.org/officeDocument/2006/relationships/slideLayout" Target="../slideLayouts/slideLayout839.xml"/><Relationship Id="rId56" Type="http://schemas.openxmlformats.org/officeDocument/2006/relationships/slideLayout" Target="../slideLayouts/slideLayout847.xml"/><Relationship Id="rId64" Type="http://schemas.openxmlformats.org/officeDocument/2006/relationships/slideLayout" Target="../slideLayouts/slideLayout855.xml"/><Relationship Id="rId69" Type="http://schemas.openxmlformats.org/officeDocument/2006/relationships/slideLayout" Target="../slideLayouts/slideLayout860.xml"/><Relationship Id="rId8" Type="http://schemas.openxmlformats.org/officeDocument/2006/relationships/slideLayout" Target="../slideLayouts/slideLayout799.xml"/><Relationship Id="rId51" Type="http://schemas.openxmlformats.org/officeDocument/2006/relationships/slideLayout" Target="../slideLayouts/slideLayout842.xml"/><Relationship Id="rId72" Type="http://schemas.openxmlformats.org/officeDocument/2006/relationships/theme" Target="../theme/theme11.xml"/><Relationship Id="rId3" Type="http://schemas.openxmlformats.org/officeDocument/2006/relationships/slideLayout" Target="../slideLayouts/slideLayout794.xml"/><Relationship Id="rId12" Type="http://schemas.openxmlformats.org/officeDocument/2006/relationships/slideLayout" Target="../slideLayouts/slideLayout803.xml"/><Relationship Id="rId17" Type="http://schemas.openxmlformats.org/officeDocument/2006/relationships/slideLayout" Target="../slideLayouts/slideLayout808.xml"/><Relationship Id="rId25" Type="http://schemas.openxmlformats.org/officeDocument/2006/relationships/slideLayout" Target="../slideLayouts/slideLayout816.xml"/><Relationship Id="rId33" Type="http://schemas.openxmlformats.org/officeDocument/2006/relationships/slideLayout" Target="../slideLayouts/slideLayout824.xml"/><Relationship Id="rId38" Type="http://schemas.openxmlformats.org/officeDocument/2006/relationships/slideLayout" Target="../slideLayouts/slideLayout829.xml"/><Relationship Id="rId46" Type="http://schemas.openxmlformats.org/officeDocument/2006/relationships/slideLayout" Target="../slideLayouts/slideLayout837.xml"/><Relationship Id="rId59" Type="http://schemas.openxmlformats.org/officeDocument/2006/relationships/slideLayout" Target="../slideLayouts/slideLayout850.xml"/><Relationship Id="rId67" Type="http://schemas.openxmlformats.org/officeDocument/2006/relationships/slideLayout" Target="../slideLayouts/slideLayout858.xml"/><Relationship Id="rId20" Type="http://schemas.openxmlformats.org/officeDocument/2006/relationships/slideLayout" Target="../slideLayouts/slideLayout811.xml"/><Relationship Id="rId41" Type="http://schemas.openxmlformats.org/officeDocument/2006/relationships/slideLayout" Target="../slideLayouts/slideLayout832.xml"/><Relationship Id="rId54" Type="http://schemas.openxmlformats.org/officeDocument/2006/relationships/slideLayout" Target="../slideLayouts/slideLayout845.xml"/><Relationship Id="rId62" Type="http://schemas.openxmlformats.org/officeDocument/2006/relationships/slideLayout" Target="../slideLayouts/slideLayout853.xml"/><Relationship Id="rId70" Type="http://schemas.openxmlformats.org/officeDocument/2006/relationships/slideLayout" Target="../slideLayouts/slideLayout861.xml"/><Relationship Id="rId75" Type="http://schemas.openxmlformats.org/officeDocument/2006/relationships/oleObject" Target="../embeddings/oleObject6.bin"/><Relationship Id="rId1" Type="http://schemas.openxmlformats.org/officeDocument/2006/relationships/slideLayout" Target="../slideLayouts/slideLayout792.xml"/><Relationship Id="rId6" Type="http://schemas.openxmlformats.org/officeDocument/2006/relationships/slideLayout" Target="../slideLayouts/slideLayout797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5.xml"/><Relationship Id="rId18" Type="http://schemas.openxmlformats.org/officeDocument/2006/relationships/slideLayout" Target="../slideLayouts/slideLayout880.xml"/><Relationship Id="rId26" Type="http://schemas.openxmlformats.org/officeDocument/2006/relationships/slideLayout" Target="../slideLayouts/slideLayout888.xml"/><Relationship Id="rId39" Type="http://schemas.openxmlformats.org/officeDocument/2006/relationships/slideLayout" Target="../slideLayouts/slideLayout901.xml"/><Relationship Id="rId21" Type="http://schemas.openxmlformats.org/officeDocument/2006/relationships/slideLayout" Target="../slideLayouts/slideLayout883.xml"/><Relationship Id="rId34" Type="http://schemas.openxmlformats.org/officeDocument/2006/relationships/slideLayout" Target="../slideLayouts/slideLayout896.xml"/><Relationship Id="rId42" Type="http://schemas.openxmlformats.org/officeDocument/2006/relationships/slideLayout" Target="../slideLayouts/slideLayout904.xml"/><Relationship Id="rId47" Type="http://schemas.openxmlformats.org/officeDocument/2006/relationships/slideLayout" Target="../slideLayouts/slideLayout909.xml"/><Relationship Id="rId50" Type="http://schemas.openxmlformats.org/officeDocument/2006/relationships/slideLayout" Target="../slideLayouts/slideLayout912.xml"/><Relationship Id="rId55" Type="http://schemas.openxmlformats.org/officeDocument/2006/relationships/slideLayout" Target="../slideLayouts/slideLayout917.xml"/><Relationship Id="rId63" Type="http://schemas.openxmlformats.org/officeDocument/2006/relationships/slideLayout" Target="../slideLayouts/slideLayout925.xml"/><Relationship Id="rId68" Type="http://schemas.openxmlformats.org/officeDocument/2006/relationships/slideLayout" Target="../slideLayouts/slideLayout930.xml"/><Relationship Id="rId7" Type="http://schemas.openxmlformats.org/officeDocument/2006/relationships/slideLayout" Target="../slideLayouts/slideLayout869.xml"/><Relationship Id="rId71" Type="http://schemas.openxmlformats.org/officeDocument/2006/relationships/theme" Target="../theme/theme12.xml"/><Relationship Id="rId2" Type="http://schemas.openxmlformats.org/officeDocument/2006/relationships/slideLayout" Target="../slideLayouts/slideLayout864.xml"/><Relationship Id="rId16" Type="http://schemas.openxmlformats.org/officeDocument/2006/relationships/slideLayout" Target="../slideLayouts/slideLayout878.xml"/><Relationship Id="rId29" Type="http://schemas.openxmlformats.org/officeDocument/2006/relationships/slideLayout" Target="../slideLayouts/slideLayout891.xml"/><Relationship Id="rId11" Type="http://schemas.openxmlformats.org/officeDocument/2006/relationships/slideLayout" Target="../slideLayouts/slideLayout873.xml"/><Relationship Id="rId24" Type="http://schemas.openxmlformats.org/officeDocument/2006/relationships/slideLayout" Target="../slideLayouts/slideLayout886.xml"/><Relationship Id="rId32" Type="http://schemas.openxmlformats.org/officeDocument/2006/relationships/slideLayout" Target="../slideLayouts/slideLayout894.xml"/><Relationship Id="rId37" Type="http://schemas.openxmlformats.org/officeDocument/2006/relationships/slideLayout" Target="../slideLayouts/slideLayout899.xml"/><Relationship Id="rId40" Type="http://schemas.openxmlformats.org/officeDocument/2006/relationships/slideLayout" Target="../slideLayouts/slideLayout902.xml"/><Relationship Id="rId45" Type="http://schemas.openxmlformats.org/officeDocument/2006/relationships/slideLayout" Target="../slideLayouts/slideLayout907.xml"/><Relationship Id="rId53" Type="http://schemas.openxmlformats.org/officeDocument/2006/relationships/slideLayout" Target="../slideLayouts/slideLayout915.xml"/><Relationship Id="rId58" Type="http://schemas.openxmlformats.org/officeDocument/2006/relationships/slideLayout" Target="../slideLayouts/slideLayout920.xml"/><Relationship Id="rId66" Type="http://schemas.openxmlformats.org/officeDocument/2006/relationships/slideLayout" Target="../slideLayouts/slideLayout928.xml"/><Relationship Id="rId74" Type="http://schemas.openxmlformats.org/officeDocument/2006/relationships/image" Target="../media/image71.emf"/><Relationship Id="rId5" Type="http://schemas.openxmlformats.org/officeDocument/2006/relationships/slideLayout" Target="../slideLayouts/slideLayout867.xml"/><Relationship Id="rId15" Type="http://schemas.openxmlformats.org/officeDocument/2006/relationships/slideLayout" Target="../slideLayouts/slideLayout877.xml"/><Relationship Id="rId23" Type="http://schemas.openxmlformats.org/officeDocument/2006/relationships/slideLayout" Target="../slideLayouts/slideLayout885.xml"/><Relationship Id="rId28" Type="http://schemas.openxmlformats.org/officeDocument/2006/relationships/slideLayout" Target="../slideLayouts/slideLayout890.xml"/><Relationship Id="rId36" Type="http://schemas.openxmlformats.org/officeDocument/2006/relationships/slideLayout" Target="../slideLayouts/slideLayout898.xml"/><Relationship Id="rId49" Type="http://schemas.openxmlformats.org/officeDocument/2006/relationships/slideLayout" Target="../slideLayouts/slideLayout911.xml"/><Relationship Id="rId57" Type="http://schemas.openxmlformats.org/officeDocument/2006/relationships/slideLayout" Target="../slideLayouts/slideLayout919.xml"/><Relationship Id="rId61" Type="http://schemas.openxmlformats.org/officeDocument/2006/relationships/slideLayout" Target="../slideLayouts/slideLayout923.xml"/><Relationship Id="rId10" Type="http://schemas.openxmlformats.org/officeDocument/2006/relationships/slideLayout" Target="../slideLayouts/slideLayout872.xml"/><Relationship Id="rId19" Type="http://schemas.openxmlformats.org/officeDocument/2006/relationships/slideLayout" Target="../slideLayouts/slideLayout881.xml"/><Relationship Id="rId31" Type="http://schemas.openxmlformats.org/officeDocument/2006/relationships/slideLayout" Target="../slideLayouts/slideLayout893.xml"/><Relationship Id="rId44" Type="http://schemas.openxmlformats.org/officeDocument/2006/relationships/slideLayout" Target="../slideLayouts/slideLayout906.xml"/><Relationship Id="rId52" Type="http://schemas.openxmlformats.org/officeDocument/2006/relationships/slideLayout" Target="../slideLayouts/slideLayout914.xml"/><Relationship Id="rId60" Type="http://schemas.openxmlformats.org/officeDocument/2006/relationships/slideLayout" Target="../slideLayouts/slideLayout922.xml"/><Relationship Id="rId65" Type="http://schemas.openxmlformats.org/officeDocument/2006/relationships/slideLayout" Target="../slideLayouts/slideLayout927.xml"/><Relationship Id="rId73" Type="http://schemas.openxmlformats.org/officeDocument/2006/relationships/oleObject" Target="../embeddings/oleObject7.bin"/><Relationship Id="rId4" Type="http://schemas.openxmlformats.org/officeDocument/2006/relationships/slideLayout" Target="../slideLayouts/slideLayout866.xml"/><Relationship Id="rId9" Type="http://schemas.openxmlformats.org/officeDocument/2006/relationships/slideLayout" Target="../slideLayouts/slideLayout871.xml"/><Relationship Id="rId14" Type="http://schemas.openxmlformats.org/officeDocument/2006/relationships/slideLayout" Target="../slideLayouts/slideLayout876.xml"/><Relationship Id="rId22" Type="http://schemas.openxmlformats.org/officeDocument/2006/relationships/slideLayout" Target="../slideLayouts/slideLayout884.xml"/><Relationship Id="rId27" Type="http://schemas.openxmlformats.org/officeDocument/2006/relationships/slideLayout" Target="../slideLayouts/slideLayout889.xml"/><Relationship Id="rId30" Type="http://schemas.openxmlformats.org/officeDocument/2006/relationships/slideLayout" Target="../slideLayouts/slideLayout892.xml"/><Relationship Id="rId35" Type="http://schemas.openxmlformats.org/officeDocument/2006/relationships/slideLayout" Target="../slideLayouts/slideLayout897.xml"/><Relationship Id="rId43" Type="http://schemas.openxmlformats.org/officeDocument/2006/relationships/slideLayout" Target="../slideLayouts/slideLayout905.xml"/><Relationship Id="rId48" Type="http://schemas.openxmlformats.org/officeDocument/2006/relationships/slideLayout" Target="../slideLayouts/slideLayout910.xml"/><Relationship Id="rId56" Type="http://schemas.openxmlformats.org/officeDocument/2006/relationships/slideLayout" Target="../slideLayouts/slideLayout918.xml"/><Relationship Id="rId64" Type="http://schemas.openxmlformats.org/officeDocument/2006/relationships/slideLayout" Target="../slideLayouts/slideLayout926.xml"/><Relationship Id="rId69" Type="http://schemas.openxmlformats.org/officeDocument/2006/relationships/slideLayout" Target="../slideLayouts/slideLayout931.xml"/><Relationship Id="rId8" Type="http://schemas.openxmlformats.org/officeDocument/2006/relationships/slideLayout" Target="../slideLayouts/slideLayout870.xml"/><Relationship Id="rId51" Type="http://schemas.openxmlformats.org/officeDocument/2006/relationships/slideLayout" Target="../slideLayouts/slideLayout913.xml"/><Relationship Id="rId72" Type="http://schemas.openxmlformats.org/officeDocument/2006/relationships/tags" Target="../tags/tag9.xml"/><Relationship Id="rId3" Type="http://schemas.openxmlformats.org/officeDocument/2006/relationships/slideLayout" Target="../slideLayouts/slideLayout865.xml"/><Relationship Id="rId12" Type="http://schemas.openxmlformats.org/officeDocument/2006/relationships/slideLayout" Target="../slideLayouts/slideLayout874.xml"/><Relationship Id="rId17" Type="http://schemas.openxmlformats.org/officeDocument/2006/relationships/slideLayout" Target="../slideLayouts/slideLayout879.xml"/><Relationship Id="rId25" Type="http://schemas.openxmlformats.org/officeDocument/2006/relationships/slideLayout" Target="../slideLayouts/slideLayout887.xml"/><Relationship Id="rId33" Type="http://schemas.openxmlformats.org/officeDocument/2006/relationships/slideLayout" Target="../slideLayouts/slideLayout895.xml"/><Relationship Id="rId38" Type="http://schemas.openxmlformats.org/officeDocument/2006/relationships/slideLayout" Target="../slideLayouts/slideLayout900.xml"/><Relationship Id="rId46" Type="http://schemas.openxmlformats.org/officeDocument/2006/relationships/slideLayout" Target="../slideLayouts/slideLayout908.xml"/><Relationship Id="rId59" Type="http://schemas.openxmlformats.org/officeDocument/2006/relationships/slideLayout" Target="../slideLayouts/slideLayout921.xml"/><Relationship Id="rId67" Type="http://schemas.openxmlformats.org/officeDocument/2006/relationships/slideLayout" Target="../slideLayouts/slideLayout929.xml"/><Relationship Id="rId20" Type="http://schemas.openxmlformats.org/officeDocument/2006/relationships/slideLayout" Target="../slideLayouts/slideLayout882.xml"/><Relationship Id="rId41" Type="http://schemas.openxmlformats.org/officeDocument/2006/relationships/slideLayout" Target="../slideLayouts/slideLayout903.xml"/><Relationship Id="rId54" Type="http://schemas.openxmlformats.org/officeDocument/2006/relationships/slideLayout" Target="../slideLayouts/slideLayout916.xml"/><Relationship Id="rId62" Type="http://schemas.openxmlformats.org/officeDocument/2006/relationships/slideLayout" Target="../slideLayouts/slideLayout924.xml"/><Relationship Id="rId70" Type="http://schemas.openxmlformats.org/officeDocument/2006/relationships/slideLayout" Target="../slideLayouts/slideLayout932.xml"/><Relationship Id="rId1" Type="http://schemas.openxmlformats.org/officeDocument/2006/relationships/slideLayout" Target="../slideLayouts/slideLayout863.xml"/><Relationship Id="rId6" Type="http://schemas.openxmlformats.org/officeDocument/2006/relationships/slideLayout" Target="../slideLayouts/slideLayout86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0.xml"/><Relationship Id="rId13" Type="http://schemas.openxmlformats.org/officeDocument/2006/relationships/image" Target="../media/image72.png"/><Relationship Id="rId3" Type="http://schemas.openxmlformats.org/officeDocument/2006/relationships/slideLayout" Target="../slideLayouts/slideLayout935.xml"/><Relationship Id="rId7" Type="http://schemas.openxmlformats.org/officeDocument/2006/relationships/slideLayout" Target="../slideLayouts/slideLayout9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934.xml"/><Relationship Id="rId1" Type="http://schemas.openxmlformats.org/officeDocument/2006/relationships/slideLayout" Target="../slideLayouts/slideLayout933.xml"/><Relationship Id="rId6" Type="http://schemas.openxmlformats.org/officeDocument/2006/relationships/slideLayout" Target="../slideLayouts/slideLayout938.xml"/><Relationship Id="rId11" Type="http://schemas.openxmlformats.org/officeDocument/2006/relationships/slideLayout" Target="../slideLayouts/slideLayout943.xml"/><Relationship Id="rId5" Type="http://schemas.openxmlformats.org/officeDocument/2006/relationships/slideLayout" Target="../slideLayouts/slideLayout937.xml"/><Relationship Id="rId15" Type="http://schemas.openxmlformats.org/officeDocument/2006/relationships/image" Target="../media/image74.jpeg"/><Relationship Id="rId10" Type="http://schemas.openxmlformats.org/officeDocument/2006/relationships/slideLayout" Target="../slideLayouts/slideLayout942.xml"/><Relationship Id="rId4" Type="http://schemas.openxmlformats.org/officeDocument/2006/relationships/slideLayout" Target="../slideLayouts/slideLayout936.xml"/><Relationship Id="rId9" Type="http://schemas.openxmlformats.org/officeDocument/2006/relationships/slideLayout" Target="../slideLayouts/slideLayout941.xml"/><Relationship Id="rId14" Type="http://schemas.openxmlformats.org/officeDocument/2006/relationships/image" Target="../media/image73.jpeg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6.xml"/><Relationship Id="rId18" Type="http://schemas.openxmlformats.org/officeDocument/2006/relationships/slideLayout" Target="../slideLayouts/slideLayout961.xml"/><Relationship Id="rId26" Type="http://schemas.openxmlformats.org/officeDocument/2006/relationships/slideLayout" Target="../slideLayouts/slideLayout969.xml"/><Relationship Id="rId39" Type="http://schemas.openxmlformats.org/officeDocument/2006/relationships/slideLayout" Target="../slideLayouts/slideLayout982.xml"/><Relationship Id="rId21" Type="http://schemas.openxmlformats.org/officeDocument/2006/relationships/slideLayout" Target="../slideLayouts/slideLayout964.xml"/><Relationship Id="rId34" Type="http://schemas.openxmlformats.org/officeDocument/2006/relationships/slideLayout" Target="../slideLayouts/slideLayout977.xml"/><Relationship Id="rId42" Type="http://schemas.openxmlformats.org/officeDocument/2006/relationships/slideLayout" Target="../slideLayouts/slideLayout985.xml"/><Relationship Id="rId47" Type="http://schemas.openxmlformats.org/officeDocument/2006/relationships/slideLayout" Target="../slideLayouts/slideLayout990.xml"/><Relationship Id="rId50" Type="http://schemas.openxmlformats.org/officeDocument/2006/relationships/slideLayout" Target="../slideLayouts/slideLayout993.xml"/><Relationship Id="rId55" Type="http://schemas.openxmlformats.org/officeDocument/2006/relationships/slideLayout" Target="../slideLayouts/slideLayout998.xml"/><Relationship Id="rId63" Type="http://schemas.openxmlformats.org/officeDocument/2006/relationships/slideLayout" Target="../slideLayouts/slideLayout1006.xml"/><Relationship Id="rId68" Type="http://schemas.openxmlformats.org/officeDocument/2006/relationships/slideLayout" Target="../slideLayouts/slideLayout1011.xml"/><Relationship Id="rId7" Type="http://schemas.openxmlformats.org/officeDocument/2006/relationships/slideLayout" Target="../slideLayouts/slideLayout950.xml"/><Relationship Id="rId71" Type="http://schemas.openxmlformats.org/officeDocument/2006/relationships/slideLayout" Target="../slideLayouts/slideLayout1014.xml"/><Relationship Id="rId2" Type="http://schemas.openxmlformats.org/officeDocument/2006/relationships/slideLayout" Target="../slideLayouts/slideLayout945.xml"/><Relationship Id="rId16" Type="http://schemas.openxmlformats.org/officeDocument/2006/relationships/slideLayout" Target="../slideLayouts/slideLayout959.xml"/><Relationship Id="rId29" Type="http://schemas.openxmlformats.org/officeDocument/2006/relationships/slideLayout" Target="../slideLayouts/slideLayout972.xml"/><Relationship Id="rId1" Type="http://schemas.openxmlformats.org/officeDocument/2006/relationships/slideLayout" Target="../slideLayouts/slideLayout944.xml"/><Relationship Id="rId6" Type="http://schemas.openxmlformats.org/officeDocument/2006/relationships/slideLayout" Target="../slideLayouts/slideLayout949.xml"/><Relationship Id="rId11" Type="http://schemas.openxmlformats.org/officeDocument/2006/relationships/slideLayout" Target="../slideLayouts/slideLayout954.xml"/><Relationship Id="rId24" Type="http://schemas.openxmlformats.org/officeDocument/2006/relationships/slideLayout" Target="../slideLayouts/slideLayout967.xml"/><Relationship Id="rId32" Type="http://schemas.openxmlformats.org/officeDocument/2006/relationships/slideLayout" Target="../slideLayouts/slideLayout975.xml"/><Relationship Id="rId37" Type="http://schemas.openxmlformats.org/officeDocument/2006/relationships/slideLayout" Target="../slideLayouts/slideLayout980.xml"/><Relationship Id="rId40" Type="http://schemas.openxmlformats.org/officeDocument/2006/relationships/slideLayout" Target="../slideLayouts/slideLayout983.xml"/><Relationship Id="rId45" Type="http://schemas.openxmlformats.org/officeDocument/2006/relationships/slideLayout" Target="../slideLayouts/slideLayout988.xml"/><Relationship Id="rId53" Type="http://schemas.openxmlformats.org/officeDocument/2006/relationships/slideLayout" Target="../slideLayouts/slideLayout996.xml"/><Relationship Id="rId58" Type="http://schemas.openxmlformats.org/officeDocument/2006/relationships/slideLayout" Target="../slideLayouts/slideLayout1001.xml"/><Relationship Id="rId66" Type="http://schemas.openxmlformats.org/officeDocument/2006/relationships/slideLayout" Target="../slideLayouts/slideLayout1009.xml"/><Relationship Id="rId5" Type="http://schemas.openxmlformats.org/officeDocument/2006/relationships/slideLayout" Target="../slideLayouts/slideLayout948.xml"/><Relationship Id="rId15" Type="http://schemas.openxmlformats.org/officeDocument/2006/relationships/slideLayout" Target="../slideLayouts/slideLayout958.xml"/><Relationship Id="rId23" Type="http://schemas.openxmlformats.org/officeDocument/2006/relationships/slideLayout" Target="../slideLayouts/slideLayout966.xml"/><Relationship Id="rId28" Type="http://schemas.openxmlformats.org/officeDocument/2006/relationships/slideLayout" Target="../slideLayouts/slideLayout971.xml"/><Relationship Id="rId36" Type="http://schemas.openxmlformats.org/officeDocument/2006/relationships/slideLayout" Target="../slideLayouts/slideLayout979.xml"/><Relationship Id="rId49" Type="http://schemas.openxmlformats.org/officeDocument/2006/relationships/slideLayout" Target="../slideLayouts/slideLayout992.xml"/><Relationship Id="rId57" Type="http://schemas.openxmlformats.org/officeDocument/2006/relationships/slideLayout" Target="../slideLayouts/slideLayout1000.xml"/><Relationship Id="rId61" Type="http://schemas.openxmlformats.org/officeDocument/2006/relationships/slideLayout" Target="../slideLayouts/slideLayout1004.xml"/><Relationship Id="rId10" Type="http://schemas.openxmlformats.org/officeDocument/2006/relationships/slideLayout" Target="../slideLayouts/slideLayout953.xml"/><Relationship Id="rId19" Type="http://schemas.openxmlformats.org/officeDocument/2006/relationships/slideLayout" Target="../slideLayouts/slideLayout962.xml"/><Relationship Id="rId31" Type="http://schemas.openxmlformats.org/officeDocument/2006/relationships/slideLayout" Target="../slideLayouts/slideLayout974.xml"/><Relationship Id="rId44" Type="http://schemas.openxmlformats.org/officeDocument/2006/relationships/slideLayout" Target="../slideLayouts/slideLayout987.xml"/><Relationship Id="rId52" Type="http://schemas.openxmlformats.org/officeDocument/2006/relationships/slideLayout" Target="../slideLayouts/slideLayout995.xml"/><Relationship Id="rId60" Type="http://schemas.openxmlformats.org/officeDocument/2006/relationships/slideLayout" Target="../slideLayouts/slideLayout1003.xml"/><Relationship Id="rId65" Type="http://schemas.openxmlformats.org/officeDocument/2006/relationships/slideLayout" Target="../slideLayouts/slideLayout1008.xml"/><Relationship Id="rId4" Type="http://schemas.openxmlformats.org/officeDocument/2006/relationships/slideLayout" Target="../slideLayouts/slideLayout947.xml"/><Relationship Id="rId9" Type="http://schemas.openxmlformats.org/officeDocument/2006/relationships/slideLayout" Target="../slideLayouts/slideLayout952.xml"/><Relationship Id="rId14" Type="http://schemas.openxmlformats.org/officeDocument/2006/relationships/slideLayout" Target="../slideLayouts/slideLayout957.xml"/><Relationship Id="rId22" Type="http://schemas.openxmlformats.org/officeDocument/2006/relationships/slideLayout" Target="../slideLayouts/slideLayout965.xml"/><Relationship Id="rId27" Type="http://schemas.openxmlformats.org/officeDocument/2006/relationships/slideLayout" Target="../slideLayouts/slideLayout970.xml"/><Relationship Id="rId30" Type="http://schemas.openxmlformats.org/officeDocument/2006/relationships/slideLayout" Target="../slideLayouts/slideLayout973.xml"/><Relationship Id="rId35" Type="http://schemas.openxmlformats.org/officeDocument/2006/relationships/slideLayout" Target="../slideLayouts/slideLayout978.xml"/><Relationship Id="rId43" Type="http://schemas.openxmlformats.org/officeDocument/2006/relationships/slideLayout" Target="../slideLayouts/slideLayout986.xml"/><Relationship Id="rId48" Type="http://schemas.openxmlformats.org/officeDocument/2006/relationships/slideLayout" Target="../slideLayouts/slideLayout991.xml"/><Relationship Id="rId56" Type="http://schemas.openxmlformats.org/officeDocument/2006/relationships/slideLayout" Target="../slideLayouts/slideLayout999.xml"/><Relationship Id="rId64" Type="http://schemas.openxmlformats.org/officeDocument/2006/relationships/slideLayout" Target="../slideLayouts/slideLayout1007.xml"/><Relationship Id="rId69" Type="http://schemas.openxmlformats.org/officeDocument/2006/relationships/slideLayout" Target="../slideLayouts/slideLayout1012.xml"/><Relationship Id="rId8" Type="http://schemas.openxmlformats.org/officeDocument/2006/relationships/slideLayout" Target="../slideLayouts/slideLayout951.xml"/><Relationship Id="rId51" Type="http://schemas.openxmlformats.org/officeDocument/2006/relationships/slideLayout" Target="../slideLayouts/slideLayout994.xml"/><Relationship Id="rId72" Type="http://schemas.openxmlformats.org/officeDocument/2006/relationships/theme" Target="../theme/theme14.xml"/><Relationship Id="rId3" Type="http://schemas.openxmlformats.org/officeDocument/2006/relationships/slideLayout" Target="../slideLayouts/slideLayout946.xml"/><Relationship Id="rId12" Type="http://schemas.openxmlformats.org/officeDocument/2006/relationships/slideLayout" Target="../slideLayouts/slideLayout955.xml"/><Relationship Id="rId17" Type="http://schemas.openxmlformats.org/officeDocument/2006/relationships/slideLayout" Target="../slideLayouts/slideLayout960.xml"/><Relationship Id="rId25" Type="http://schemas.openxmlformats.org/officeDocument/2006/relationships/slideLayout" Target="../slideLayouts/slideLayout968.xml"/><Relationship Id="rId33" Type="http://schemas.openxmlformats.org/officeDocument/2006/relationships/slideLayout" Target="../slideLayouts/slideLayout976.xml"/><Relationship Id="rId38" Type="http://schemas.openxmlformats.org/officeDocument/2006/relationships/slideLayout" Target="../slideLayouts/slideLayout981.xml"/><Relationship Id="rId46" Type="http://schemas.openxmlformats.org/officeDocument/2006/relationships/slideLayout" Target="../slideLayouts/slideLayout989.xml"/><Relationship Id="rId59" Type="http://schemas.openxmlformats.org/officeDocument/2006/relationships/slideLayout" Target="../slideLayouts/slideLayout1002.xml"/><Relationship Id="rId67" Type="http://schemas.openxmlformats.org/officeDocument/2006/relationships/slideLayout" Target="../slideLayouts/slideLayout1010.xml"/><Relationship Id="rId20" Type="http://schemas.openxmlformats.org/officeDocument/2006/relationships/slideLayout" Target="../slideLayouts/slideLayout963.xml"/><Relationship Id="rId41" Type="http://schemas.openxmlformats.org/officeDocument/2006/relationships/slideLayout" Target="../slideLayouts/slideLayout984.xml"/><Relationship Id="rId54" Type="http://schemas.openxmlformats.org/officeDocument/2006/relationships/slideLayout" Target="../slideLayouts/slideLayout997.xml"/><Relationship Id="rId62" Type="http://schemas.openxmlformats.org/officeDocument/2006/relationships/slideLayout" Target="../slideLayouts/slideLayout1005.xml"/><Relationship Id="rId70" Type="http://schemas.openxmlformats.org/officeDocument/2006/relationships/slideLayout" Target="../slideLayouts/slideLayout101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2.xml"/><Relationship Id="rId13" Type="http://schemas.openxmlformats.org/officeDocument/2006/relationships/slideLayout" Target="../slideLayouts/slideLayout1027.xml"/><Relationship Id="rId18" Type="http://schemas.openxmlformats.org/officeDocument/2006/relationships/slideLayout" Target="../slideLayouts/slideLayout1032.xml"/><Relationship Id="rId26" Type="http://schemas.openxmlformats.org/officeDocument/2006/relationships/slideLayout" Target="../slideLayouts/slideLayout1040.xml"/><Relationship Id="rId39" Type="http://schemas.openxmlformats.org/officeDocument/2006/relationships/tags" Target="../tags/tag10.xml"/><Relationship Id="rId3" Type="http://schemas.openxmlformats.org/officeDocument/2006/relationships/slideLayout" Target="../slideLayouts/slideLayout1017.xml"/><Relationship Id="rId21" Type="http://schemas.openxmlformats.org/officeDocument/2006/relationships/slideLayout" Target="../slideLayouts/slideLayout1035.xml"/><Relationship Id="rId34" Type="http://schemas.openxmlformats.org/officeDocument/2006/relationships/slideLayout" Target="../slideLayouts/slideLayout1048.xml"/><Relationship Id="rId7" Type="http://schemas.openxmlformats.org/officeDocument/2006/relationships/slideLayout" Target="../slideLayouts/slideLayout1021.xml"/><Relationship Id="rId12" Type="http://schemas.openxmlformats.org/officeDocument/2006/relationships/slideLayout" Target="../slideLayouts/slideLayout1026.xml"/><Relationship Id="rId17" Type="http://schemas.openxmlformats.org/officeDocument/2006/relationships/slideLayout" Target="../slideLayouts/slideLayout1031.xml"/><Relationship Id="rId25" Type="http://schemas.openxmlformats.org/officeDocument/2006/relationships/slideLayout" Target="../slideLayouts/slideLayout1039.xml"/><Relationship Id="rId33" Type="http://schemas.openxmlformats.org/officeDocument/2006/relationships/slideLayout" Target="../slideLayouts/slideLayout1047.xml"/><Relationship Id="rId38" Type="http://schemas.openxmlformats.org/officeDocument/2006/relationships/theme" Target="../theme/theme15.xml"/><Relationship Id="rId2" Type="http://schemas.openxmlformats.org/officeDocument/2006/relationships/slideLayout" Target="../slideLayouts/slideLayout1016.xml"/><Relationship Id="rId16" Type="http://schemas.openxmlformats.org/officeDocument/2006/relationships/slideLayout" Target="../slideLayouts/slideLayout1030.xml"/><Relationship Id="rId20" Type="http://schemas.openxmlformats.org/officeDocument/2006/relationships/slideLayout" Target="../slideLayouts/slideLayout1034.xml"/><Relationship Id="rId29" Type="http://schemas.openxmlformats.org/officeDocument/2006/relationships/slideLayout" Target="../slideLayouts/slideLayout1043.xml"/><Relationship Id="rId41" Type="http://schemas.openxmlformats.org/officeDocument/2006/relationships/image" Target="../media/image84.emf"/><Relationship Id="rId1" Type="http://schemas.openxmlformats.org/officeDocument/2006/relationships/slideLayout" Target="../slideLayouts/slideLayout1015.xml"/><Relationship Id="rId6" Type="http://schemas.openxmlformats.org/officeDocument/2006/relationships/slideLayout" Target="../slideLayouts/slideLayout1020.xml"/><Relationship Id="rId11" Type="http://schemas.openxmlformats.org/officeDocument/2006/relationships/slideLayout" Target="../slideLayouts/slideLayout1025.xml"/><Relationship Id="rId24" Type="http://schemas.openxmlformats.org/officeDocument/2006/relationships/slideLayout" Target="../slideLayouts/slideLayout1038.xml"/><Relationship Id="rId32" Type="http://schemas.openxmlformats.org/officeDocument/2006/relationships/slideLayout" Target="../slideLayouts/slideLayout1046.xml"/><Relationship Id="rId37" Type="http://schemas.openxmlformats.org/officeDocument/2006/relationships/slideLayout" Target="../slideLayouts/slideLayout1051.xml"/><Relationship Id="rId40" Type="http://schemas.openxmlformats.org/officeDocument/2006/relationships/oleObject" Target="../embeddings/oleObject8.bin"/><Relationship Id="rId5" Type="http://schemas.openxmlformats.org/officeDocument/2006/relationships/slideLayout" Target="../slideLayouts/slideLayout1019.xml"/><Relationship Id="rId15" Type="http://schemas.openxmlformats.org/officeDocument/2006/relationships/slideLayout" Target="../slideLayouts/slideLayout1029.xml"/><Relationship Id="rId23" Type="http://schemas.openxmlformats.org/officeDocument/2006/relationships/slideLayout" Target="../slideLayouts/slideLayout1037.xml"/><Relationship Id="rId28" Type="http://schemas.openxmlformats.org/officeDocument/2006/relationships/slideLayout" Target="../slideLayouts/slideLayout1042.xml"/><Relationship Id="rId36" Type="http://schemas.openxmlformats.org/officeDocument/2006/relationships/slideLayout" Target="../slideLayouts/slideLayout1050.xml"/><Relationship Id="rId10" Type="http://schemas.openxmlformats.org/officeDocument/2006/relationships/slideLayout" Target="../slideLayouts/slideLayout1024.xml"/><Relationship Id="rId19" Type="http://schemas.openxmlformats.org/officeDocument/2006/relationships/slideLayout" Target="../slideLayouts/slideLayout1033.xml"/><Relationship Id="rId31" Type="http://schemas.openxmlformats.org/officeDocument/2006/relationships/slideLayout" Target="../slideLayouts/slideLayout1045.xml"/><Relationship Id="rId4" Type="http://schemas.openxmlformats.org/officeDocument/2006/relationships/slideLayout" Target="../slideLayouts/slideLayout1018.xml"/><Relationship Id="rId9" Type="http://schemas.openxmlformats.org/officeDocument/2006/relationships/slideLayout" Target="../slideLayouts/slideLayout1023.xml"/><Relationship Id="rId14" Type="http://schemas.openxmlformats.org/officeDocument/2006/relationships/slideLayout" Target="../slideLayouts/slideLayout1028.xml"/><Relationship Id="rId22" Type="http://schemas.openxmlformats.org/officeDocument/2006/relationships/slideLayout" Target="../slideLayouts/slideLayout1036.xml"/><Relationship Id="rId27" Type="http://schemas.openxmlformats.org/officeDocument/2006/relationships/slideLayout" Target="../slideLayouts/slideLayout1041.xml"/><Relationship Id="rId30" Type="http://schemas.openxmlformats.org/officeDocument/2006/relationships/slideLayout" Target="../slideLayouts/slideLayout1044.xml"/><Relationship Id="rId35" Type="http://schemas.openxmlformats.org/officeDocument/2006/relationships/slideLayout" Target="../slideLayouts/slideLayout1049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64.xml"/><Relationship Id="rId18" Type="http://schemas.openxmlformats.org/officeDocument/2006/relationships/slideLayout" Target="../slideLayouts/slideLayout1069.xml"/><Relationship Id="rId26" Type="http://schemas.openxmlformats.org/officeDocument/2006/relationships/slideLayout" Target="../slideLayouts/slideLayout1077.xml"/><Relationship Id="rId39" Type="http://schemas.openxmlformats.org/officeDocument/2006/relationships/slideLayout" Target="../slideLayouts/slideLayout1090.xml"/><Relationship Id="rId21" Type="http://schemas.openxmlformats.org/officeDocument/2006/relationships/slideLayout" Target="../slideLayouts/slideLayout1072.xml"/><Relationship Id="rId34" Type="http://schemas.openxmlformats.org/officeDocument/2006/relationships/slideLayout" Target="../slideLayouts/slideLayout1085.xml"/><Relationship Id="rId42" Type="http://schemas.openxmlformats.org/officeDocument/2006/relationships/slideLayout" Target="../slideLayouts/slideLayout1093.xml"/><Relationship Id="rId47" Type="http://schemas.openxmlformats.org/officeDocument/2006/relationships/slideLayout" Target="../slideLayouts/slideLayout1098.xml"/><Relationship Id="rId50" Type="http://schemas.openxmlformats.org/officeDocument/2006/relationships/slideLayout" Target="../slideLayouts/slideLayout1101.xml"/><Relationship Id="rId55" Type="http://schemas.openxmlformats.org/officeDocument/2006/relationships/slideLayout" Target="../slideLayouts/slideLayout1106.xml"/><Relationship Id="rId63" Type="http://schemas.openxmlformats.org/officeDocument/2006/relationships/slideLayout" Target="../slideLayouts/slideLayout1114.xml"/><Relationship Id="rId68" Type="http://schemas.openxmlformats.org/officeDocument/2006/relationships/slideLayout" Target="../slideLayouts/slideLayout1119.xml"/><Relationship Id="rId7" Type="http://schemas.openxmlformats.org/officeDocument/2006/relationships/slideLayout" Target="../slideLayouts/slideLayout1058.xml"/><Relationship Id="rId71" Type="http://schemas.openxmlformats.org/officeDocument/2006/relationships/theme" Target="../theme/theme16.xml"/><Relationship Id="rId2" Type="http://schemas.openxmlformats.org/officeDocument/2006/relationships/slideLayout" Target="../slideLayouts/slideLayout1053.xml"/><Relationship Id="rId16" Type="http://schemas.openxmlformats.org/officeDocument/2006/relationships/slideLayout" Target="../slideLayouts/slideLayout1067.xml"/><Relationship Id="rId29" Type="http://schemas.openxmlformats.org/officeDocument/2006/relationships/slideLayout" Target="../slideLayouts/slideLayout1080.xml"/><Relationship Id="rId11" Type="http://schemas.openxmlformats.org/officeDocument/2006/relationships/slideLayout" Target="../slideLayouts/slideLayout1062.xml"/><Relationship Id="rId24" Type="http://schemas.openxmlformats.org/officeDocument/2006/relationships/slideLayout" Target="../slideLayouts/slideLayout1075.xml"/><Relationship Id="rId32" Type="http://schemas.openxmlformats.org/officeDocument/2006/relationships/slideLayout" Target="../slideLayouts/slideLayout1083.xml"/><Relationship Id="rId37" Type="http://schemas.openxmlformats.org/officeDocument/2006/relationships/slideLayout" Target="../slideLayouts/slideLayout1088.xml"/><Relationship Id="rId40" Type="http://schemas.openxmlformats.org/officeDocument/2006/relationships/slideLayout" Target="../slideLayouts/slideLayout1091.xml"/><Relationship Id="rId45" Type="http://schemas.openxmlformats.org/officeDocument/2006/relationships/slideLayout" Target="../slideLayouts/slideLayout1096.xml"/><Relationship Id="rId53" Type="http://schemas.openxmlformats.org/officeDocument/2006/relationships/slideLayout" Target="../slideLayouts/slideLayout1104.xml"/><Relationship Id="rId58" Type="http://schemas.openxmlformats.org/officeDocument/2006/relationships/slideLayout" Target="../slideLayouts/slideLayout1109.xml"/><Relationship Id="rId66" Type="http://schemas.openxmlformats.org/officeDocument/2006/relationships/slideLayout" Target="../slideLayouts/slideLayout1117.xml"/><Relationship Id="rId74" Type="http://schemas.openxmlformats.org/officeDocument/2006/relationships/image" Target="../media/image71.emf"/><Relationship Id="rId5" Type="http://schemas.openxmlformats.org/officeDocument/2006/relationships/slideLayout" Target="../slideLayouts/slideLayout1056.xml"/><Relationship Id="rId15" Type="http://schemas.openxmlformats.org/officeDocument/2006/relationships/slideLayout" Target="../slideLayouts/slideLayout1066.xml"/><Relationship Id="rId23" Type="http://schemas.openxmlformats.org/officeDocument/2006/relationships/slideLayout" Target="../slideLayouts/slideLayout1074.xml"/><Relationship Id="rId28" Type="http://schemas.openxmlformats.org/officeDocument/2006/relationships/slideLayout" Target="../slideLayouts/slideLayout1079.xml"/><Relationship Id="rId36" Type="http://schemas.openxmlformats.org/officeDocument/2006/relationships/slideLayout" Target="../slideLayouts/slideLayout1087.xml"/><Relationship Id="rId49" Type="http://schemas.openxmlformats.org/officeDocument/2006/relationships/slideLayout" Target="../slideLayouts/slideLayout1100.xml"/><Relationship Id="rId57" Type="http://schemas.openxmlformats.org/officeDocument/2006/relationships/slideLayout" Target="../slideLayouts/slideLayout1108.xml"/><Relationship Id="rId61" Type="http://schemas.openxmlformats.org/officeDocument/2006/relationships/slideLayout" Target="../slideLayouts/slideLayout1112.xml"/><Relationship Id="rId10" Type="http://schemas.openxmlformats.org/officeDocument/2006/relationships/slideLayout" Target="../slideLayouts/slideLayout1061.xml"/><Relationship Id="rId19" Type="http://schemas.openxmlformats.org/officeDocument/2006/relationships/slideLayout" Target="../slideLayouts/slideLayout1070.xml"/><Relationship Id="rId31" Type="http://schemas.openxmlformats.org/officeDocument/2006/relationships/slideLayout" Target="../slideLayouts/slideLayout1082.xml"/><Relationship Id="rId44" Type="http://schemas.openxmlformats.org/officeDocument/2006/relationships/slideLayout" Target="../slideLayouts/slideLayout1095.xml"/><Relationship Id="rId52" Type="http://schemas.openxmlformats.org/officeDocument/2006/relationships/slideLayout" Target="../slideLayouts/slideLayout1103.xml"/><Relationship Id="rId60" Type="http://schemas.openxmlformats.org/officeDocument/2006/relationships/slideLayout" Target="../slideLayouts/slideLayout1111.xml"/><Relationship Id="rId65" Type="http://schemas.openxmlformats.org/officeDocument/2006/relationships/slideLayout" Target="../slideLayouts/slideLayout1116.xml"/><Relationship Id="rId73" Type="http://schemas.openxmlformats.org/officeDocument/2006/relationships/oleObject" Target="../embeddings/oleObject9.bin"/><Relationship Id="rId4" Type="http://schemas.openxmlformats.org/officeDocument/2006/relationships/slideLayout" Target="../slideLayouts/slideLayout1055.xml"/><Relationship Id="rId9" Type="http://schemas.openxmlformats.org/officeDocument/2006/relationships/slideLayout" Target="../slideLayouts/slideLayout1060.xml"/><Relationship Id="rId14" Type="http://schemas.openxmlformats.org/officeDocument/2006/relationships/slideLayout" Target="../slideLayouts/slideLayout1065.xml"/><Relationship Id="rId22" Type="http://schemas.openxmlformats.org/officeDocument/2006/relationships/slideLayout" Target="../slideLayouts/slideLayout1073.xml"/><Relationship Id="rId27" Type="http://schemas.openxmlformats.org/officeDocument/2006/relationships/slideLayout" Target="../slideLayouts/slideLayout1078.xml"/><Relationship Id="rId30" Type="http://schemas.openxmlformats.org/officeDocument/2006/relationships/slideLayout" Target="../slideLayouts/slideLayout1081.xml"/><Relationship Id="rId35" Type="http://schemas.openxmlformats.org/officeDocument/2006/relationships/slideLayout" Target="../slideLayouts/slideLayout1086.xml"/><Relationship Id="rId43" Type="http://schemas.openxmlformats.org/officeDocument/2006/relationships/slideLayout" Target="../slideLayouts/slideLayout1094.xml"/><Relationship Id="rId48" Type="http://schemas.openxmlformats.org/officeDocument/2006/relationships/slideLayout" Target="../slideLayouts/slideLayout1099.xml"/><Relationship Id="rId56" Type="http://schemas.openxmlformats.org/officeDocument/2006/relationships/slideLayout" Target="../slideLayouts/slideLayout1107.xml"/><Relationship Id="rId64" Type="http://schemas.openxmlformats.org/officeDocument/2006/relationships/slideLayout" Target="../slideLayouts/slideLayout1115.xml"/><Relationship Id="rId69" Type="http://schemas.openxmlformats.org/officeDocument/2006/relationships/slideLayout" Target="../slideLayouts/slideLayout1120.xml"/><Relationship Id="rId8" Type="http://schemas.openxmlformats.org/officeDocument/2006/relationships/slideLayout" Target="../slideLayouts/slideLayout1059.xml"/><Relationship Id="rId51" Type="http://schemas.openxmlformats.org/officeDocument/2006/relationships/slideLayout" Target="../slideLayouts/slideLayout1102.xml"/><Relationship Id="rId72" Type="http://schemas.openxmlformats.org/officeDocument/2006/relationships/tags" Target="../tags/tag11.xml"/><Relationship Id="rId3" Type="http://schemas.openxmlformats.org/officeDocument/2006/relationships/slideLayout" Target="../slideLayouts/slideLayout1054.xml"/><Relationship Id="rId12" Type="http://schemas.openxmlformats.org/officeDocument/2006/relationships/slideLayout" Target="../slideLayouts/slideLayout1063.xml"/><Relationship Id="rId17" Type="http://schemas.openxmlformats.org/officeDocument/2006/relationships/slideLayout" Target="../slideLayouts/slideLayout1068.xml"/><Relationship Id="rId25" Type="http://schemas.openxmlformats.org/officeDocument/2006/relationships/slideLayout" Target="../slideLayouts/slideLayout1076.xml"/><Relationship Id="rId33" Type="http://schemas.openxmlformats.org/officeDocument/2006/relationships/slideLayout" Target="../slideLayouts/slideLayout1084.xml"/><Relationship Id="rId38" Type="http://schemas.openxmlformats.org/officeDocument/2006/relationships/slideLayout" Target="../slideLayouts/slideLayout1089.xml"/><Relationship Id="rId46" Type="http://schemas.openxmlformats.org/officeDocument/2006/relationships/slideLayout" Target="../slideLayouts/slideLayout1097.xml"/><Relationship Id="rId59" Type="http://schemas.openxmlformats.org/officeDocument/2006/relationships/slideLayout" Target="../slideLayouts/slideLayout1110.xml"/><Relationship Id="rId67" Type="http://schemas.openxmlformats.org/officeDocument/2006/relationships/slideLayout" Target="../slideLayouts/slideLayout1118.xml"/><Relationship Id="rId20" Type="http://schemas.openxmlformats.org/officeDocument/2006/relationships/slideLayout" Target="../slideLayouts/slideLayout1071.xml"/><Relationship Id="rId41" Type="http://schemas.openxmlformats.org/officeDocument/2006/relationships/slideLayout" Target="../slideLayouts/slideLayout1092.xml"/><Relationship Id="rId54" Type="http://schemas.openxmlformats.org/officeDocument/2006/relationships/slideLayout" Target="../slideLayouts/slideLayout1105.xml"/><Relationship Id="rId62" Type="http://schemas.openxmlformats.org/officeDocument/2006/relationships/slideLayout" Target="../slideLayouts/slideLayout1113.xml"/><Relationship Id="rId70" Type="http://schemas.openxmlformats.org/officeDocument/2006/relationships/slideLayout" Target="../slideLayouts/slideLayout1121.xml"/><Relationship Id="rId1" Type="http://schemas.openxmlformats.org/officeDocument/2006/relationships/slideLayout" Target="../slideLayouts/slideLayout1052.xml"/><Relationship Id="rId6" Type="http://schemas.openxmlformats.org/officeDocument/2006/relationships/slideLayout" Target="../slideLayouts/slideLayout1057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4.xml"/><Relationship Id="rId18" Type="http://schemas.openxmlformats.org/officeDocument/2006/relationships/slideLayout" Target="../slideLayouts/slideLayout1139.xml"/><Relationship Id="rId26" Type="http://schemas.openxmlformats.org/officeDocument/2006/relationships/slideLayout" Target="../slideLayouts/slideLayout1147.xml"/><Relationship Id="rId39" Type="http://schemas.openxmlformats.org/officeDocument/2006/relationships/slideLayout" Target="../slideLayouts/slideLayout1160.xml"/><Relationship Id="rId21" Type="http://schemas.openxmlformats.org/officeDocument/2006/relationships/slideLayout" Target="../slideLayouts/slideLayout1142.xml"/><Relationship Id="rId34" Type="http://schemas.openxmlformats.org/officeDocument/2006/relationships/slideLayout" Target="../slideLayouts/slideLayout1155.xml"/><Relationship Id="rId42" Type="http://schemas.openxmlformats.org/officeDocument/2006/relationships/slideLayout" Target="../slideLayouts/slideLayout1163.xml"/><Relationship Id="rId47" Type="http://schemas.openxmlformats.org/officeDocument/2006/relationships/slideLayout" Target="../slideLayouts/slideLayout1168.xml"/><Relationship Id="rId50" Type="http://schemas.openxmlformats.org/officeDocument/2006/relationships/slideLayout" Target="../slideLayouts/slideLayout1171.xml"/><Relationship Id="rId55" Type="http://schemas.openxmlformats.org/officeDocument/2006/relationships/slideLayout" Target="../slideLayouts/slideLayout1176.xml"/><Relationship Id="rId63" Type="http://schemas.openxmlformats.org/officeDocument/2006/relationships/slideLayout" Target="../slideLayouts/slideLayout1184.xml"/><Relationship Id="rId68" Type="http://schemas.openxmlformats.org/officeDocument/2006/relationships/slideLayout" Target="../slideLayouts/slideLayout1189.xml"/><Relationship Id="rId76" Type="http://schemas.openxmlformats.org/officeDocument/2006/relationships/image" Target="../media/image52.emf"/><Relationship Id="rId7" Type="http://schemas.openxmlformats.org/officeDocument/2006/relationships/slideLayout" Target="../slideLayouts/slideLayout1128.xml"/><Relationship Id="rId71" Type="http://schemas.openxmlformats.org/officeDocument/2006/relationships/slideLayout" Target="../slideLayouts/slideLayout1192.xml"/><Relationship Id="rId2" Type="http://schemas.openxmlformats.org/officeDocument/2006/relationships/slideLayout" Target="../slideLayouts/slideLayout1123.xml"/><Relationship Id="rId16" Type="http://schemas.openxmlformats.org/officeDocument/2006/relationships/slideLayout" Target="../slideLayouts/slideLayout1137.xml"/><Relationship Id="rId29" Type="http://schemas.openxmlformats.org/officeDocument/2006/relationships/slideLayout" Target="../slideLayouts/slideLayout1150.xml"/><Relationship Id="rId11" Type="http://schemas.openxmlformats.org/officeDocument/2006/relationships/slideLayout" Target="../slideLayouts/slideLayout1132.xml"/><Relationship Id="rId24" Type="http://schemas.openxmlformats.org/officeDocument/2006/relationships/slideLayout" Target="../slideLayouts/slideLayout1145.xml"/><Relationship Id="rId32" Type="http://schemas.openxmlformats.org/officeDocument/2006/relationships/slideLayout" Target="../slideLayouts/slideLayout1153.xml"/><Relationship Id="rId37" Type="http://schemas.openxmlformats.org/officeDocument/2006/relationships/slideLayout" Target="../slideLayouts/slideLayout1158.xml"/><Relationship Id="rId40" Type="http://schemas.openxmlformats.org/officeDocument/2006/relationships/slideLayout" Target="../slideLayouts/slideLayout1161.xml"/><Relationship Id="rId45" Type="http://schemas.openxmlformats.org/officeDocument/2006/relationships/slideLayout" Target="../slideLayouts/slideLayout1166.xml"/><Relationship Id="rId53" Type="http://schemas.openxmlformats.org/officeDocument/2006/relationships/slideLayout" Target="../slideLayouts/slideLayout1174.xml"/><Relationship Id="rId58" Type="http://schemas.openxmlformats.org/officeDocument/2006/relationships/slideLayout" Target="../slideLayouts/slideLayout1179.xml"/><Relationship Id="rId66" Type="http://schemas.openxmlformats.org/officeDocument/2006/relationships/slideLayout" Target="../slideLayouts/slideLayout1187.xml"/><Relationship Id="rId74" Type="http://schemas.openxmlformats.org/officeDocument/2006/relationships/tags" Target="../tags/tag12.xml"/><Relationship Id="rId5" Type="http://schemas.openxmlformats.org/officeDocument/2006/relationships/slideLayout" Target="../slideLayouts/slideLayout1126.xml"/><Relationship Id="rId15" Type="http://schemas.openxmlformats.org/officeDocument/2006/relationships/slideLayout" Target="../slideLayouts/slideLayout1136.xml"/><Relationship Id="rId23" Type="http://schemas.openxmlformats.org/officeDocument/2006/relationships/slideLayout" Target="../slideLayouts/slideLayout1144.xml"/><Relationship Id="rId28" Type="http://schemas.openxmlformats.org/officeDocument/2006/relationships/slideLayout" Target="../slideLayouts/slideLayout1149.xml"/><Relationship Id="rId36" Type="http://schemas.openxmlformats.org/officeDocument/2006/relationships/slideLayout" Target="../slideLayouts/slideLayout1157.xml"/><Relationship Id="rId49" Type="http://schemas.openxmlformats.org/officeDocument/2006/relationships/slideLayout" Target="../slideLayouts/slideLayout1170.xml"/><Relationship Id="rId57" Type="http://schemas.openxmlformats.org/officeDocument/2006/relationships/slideLayout" Target="../slideLayouts/slideLayout1178.xml"/><Relationship Id="rId61" Type="http://schemas.openxmlformats.org/officeDocument/2006/relationships/slideLayout" Target="../slideLayouts/slideLayout1182.xml"/><Relationship Id="rId10" Type="http://schemas.openxmlformats.org/officeDocument/2006/relationships/slideLayout" Target="../slideLayouts/slideLayout1131.xml"/><Relationship Id="rId19" Type="http://schemas.openxmlformats.org/officeDocument/2006/relationships/slideLayout" Target="../slideLayouts/slideLayout1140.xml"/><Relationship Id="rId31" Type="http://schemas.openxmlformats.org/officeDocument/2006/relationships/slideLayout" Target="../slideLayouts/slideLayout1152.xml"/><Relationship Id="rId44" Type="http://schemas.openxmlformats.org/officeDocument/2006/relationships/slideLayout" Target="../slideLayouts/slideLayout1165.xml"/><Relationship Id="rId52" Type="http://schemas.openxmlformats.org/officeDocument/2006/relationships/slideLayout" Target="../slideLayouts/slideLayout1173.xml"/><Relationship Id="rId60" Type="http://schemas.openxmlformats.org/officeDocument/2006/relationships/slideLayout" Target="../slideLayouts/slideLayout1181.xml"/><Relationship Id="rId65" Type="http://schemas.openxmlformats.org/officeDocument/2006/relationships/slideLayout" Target="../slideLayouts/slideLayout1186.xml"/><Relationship Id="rId73" Type="http://schemas.openxmlformats.org/officeDocument/2006/relationships/theme" Target="../theme/theme17.xml"/><Relationship Id="rId4" Type="http://schemas.openxmlformats.org/officeDocument/2006/relationships/slideLayout" Target="../slideLayouts/slideLayout1125.xml"/><Relationship Id="rId9" Type="http://schemas.openxmlformats.org/officeDocument/2006/relationships/slideLayout" Target="../slideLayouts/slideLayout1130.xml"/><Relationship Id="rId14" Type="http://schemas.openxmlformats.org/officeDocument/2006/relationships/slideLayout" Target="../slideLayouts/slideLayout1135.xml"/><Relationship Id="rId22" Type="http://schemas.openxmlformats.org/officeDocument/2006/relationships/slideLayout" Target="../slideLayouts/slideLayout1143.xml"/><Relationship Id="rId27" Type="http://schemas.openxmlformats.org/officeDocument/2006/relationships/slideLayout" Target="../slideLayouts/slideLayout1148.xml"/><Relationship Id="rId30" Type="http://schemas.openxmlformats.org/officeDocument/2006/relationships/slideLayout" Target="../slideLayouts/slideLayout1151.xml"/><Relationship Id="rId35" Type="http://schemas.openxmlformats.org/officeDocument/2006/relationships/slideLayout" Target="../slideLayouts/slideLayout1156.xml"/><Relationship Id="rId43" Type="http://schemas.openxmlformats.org/officeDocument/2006/relationships/slideLayout" Target="../slideLayouts/slideLayout1164.xml"/><Relationship Id="rId48" Type="http://schemas.openxmlformats.org/officeDocument/2006/relationships/slideLayout" Target="../slideLayouts/slideLayout1169.xml"/><Relationship Id="rId56" Type="http://schemas.openxmlformats.org/officeDocument/2006/relationships/slideLayout" Target="../slideLayouts/slideLayout1177.xml"/><Relationship Id="rId64" Type="http://schemas.openxmlformats.org/officeDocument/2006/relationships/slideLayout" Target="../slideLayouts/slideLayout1185.xml"/><Relationship Id="rId69" Type="http://schemas.openxmlformats.org/officeDocument/2006/relationships/slideLayout" Target="../slideLayouts/slideLayout1190.xml"/><Relationship Id="rId8" Type="http://schemas.openxmlformats.org/officeDocument/2006/relationships/slideLayout" Target="../slideLayouts/slideLayout1129.xml"/><Relationship Id="rId51" Type="http://schemas.openxmlformats.org/officeDocument/2006/relationships/slideLayout" Target="../slideLayouts/slideLayout1172.xml"/><Relationship Id="rId72" Type="http://schemas.openxmlformats.org/officeDocument/2006/relationships/slideLayout" Target="../slideLayouts/slideLayout1193.xml"/><Relationship Id="rId3" Type="http://schemas.openxmlformats.org/officeDocument/2006/relationships/slideLayout" Target="../slideLayouts/slideLayout1124.xml"/><Relationship Id="rId12" Type="http://schemas.openxmlformats.org/officeDocument/2006/relationships/slideLayout" Target="../slideLayouts/slideLayout1133.xml"/><Relationship Id="rId17" Type="http://schemas.openxmlformats.org/officeDocument/2006/relationships/slideLayout" Target="../slideLayouts/slideLayout1138.xml"/><Relationship Id="rId25" Type="http://schemas.openxmlformats.org/officeDocument/2006/relationships/slideLayout" Target="../slideLayouts/slideLayout1146.xml"/><Relationship Id="rId33" Type="http://schemas.openxmlformats.org/officeDocument/2006/relationships/slideLayout" Target="../slideLayouts/slideLayout1154.xml"/><Relationship Id="rId38" Type="http://schemas.openxmlformats.org/officeDocument/2006/relationships/slideLayout" Target="../slideLayouts/slideLayout1159.xml"/><Relationship Id="rId46" Type="http://schemas.openxmlformats.org/officeDocument/2006/relationships/slideLayout" Target="../slideLayouts/slideLayout1167.xml"/><Relationship Id="rId59" Type="http://schemas.openxmlformats.org/officeDocument/2006/relationships/slideLayout" Target="../slideLayouts/slideLayout1180.xml"/><Relationship Id="rId67" Type="http://schemas.openxmlformats.org/officeDocument/2006/relationships/slideLayout" Target="../slideLayouts/slideLayout1188.xml"/><Relationship Id="rId20" Type="http://schemas.openxmlformats.org/officeDocument/2006/relationships/slideLayout" Target="../slideLayouts/slideLayout1141.xml"/><Relationship Id="rId41" Type="http://schemas.openxmlformats.org/officeDocument/2006/relationships/slideLayout" Target="../slideLayouts/slideLayout1162.xml"/><Relationship Id="rId54" Type="http://schemas.openxmlformats.org/officeDocument/2006/relationships/slideLayout" Target="../slideLayouts/slideLayout1175.xml"/><Relationship Id="rId62" Type="http://schemas.openxmlformats.org/officeDocument/2006/relationships/slideLayout" Target="../slideLayouts/slideLayout1183.xml"/><Relationship Id="rId70" Type="http://schemas.openxmlformats.org/officeDocument/2006/relationships/slideLayout" Target="../slideLayouts/slideLayout1191.xml"/><Relationship Id="rId75" Type="http://schemas.openxmlformats.org/officeDocument/2006/relationships/oleObject" Target="../embeddings/oleObject10.bin"/><Relationship Id="rId1" Type="http://schemas.openxmlformats.org/officeDocument/2006/relationships/slideLayout" Target="../slideLayouts/slideLayout1122.xml"/><Relationship Id="rId6" Type="http://schemas.openxmlformats.org/officeDocument/2006/relationships/slideLayout" Target="../slideLayouts/slideLayout1127.xml"/></Relationships>
</file>

<file path=ppt/slideMasters/_rels/slideMaster1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19.xml"/><Relationship Id="rId21" Type="http://schemas.openxmlformats.org/officeDocument/2006/relationships/slideLayout" Target="../slideLayouts/slideLayout1214.xml"/><Relationship Id="rId42" Type="http://schemas.openxmlformats.org/officeDocument/2006/relationships/slideLayout" Target="../slideLayouts/slideLayout1235.xml"/><Relationship Id="rId47" Type="http://schemas.openxmlformats.org/officeDocument/2006/relationships/slideLayout" Target="../slideLayouts/slideLayout1240.xml"/><Relationship Id="rId63" Type="http://schemas.openxmlformats.org/officeDocument/2006/relationships/slideLayout" Target="../slideLayouts/slideLayout1256.xml"/><Relationship Id="rId68" Type="http://schemas.openxmlformats.org/officeDocument/2006/relationships/slideLayout" Target="../slideLayouts/slideLayout1261.xml"/><Relationship Id="rId84" Type="http://schemas.openxmlformats.org/officeDocument/2006/relationships/slideLayout" Target="../slideLayouts/slideLayout1277.xml"/><Relationship Id="rId89" Type="http://schemas.openxmlformats.org/officeDocument/2006/relationships/slideLayout" Target="../slideLayouts/slideLayout1282.xml"/><Relationship Id="rId7" Type="http://schemas.openxmlformats.org/officeDocument/2006/relationships/slideLayout" Target="../slideLayouts/slideLayout1200.xml"/><Relationship Id="rId71" Type="http://schemas.openxmlformats.org/officeDocument/2006/relationships/slideLayout" Target="../slideLayouts/slideLayout1264.xml"/><Relationship Id="rId92" Type="http://schemas.openxmlformats.org/officeDocument/2006/relationships/slideLayout" Target="../slideLayouts/slideLayout1285.xml"/><Relationship Id="rId2" Type="http://schemas.openxmlformats.org/officeDocument/2006/relationships/slideLayout" Target="../slideLayouts/slideLayout1195.xml"/><Relationship Id="rId16" Type="http://schemas.openxmlformats.org/officeDocument/2006/relationships/slideLayout" Target="../slideLayouts/slideLayout1209.xml"/><Relationship Id="rId29" Type="http://schemas.openxmlformats.org/officeDocument/2006/relationships/slideLayout" Target="../slideLayouts/slideLayout1222.xml"/><Relationship Id="rId11" Type="http://schemas.openxmlformats.org/officeDocument/2006/relationships/slideLayout" Target="../slideLayouts/slideLayout1204.xml"/><Relationship Id="rId24" Type="http://schemas.openxmlformats.org/officeDocument/2006/relationships/slideLayout" Target="../slideLayouts/slideLayout1217.xml"/><Relationship Id="rId32" Type="http://schemas.openxmlformats.org/officeDocument/2006/relationships/slideLayout" Target="../slideLayouts/slideLayout1225.xml"/><Relationship Id="rId37" Type="http://schemas.openxmlformats.org/officeDocument/2006/relationships/slideLayout" Target="../slideLayouts/slideLayout1230.xml"/><Relationship Id="rId40" Type="http://schemas.openxmlformats.org/officeDocument/2006/relationships/slideLayout" Target="../slideLayouts/slideLayout1233.xml"/><Relationship Id="rId45" Type="http://schemas.openxmlformats.org/officeDocument/2006/relationships/slideLayout" Target="../slideLayouts/slideLayout1238.xml"/><Relationship Id="rId53" Type="http://schemas.openxmlformats.org/officeDocument/2006/relationships/slideLayout" Target="../slideLayouts/slideLayout1246.xml"/><Relationship Id="rId58" Type="http://schemas.openxmlformats.org/officeDocument/2006/relationships/slideLayout" Target="../slideLayouts/slideLayout1251.xml"/><Relationship Id="rId66" Type="http://schemas.openxmlformats.org/officeDocument/2006/relationships/slideLayout" Target="../slideLayouts/slideLayout1259.xml"/><Relationship Id="rId74" Type="http://schemas.openxmlformats.org/officeDocument/2006/relationships/slideLayout" Target="../slideLayouts/slideLayout1267.xml"/><Relationship Id="rId79" Type="http://schemas.openxmlformats.org/officeDocument/2006/relationships/slideLayout" Target="../slideLayouts/slideLayout1272.xml"/><Relationship Id="rId87" Type="http://schemas.openxmlformats.org/officeDocument/2006/relationships/slideLayout" Target="../slideLayouts/slideLayout1280.xml"/><Relationship Id="rId102" Type="http://schemas.openxmlformats.org/officeDocument/2006/relationships/slideLayout" Target="../slideLayouts/slideLayout1295.xml"/><Relationship Id="rId5" Type="http://schemas.openxmlformats.org/officeDocument/2006/relationships/slideLayout" Target="../slideLayouts/slideLayout1198.xml"/><Relationship Id="rId61" Type="http://schemas.openxmlformats.org/officeDocument/2006/relationships/slideLayout" Target="../slideLayouts/slideLayout1254.xml"/><Relationship Id="rId82" Type="http://schemas.openxmlformats.org/officeDocument/2006/relationships/slideLayout" Target="../slideLayouts/slideLayout1275.xml"/><Relationship Id="rId90" Type="http://schemas.openxmlformats.org/officeDocument/2006/relationships/slideLayout" Target="../slideLayouts/slideLayout1283.xml"/><Relationship Id="rId95" Type="http://schemas.openxmlformats.org/officeDocument/2006/relationships/slideLayout" Target="../slideLayouts/slideLayout1288.xml"/><Relationship Id="rId19" Type="http://schemas.openxmlformats.org/officeDocument/2006/relationships/slideLayout" Target="../slideLayouts/slideLayout1212.xml"/><Relationship Id="rId14" Type="http://schemas.openxmlformats.org/officeDocument/2006/relationships/slideLayout" Target="../slideLayouts/slideLayout1207.xml"/><Relationship Id="rId22" Type="http://schemas.openxmlformats.org/officeDocument/2006/relationships/slideLayout" Target="../slideLayouts/slideLayout1215.xml"/><Relationship Id="rId27" Type="http://schemas.openxmlformats.org/officeDocument/2006/relationships/slideLayout" Target="../slideLayouts/slideLayout1220.xml"/><Relationship Id="rId30" Type="http://schemas.openxmlformats.org/officeDocument/2006/relationships/slideLayout" Target="../slideLayouts/slideLayout1223.xml"/><Relationship Id="rId35" Type="http://schemas.openxmlformats.org/officeDocument/2006/relationships/slideLayout" Target="../slideLayouts/slideLayout1228.xml"/><Relationship Id="rId43" Type="http://schemas.openxmlformats.org/officeDocument/2006/relationships/slideLayout" Target="../slideLayouts/slideLayout1236.xml"/><Relationship Id="rId48" Type="http://schemas.openxmlformats.org/officeDocument/2006/relationships/slideLayout" Target="../slideLayouts/slideLayout1241.xml"/><Relationship Id="rId56" Type="http://schemas.openxmlformats.org/officeDocument/2006/relationships/slideLayout" Target="../slideLayouts/slideLayout1249.xml"/><Relationship Id="rId64" Type="http://schemas.openxmlformats.org/officeDocument/2006/relationships/slideLayout" Target="../slideLayouts/slideLayout1257.xml"/><Relationship Id="rId69" Type="http://schemas.openxmlformats.org/officeDocument/2006/relationships/slideLayout" Target="../slideLayouts/slideLayout1262.xml"/><Relationship Id="rId77" Type="http://schemas.openxmlformats.org/officeDocument/2006/relationships/slideLayout" Target="../slideLayouts/slideLayout1270.xml"/><Relationship Id="rId100" Type="http://schemas.openxmlformats.org/officeDocument/2006/relationships/slideLayout" Target="../slideLayouts/slideLayout1293.xml"/><Relationship Id="rId8" Type="http://schemas.openxmlformats.org/officeDocument/2006/relationships/slideLayout" Target="../slideLayouts/slideLayout1201.xml"/><Relationship Id="rId51" Type="http://schemas.openxmlformats.org/officeDocument/2006/relationships/slideLayout" Target="../slideLayouts/slideLayout1244.xml"/><Relationship Id="rId72" Type="http://schemas.openxmlformats.org/officeDocument/2006/relationships/slideLayout" Target="../slideLayouts/slideLayout1265.xml"/><Relationship Id="rId80" Type="http://schemas.openxmlformats.org/officeDocument/2006/relationships/slideLayout" Target="../slideLayouts/slideLayout1273.xml"/><Relationship Id="rId85" Type="http://schemas.openxmlformats.org/officeDocument/2006/relationships/slideLayout" Target="../slideLayouts/slideLayout1278.xml"/><Relationship Id="rId93" Type="http://schemas.openxmlformats.org/officeDocument/2006/relationships/slideLayout" Target="../slideLayouts/slideLayout1286.xml"/><Relationship Id="rId98" Type="http://schemas.openxmlformats.org/officeDocument/2006/relationships/slideLayout" Target="../slideLayouts/slideLayout1291.xml"/><Relationship Id="rId3" Type="http://schemas.openxmlformats.org/officeDocument/2006/relationships/slideLayout" Target="../slideLayouts/slideLayout1196.xml"/><Relationship Id="rId12" Type="http://schemas.openxmlformats.org/officeDocument/2006/relationships/slideLayout" Target="../slideLayouts/slideLayout1205.xml"/><Relationship Id="rId17" Type="http://schemas.openxmlformats.org/officeDocument/2006/relationships/slideLayout" Target="../slideLayouts/slideLayout1210.xml"/><Relationship Id="rId25" Type="http://schemas.openxmlformats.org/officeDocument/2006/relationships/slideLayout" Target="../slideLayouts/slideLayout1218.xml"/><Relationship Id="rId33" Type="http://schemas.openxmlformats.org/officeDocument/2006/relationships/slideLayout" Target="../slideLayouts/slideLayout1226.xml"/><Relationship Id="rId38" Type="http://schemas.openxmlformats.org/officeDocument/2006/relationships/slideLayout" Target="../slideLayouts/slideLayout1231.xml"/><Relationship Id="rId46" Type="http://schemas.openxmlformats.org/officeDocument/2006/relationships/slideLayout" Target="../slideLayouts/slideLayout1239.xml"/><Relationship Id="rId59" Type="http://schemas.openxmlformats.org/officeDocument/2006/relationships/slideLayout" Target="../slideLayouts/slideLayout1252.xml"/><Relationship Id="rId67" Type="http://schemas.openxmlformats.org/officeDocument/2006/relationships/slideLayout" Target="../slideLayouts/slideLayout1260.xml"/><Relationship Id="rId103" Type="http://schemas.openxmlformats.org/officeDocument/2006/relationships/slideLayout" Target="../slideLayouts/slideLayout1296.xml"/><Relationship Id="rId20" Type="http://schemas.openxmlformats.org/officeDocument/2006/relationships/slideLayout" Target="../slideLayouts/slideLayout1213.xml"/><Relationship Id="rId41" Type="http://schemas.openxmlformats.org/officeDocument/2006/relationships/slideLayout" Target="../slideLayouts/slideLayout1234.xml"/><Relationship Id="rId54" Type="http://schemas.openxmlformats.org/officeDocument/2006/relationships/slideLayout" Target="../slideLayouts/slideLayout1247.xml"/><Relationship Id="rId62" Type="http://schemas.openxmlformats.org/officeDocument/2006/relationships/slideLayout" Target="../slideLayouts/slideLayout1255.xml"/><Relationship Id="rId70" Type="http://schemas.openxmlformats.org/officeDocument/2006/relationships/slideLayout" Target="../slideLayouts/slideLayout1263.xml"/><Relationship Id="rId75" Type="http://schemas.openxmlformats.org/officeDocument/2006/relationships/slideLayout" Target="../slideLayouts/slideLayout1268.xml"/><Relationship Id="rId83" Type="http://schemas.openxmlformats.org/officeDocument/2006/relationships/slideLayout" Target="../slideLayouts/slideLayout1276.xml"/><Relationship Id="rId88" Type="http://schemas.openxmlformats.org/officeDocument/2006/relationships/slideLayout" Target="../slideLayouts/slideLayout1281.xml"/><Relationship Id="rId91" Type="http://schemas.openxmlformats.org/officeDocument/2006/relationships/slideLayout" Target="../slideLayouts/slideLayout1284.xml"/><Relationship Id="rId96" Type="http://schemas.openxmlformats.org/officeDocument/2006/relationships/slideLayout" Target="../slideLayouts/slideLayout1289.xml"/><Relationship Id="rId1" Type="http://schemas.openxmlformats.org/officeDocument/2006/relationships/slideLayout" Target="../slideLayouts/slideLayout1194.xml"/><Relationship Id="rId6" Type="http://schemas.openxmlformats.org/officeDocument/2006/relationships/slideLayout" Target="../slideLayouts/slideLayout1199.xml"/><Relationship Id="rId15" Type="http://schemas.openxmlformats.org/officeDocument/2006/relationships/slideLayout" Target="../slideLayouts/slideLayout1208.xml"/><Relationship Id="rId23" Type="http://schemas.openxmlformats.org/officeDocument/2006/relationships/slideLayout" Target="../slideLayouts/slideLayout1216.xml"/><Relationship Id="rId28" Type="http://schemas.openxmlformats.org/officeDocument/2006/relationships/slideLayout" Target="../slideLayouts/slideLayout1221.xml"/><Relationship Id="rId36" Type="http://schemas.openxmlformats.org/officeDocument/2006/relationships/slideLayout" Target="../slideLayouts/slideLayout1229.xml"/><Relationship Id="rId49" Type="http://schemas.openxmlformats.org/officeDocument/2006/relationships/slideLayout" Target="../slideLayouts/slideLayout1242.xml"/><Relationship Id="rId57" Type="http://schemas.openxmlformats.org/officeDocument/2006/relationships/slideLayout" Target="../slideLayouts/slideLayout1250.xml"/><Relationship Id="rId10" Type="http://schemas.openxmlformats.org/officeDocument/2006/relationships/slideLayout" Target="../slideLayouts/slideLayout1203.xml"/><Relationship Id="rId31" Type="http://schemas.openxmlformats.org/officeDocument/2006/relationships/slideLayout" Target="../slideLayouts/slideLayout1224.xml"/><Relationship Id="rId44" Type="http://schemas.openxmlformats.org/officeDocument/2006/relationships/slideLayout" Target="../slideLayouts/slideLayout1237.xml"/><Relationship Id="rId52" Type="http://schemas.openxmlformats.org/officeDocument/2006/relationships/slideLayout" Target="../slideLayouts/slideLayout1245.xml"/><Relationship Id="rId60" Type="http://schemas.openxmlformats.org/officeDocument/2006/relationships/slideLayout" Target="../slideLayouts/slideLayout1253.xml"/><Relationship Id="rId65" Type="http://schemas.openxmlformats.org/officeDocument/2006/relationships/slideLayout" Target="../slideLayouts/slideLayout1258.xml"/><Relationship Id="rId73" Type="http://schemas.openxmlformats.org/officeDocument/2006/relationships/slideLayout" Target="../slideLayouts/slideLayout1266.xml"/><Relationship Id="rId78" Type="http://schemas.openxmlformats.org/officeDocument/2006/relationships/slideLayout" Target="../slideLayouts/slideLayout1271.xml"/><Relationship Id="rId81" Type="http://schemas.openxmlformats.org/officeDocument/2006/relationships/slideLayout" Target="../slideLayouts/slideLayout1274.xml"/><Relationship Id="rId86" Type="http://schemas.openxmlformats.org/officeDocument/2006/relationships/slideLayout" Target="../slideLayouts/slideLayout1279.xml"/><Relationship Id="rId94" Type="http://schemas.openxmlformats.org/officeDocument/2006/relationships/slideLayout" Target="../slideLayouts/slideLayout1287.xml"/><Relationship Id="rId99" Type="http://schemas.openxmlformats.org/officeDocument/2006/relationships/slideLayout" Target="../slideLayouts/slideLayout1292.xml"/><Relationship Id="rId101" Type="http://schemas.openxmlformats.org/officeDocument/2006/relationships/slideLayout" Target="../slideLayouts/slideLayout1294.xml"/><Relationship Id="rId4" Type="http://schemas.openxmlformats.org/officeDocument/2006/relationships/slideLayout" Target="../slideLayouts/slideLayout1197.xml"/><Relationship Id="rId9" Type="http://schemas.openxmlformats.org/officeDocument/2006/relationships/slideLayout" Target="../slideLayouts/slideLayout1202.xml"/><Relationship Id="rId13" Type="http://schemas.openxmlformats.org/officeDocument/2006/relationships/slideLayout" Target="../slideLayouts/slideLayout1206.xml"/><Relationship Id="rId18" Type="http://schemas.openxmlformats.org/officeDocument/2006/relationships/slideLayout" Target="../slideLayouts/slideLayout1211.xml"/><Relationship Id="rId39" Type="http://schemas.openxmlformats.org/officeDocument/2006/relationships/slideLayout" Target="../slideLayouts/slideLayout1232.xml"/><Relationship Id="rId34" Type="http://schemas.openxmlformats.org/officeDocument/2006/relationships/slideLayout" Target="../slideLayouts/slideLayout1227.xml"/><Relationship Id="rId50" Type="http://schemas.openxmlformats.org/officeDocument/2006/relationships/slideLayout" Target="../slideLayouts/slideLayout1243.xml"/><Relationship Id="rId55" Type="http://schemas.openxmlformats.org/officeDocument/2006/relationships/slideLayout" Target="../slideLayouts/slideLayout1248.xml"/><Relationship Id="rId76" Type="http://schemas.openxmlformats.org/officeDocument/2006/relationships/slideLayout" Target="../slideLayouts/slideLayout1269.xml"/><Relationship Id="rId97" Type="http://schemas.openxmlformats.org/officeDocument/2006/relationships/slideLayout" Target="../slideLayouts/slideLayout1290.xml"/><Relationship Id="rId10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9.xml"/><Relationship Id="rId18" Type="http://schemas.openxmlformats.org/officeDocument/2006/relationships/slideLayout" Target="../slideLayouts/slideLayout1314.xml"/><Relationship Id="rId26" Type="http://schemas.openxmlformats.org/officeDocument/2006/relationships/slideLayout" Target="../slideLayouts/slideLayout1322.xml"/><Relationship Id="rId39" Type="http://schemas.openxmlformats.org/officeDocument/2006/relationships/slideLayout" Target="../slideLayouts/slideLayout1335.xml"/><Relationship Id="rId21" Type="http://schemas.openxmlformats.org/officeDocument/2006/relationships/slideLayout" Target="../slideLayouts/slideLayout1317.xml"/><Relationship Id="rId34" Type="http://schemas.openxmlformats.org/officeDocument/2006/relationships/slideLayout" Target="../slideLayouts/slideLayout1330.xml"/><Relationship Id="rId42" Type="http://schemas.openxmlformats.org/officeDocument/2006/relationships/slideLayout" Target="../slideLayouts/slideLayout1338.xml"/><Relationship Id="rId47" Type="http://schemas.openxmlformats.org/officeDocument/2006/relationships/slideLayout" Target="../slideLayouts/slideLayout1343.xml"/><Relationship Id="rId50" Type="http://schemas.openxmlformats.org/officeDocument/2006/relationships/slideLayout" Target="../slideLayouts/slideLayout1346.xml"/><Relationship Id="rId55" Type="http://schemas.openxmlformats.org/officeDocument/2006/relationships/slideLayout" Target="../slideLayouts/slideLayout1351.xml"/><Relationship Id="rId63" Type="http://schemas.openxmlformats.org/officeDocument/2006/relationships/slideLayout" Target="../slideLayouts/slideLayout1359.xml"/><Relationship Id="rId68" Type="http://schemas.openxmlformats.org/officeDocument/2006/relationships/slideLayout" Target="../slideLayouts/slideLayout1364.xml"/><Relationship Id="rId7" Type="http://schemas.openxmlformats.org/officeDocument/2006/relationships/slideLayout" Target="../slideLayouts/slideLayout1303.xml"/><Relationship Id="rId71" Type="http://schemas.openxmlformats.org/officeDocument/2006/relationships/theme" Target="../theme/theme19.xml"/><Relationship Id="rId2" Type="http://schemas.openxmlformats.org/officeDocument/2006/relationships/slideLayout" Target="../slideLayouts/slideLayout1298.xml"/><Relationship Id="rId16" Type="http://schemas.openxmlformats.org/officeDocument/2006/relationships/slideLayout" Target="../slideLayouts/slideLayout1312.xml"/><Relationship Id="rId29" Type="http://schemas.openxmlformats.org/officeDocument/2006/relationships/slideLayout" Target="../slideLayouts/slideLayout1325.xml"/><Relationship Id="rId11" Type="http://schemas.openxmlformats.org/officeDocument/2006/relationships/slideLayout" Target="../slideLayouts/slideLayout1307.xml"/><Relationship Id="rId24" Type="http://schemas.openxmlformats.org/officeDocument/2006/relationships/slideLayout" Target="../slideLayouts/slideLayout1320.xml"/><Relationship Id="rId32" Type="http://schemas.openxmlformats.org/officeDocument/2006/relationships/slideLayout" Target="../slideLayouts/slideLayout1328.xml"/><Relationship Id="rId37" Type="http://schemas.openxmlformats.org/officeDocument/2006/relationships/slideLayout" Target="../slideLayouts/slideLayout1333.xml"/><Relationship Id="rId40" Type="http://schemas.openxmlformats.org/officeDocument/2006/relationships/slideLayout" Target="../slideLayouts/slideLayout1336.xml"/><Relationship Id="rId45" Type="http://schemas.openxmlformats.org/officeDocument/2006/relationships/slideLayout" Target="../slideLayouts/slideLayout1341.xml"/><Relationship Id="rId53" Type="http://schemas.openxmlformats.org/officeDocument/2006/relationships/slideLayout" Target="../slideLayouts/slideLayout1349.xml"/><Relationship Id="rId58" Type="http://schemas.openxmlformats.org/officeDocument/2006/relationships/slideLayout" Target="../slideLayouts/slideLayout1354.xml"/><Relationship Id="rId66" Type="http://schemas.openxmlformats.org/officeDocument/2006/relationships/slideLayout" Target="../slideLayouts/slideLayout1362.xml"/><Relationship Id="rId74" Type="http://schemas.openxmlformats.org/officeDocument/2006/relationships/image" Target="../media/image42.emf"/><Relationship Id="rId5" Type="http://schemas.openxmlformats.org/officeDocument/2006/relationships/slideLayout" Target="../slideLayouts/slideLayout1301.xml"/><Relationship Id="rId15" Type="http://schemas.openxmlformats.org/officeDocument/2006/relationships/slideLayout" Target="../slideLayouts/slideLayout1311.xml"/><Relationship Id="rId23" Type="http://schemas.openxmlformats.org/officeDocument/2006/relationships/slideLayout" Target="../slideLayouts/slideLayout1319.xml"/><Relationship Id="rId28" Type="http://schemas.openxmlformats.org/officeDocument/2006/relationships/slideLayout" Target="../slideLayouts/slideLayout1324.xml"/><Relationship Id="rId36" Type="http://schemas.openxmlformats.org/officeDocument/2006/relationships/slideLayout" Target="../slideLayouts/slideLayout1332.xml"/><Relationship Id="rId49" Type="http://schemas.openxmlformats.org/officeDocument/2006/relationships/slideLayout" Target="../slideLayouts/slideLayout1345.xml"/><Relationship Id="rId57" Type="http://schemas.openxmlformats.org/officeDocument/2006/relationships/slideLayout" Target="../slideLayouts/slideLayout1353.xml"/><Relationship Id="rId61" Type="http://schemas.openxmlformats.org/officeDocument/2006/relationships/slideLayout" Target="../slideLayouts/slideLayout1357.xml"/><Relationship Id="rId10" Type="http://schemas.openxmlformats.org/officeDocument/2006/relationships/slideLayout" Target="../slideLayouts/slideLayout1306.xml"/><Relationship Id="rId19" Type="http://schemas.openxmlformats.org/officeDocument/2006/relationships/slideLayout" Target="../slideLayouts/slideLayout1315.xml"/><Relationship Id="rId31" Type="http://schemas.openxmlformats.org/officeDocument/2006/relationships/slideLayout" Target="../slideLayouts/slideLayout1327.xml"/><Relationship Id="rId44" Type="http://schemas.openxmlformats.org/officeDocument/2006/relationships/slideLayout" Target="../slideLayouts/slideLayout1340.xml"/><Relationship Id="rId52" Type="http://schemas.openxmlformats.org/officeDocument/2006/relationships/slideLayout" Target="../slideLayouts/slideLayout1348.xml"/><Relationship Id="rId60" Type="http://schemas.openxmlformats.org/officeDocument/2006/relationships/slideLayout" Target="../slideLayouts/slideLayout1356.xml"/><Relationship Id="rId65" Type="http://schemas.openxmlformats.org/officeDocument/2006/relationships/slideLayout" Target="../slideLayouts/slideLayout1361.xml"/><Relationship Id="rId73" Type="http://schemas.openxmlformats.org/officeDocument/2006/relationships/oleObject" Target="../embeddings/oleObject11.bin"/><Relationship Id="rId4" Type="http://schemas.openxmlformats.org/officeDocument/2006/relationships/slideLayout" Target="../slideLayouts/slideLayout1300.xml"/><Relationship Id="rId9" Type="http://schemas.openxmlformats.org/officeDocument/2006/relationships/slideLayout" Target="../slideLayouts/slideLayout1305.xml"/><Relationship Id="rId14" Type="http://schemas.openxmlformats.org/officeDocument/2006/relationships/slideLayout" Target="../slideLayouts/slideLayout1310.xml"/><Relationship Id="rId22" Type="http://schemas.openxmlformats.org/officeDocument/2006/relationships/slideLayout" Target="../slideLayouts/slideLayout1318.xml"/><Relationship Id="rId27" Type="http://schemas.openxmlformats.org/officeDocument/2006/relationships/slideLayout" Target="../slideLayouts/slideLayout1323.xml"/><Relationship Id="rId30" Type="http://schemas.openxmlformats.org/officeDocument/2006/relationships/slideLayout" Target="../slideLayouts/slideLayout1326.xml"/><Relationship Id="rId35" Type="http://schemas.openxmlformats.org/officeDocument/2006/relationships/slideLayout" Target="../slideLayouts/slideLayout1331.xml"/><Relationship Id="rId43" Type="http://schemas.openxmlformats.org/officeDocument/2006/relationships/slideLayout" Target="../slideLayouts/slideLayout1339.xml"/><Relationship Id="rId48" Type="http://schemas.openxmlformats.org/officeDocument/2006/relationships/slideLayout" Target="../slideLayouts/slideLayout1344.xml"/><Relationship Id="rId56" Type="http://schemas.openxmlformats.org/officeDocument/2006/relationships/slideLayout" Target="../slideLayouts/slideLayout1352.xml"/><Relationship Id="rId64" Type="http://schemas.openxmlformats.org/officeDocument/2006/relationships/slideLayout" Target="../slideLayouts/slideLayout1360.xml"/><Relationship Id="rId69" Type="http://schemas.openxmlformats.org/officeDocument/2006/relationships/slideLayout" Target="../slideLayouts/slideLayout1365.xml"/><Relationship Id="rId8" Type="http://schemas.openxmlformats.org/officeDocument/2006/relationships/slideLayout" Target="../slideLayouts/slideLayout1304.xml"/><Relationship Id="rId51" Type="http://schemas.openxmlformats.org/officeDocument/2006/relationships/slideLayout" Target="../slideLayouts/slideLayout1347.xml"/><Relationship Id="rId72" Type="http://schemas.openxmlformats.org/officeDocument/2006/relationships/tags" Target="../tags/tag13.xml"/><Relationship Id="rId3" Type="http://schemas.openxmlformats.org/officeDocument/2006/relationships/slideLayout" Target="../slideLayouts/slideLayout1299.xml"/><Relationship Id="rId12" Type="http://schemas.openxmlformats.org/officeDocument/2006/relationships/slideLayout" Target="../slideLayouts/slideLayout1308.xml"/><Relationship Id="rId17" Type="http://schemas.openxmlformats.org/officeDocument/2006/relationships/slideLayout" Target="../slideLayouts/slideLayout1313.xml"/><Relationship Id="rId25" Type="http://schemas.openxmlformats.org/officeDocument/2006/relationships/slideLayout" Target="../slideLayouts/slideLayout1321.xml"/><Relationship Id="rId33" Type="http://schemas.openxmlformats.org/officeDocument/2006/relationships/slideLayout" Target="../slideLayouts/slideLayout1329.xml"/><Relationship Id="rId38" Type="http://schemas.openxmlformats.org/officeDocument/2006/relationships/slideLayout" Target="../slideLayouts/slideLayout1334.xml"/><Relationship Id="rId46" Type="http://schemas.openxmlformats.org/officeDocument/2006/relationships/slideLayout" Target="../slideLayouts/slideLayout1342.xml"/><Relationship Id="rId59" Type="http://schemas.openxmlformats.org/officeDocument/2006/relationships/slideLayout" Target="../slideLayouts/slideLayout1355.xml"/><Relationship Id="rId67" Type="http://schemas.openxmlformats.org/officeDocument/2006/relationships/slideLayout" Target="../slideLayouts/slideLayout1363.xml"/><Relationship Id="rId20" Type="http://schemas.openxmlformats.org/officeDocument/2006/relationships/slideLayout" Target="../slideLayouts/slideLayout1316.xml"/><Relationship Id="rId41" Type="http://schemas.openxmlformats.org/officeDocument/2006/relationships/slideLayout" Target="../slideLayouts/slideLayout1337.xml"/><Relationship Id="rId54" Type="http://schemas.openxmlformats.org/officeDocument/2006/relationships/slideLayout" Target="../slideLayouts/slideLayout1350.xml"/><Relationship Id="rId62" Type="http://schemas.openxmlformats.org/officeDocument/2006/relationships/slideLayout" Target="../slideLayouts/slideLayout1358.xml"/><Relationship Id="rId70" Type="http://schemas.openxmlformats.org/officeDocument/2006/relationships/slideLayout" Target="../slideLayouts/slideLayout1366.xml"/><Relationship Id="rId1" Type="http://schemas.openxmlformats.org/officeDocument/2006/relationships/slideLayout" Target="../slideLayouts/slideLayout1297.xml"/><Relationship Id="rId6" Type="http://schemas.openxmlformats.org/officeDocument/2006/relationships/slideLayout" Target="../slideLayouts/slideLayout130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2.xml"/><Relationship Id="rId117" Type="http://schemas.openxmlformats.org/officeDocument/2006/relationships/slideLayout" Target="../slideLayouts/slideLayout223.xml"/><Relationship Id="rId21" Type="http://schemas.openxmlformats.org/officeDocument/2006/relationships/slideLayout" Target="../slideLayouts/slideLayout127.xml"/><Relationship Id="rId42" Type="http://schemas.openxmlformats.org/officeDocument/2006/relationships/slideLayout" Target="../slideLayouts/slideLayout148.xml"/><Relationship Id="rId47" Type="http://schemas.openxmlformats.org/officeDocument/2006/relationships/slideLayout" Target="../slideLayouts/slideLayout153.xml"/><Relationship Id="rId63" Type="http://schemas.openxmlformats.org/officeDocument/2006/relationships/slideLayout" Target="../slideLayouts/slideLayout169.xml"/><Relationship Id="rId68" Type="http://schemas.openxmlformats.org/officeDocument/2006/relationships/slideLayout" Target="../slideLayouts/slideLayout174.xml"/><Relationship Id="rId84" Type="http://schemas.openxmlformats.org/officeDocument/2006/relationships/slideLayout" Target="../slideLayouts/slideLayout190.xml"/><Relationship Id="rId89" Type="http://schemas.openxmlformats.org/officeDocument/2006/relationships/slideLayout" Target="../slideLayouts/slideLayout195.xml"/><Relationship Id="rId112" Type="http://schemas.openxmlformats.org/officeDocument/2006/relationships/slideLayout" Target="../slideLayouts/slideLayout218.xml"/><Relationship Id="rId133" Type="http://schemas.openxmlformats.org/officeDocument/2006/relationships/slideLayout" Target="../slideLayouts/slideLayout239.xml"/><Relationship Id="rId138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122.xml"/><Relationship Id="rId107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117.xml"/><Relationship Id="rId32" Type="http://schemas.openxmlformats.org/officeDocument/2006/relationships/slideLayout" Target="../slideLayouts/slideLayout138.xml"/><Relationship Id="rId37" Type="http://schemas.openxmlformats.org/officeDocument/2006/relationships/slideLayout" Target="../slideLayouts/slideLayout143.xml"/><Relationship Id="rId53" Type="http://schemas.openxmlformats.org/officeDocument/2006/relationships/slideLayout" Target="../slideLayouts/slideLayout159.xml"/><Relationship Id="rId58" Type="http://schemas.openxmlformats.org/officeDocument/2006/relationships/slideLayout" Target="../slideLayouts/slideLayout164.xml"/><Relationship Id="rId74" Type="http://schemas.openxmlformats.org/officeDocument/2006/relationships/slideLayout" Target="../slideLayouts/slideLayout180.xml"/><Relationship Id="rId79" Type="http://schemas.openxmlformats.org/officeDocument/2006/relationships/slideLayout" Target="../slideLayouts/slideLayout185.xml"/><Relationship Id="rId102" Type="http://schemas.openxmlformats.org/officeDocument/2006/relationships/slideLayout" Target="../slideLayouts/slideLayout208.xml"/><Relationship Id="rId123" Type="http://schemas.openxmlformats.org/officeDocument/2006/relationships/slideLayout" Target="../slideLayouts/slideLayout229.xml"/><Relationship Id="rId128" Type="http://schemas.openxmlformats.org/officeDocument/2006/relationships/slideLayout" Target="../slideLayouts/slideLayout234.xml"/><Relationship Id="rId144" Type="http://schemas.openxmlformats.org/officeDocument/2006/relationships/slideLayout" Target="../slideLayouts/slideLayout250.xml"/><Relationship Id="rId149" Type="http://schemas.openxmlformats.org/officeDocument/2006/relationships/theme" Target="../theme/theme2.xml"/><Relationship Id="rId5" Type="http://schemas.openxmlformats.org/officeDocument/2006/relationships/slideLayout" Target="../slideLayouts/slideLayout111.xml"/><Relationship Id="rId90" Type="http://schemas.openxmlformats.org/officeDocument/2006/relationships/slideLayout" Target="../slideLayouts/slideLayout196.xml"/><Relationship Id="rId95" Type="http://schemas.openxmlformats.org/officeDocument/2006/relationships/slideLayout" Target="../slideLayouts/slideLayout201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Relationship Id="rId43" Type="http://schemas.openxmlformats.org/officeDocument/2006/relationships/slideLayout" Target="../slideLayouts/slideLayout149.xml"/><Relationship Id="rId48" Type="http://schemas.openxmlformats.org/officeDocument/2006/relationships/slideLayout" Target="../slideLayouts/slideLayout154.xml"/><Relationship Id="rId64" Type="http://schemas.openxmlformats.org/officeDocument/2006/relationships/slideLayout" Target="../slideLayouts/slideLayout170.xml"/><Relationship Id="rId69" Type="http://schemas.openxmlformats.org/officeDocument/2006/relationships/slideLayout" Target="../slideLayouts/slideLayout175.xml"/><Relationship Id="rId113" Type="http://schemas.openxmlformats.org/officeDocument/2006/relationships/slideLayout" Target="../slideLayouts/slideLayout219.xml"/><Relationship Id="rId118" Type="http://schemas.openxmlformats.org/officeDocument/2006/relationships/slideLayout" Target="../slideLayouts/slideLayout224.xml"/><Relationship Id="rId134" Type="http://schemas.openxmlformats.org/officeDocument/2006/relationships/slideLayout" Target="../slideLayouts/slideLayout240.xml"/><Relationship Id="rId139" Type="http://schemas.openxmlformats.org/officeDocument/2006/relationships/slideLayout" Target="../slideLayouts/slideLayout245.xml"/><Relationship Id="rId80" Type="http://schemas.openxmlformats.org/officeDocument/2006/relationships/slideLayout" Target="../slideLayouts/slideLayout186.xml"/><Relationship Id="rId85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33" Type="http://schemas.openxmlformats.org/officeDocument/2006/relationships/slideLayout" Target="../slideLayouts/slideLayout139.xml"/><Relationship Id="rId38" Type="http://schemas.openxmlformats.org/officeDocument/2006/relationships/slideLayout" Target="../slideLayouts/slideLayout144.xml"/><Relationship Id="rId46" Type="http://schemas.openxmlformats.org/officeDocument/2006/relationships/slideLayout" Target="../slideLayouts/slideLayout152.xml"/><Relationship Id="rId59" Type="http://schemas.openxmlformats.org/officeDocument/2006/relationships/slideLayout" Target="../slideLayouts/slideLayout165.xml"/><Relationship Id="rId67" Type="http://schemas.openxmlformats.org/officeDocument/2006/relationships/slideLayout" Target="../slideLayouts/slideLayout173.xml"/><Relationship Id="rId103" Type="http://schemas.openxmlformats.org/officeDocument/2006/relationships/slideLayout" Target="../slideLayouts/slideLayout209.xml"/><Relationship Id="rId108" Type="http://schemas.openxmlformats.org/officeDocument/2006/relationships/slideLayout" Target="../slideLayouts/slideLayout214.xml"/><Relationship Id="rId116" Type="http://schemas.openxmlformats.org/officeDocument/2006/relationships/slideLayout" Target="../slideLayouts/slideLayout222.xml"/><Relationship Id="rId124" Type="http://schemas.openxmlformats.org/officeDocument/2006/relationships/slideLayout" Target="../slideLayouts/slideLayout230.xml"/><Relationship Id="rId129" Type="http://schemas.openxmlformats.org/officeDocument/2006/relationships/slideLayout" Target="../slideLayouts/slideLayout235.xml"/><Relationship Id="rId137" Type="http://schemas.openxmlformats.org/officeDocument/2006/relationships/slideLayout" Target="../slideLayouts/slideLayout243.xml"/><Relationship Id="rId20" Type="http://schemas.openxmlformats.org/officeDocument/2006/relationships/slideLayout" Target="../slideLayouts/slideLayout126.xml"/><Relationship Id="rId41" Type="http://schemas.openxmlformats.org/officeDocument/2006/relationships/slideLayout" Target="../slideLayouts/slideLayout147.xml"/><Relationship Id="rId54" Type="http://schemas.openxmlformats.org/officeDocument/2006/relationships/slideLayout" Target="../slideLayouts/slideLayout160.xml"/><Relationship Id="rId62" Type="http://schemas.openxmlformats.org/officeDocument/2006/relationships/slideLayout" Target="../slideLayouts/slideLayout168.xml"/><Relationship Id="rId70" Type="http://schemas.openxmlformats.org/officeDocument/2006/relationships/slideLayout" Target="../slideLayouts/slideLayout176.xml"/><Relationship Id="rId75" Type="http://schemas.openxmlformats.org/officeDocument/2006/relationships/slideLayout" Target="../slideLayouts/slideLayout181.xml"/><Relationship Id="rId83" Type="http://schemas.openxmlformats.org/officeDocument/2006/relationships/slideLayout" Target="../slideLayouts/slideLayout189.xml"/><Relationship Id="rId88" Type="http://schemas.openxmlformats.org/officeDocument/2006/relationships/slideLayout" Target="../slideLayouts/slideLayout194.xml"/><Relationship Id="rId91" Type="http://schemas.openxmlformats.org/officeDocument/2006/relationships/slideLayout" Target="../slideLayouts/slideLayout197.xml"/><Relationship Id="rId96" Type="http://schemas.openxmlformats.org/officeDocument/2006/relationships/slideLayout" Target="../slideLayouts/slideLayout202.xml"/><Relationship Id="rId111" Type="http://schemas.openxmlformats.org/officeDocument/2006/relationships/slideLayout" Target="../slideLayouts/slideLayout217.xml"/><Relationship Id="rId132" Type="http://schemas.openxmlformats.org/officeDocument/2006/relationships/slideLayout" Target="../slideLayouts/slideLayout238.xml"/><Relationship Id="rId140" Type="http://schemas.openxmlformats.org/officeDocument/2006/relationships/slideLayout" Target="../slideLayouts/slideLayout246.xml"/><Relationship Id="rId145" Type="http://schemas.openxmlformats.org/officeDocument/2006/relationships/slideLayout" Target="../slideLayouts/slideLayout251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slideLayout" Target="../slideLayouts/slideLayout134.xml"/><Relationship Id="rId36" Type="http://schemas.openxmlformats.org/officeDocument/2006/relationships/slideLayout" Target="../slideLayouts/slideLayout142.xml"/><Relationship Id="rId49" Type="http://schemas.openxmlformats.org/officeDocument/2006/relationships/slideLayout" Target="../slideLayouts/slideLayout155.xml"/><Relationship Id="rId57" Type="http://schemas.openxmlformats.org/officeDocument/2006/relationships/slideLayout" Target="../slideLayouts/slideLayout163.xml"/><Relationship Id="rId106" Type="http://schemas.openxmlformats.org/officeDocument/2006/relationships/slideLayout" Target="../slideLayouts/slideLayout212.xml"/><Relationship Id="rId114" Type="http://schemas.openxmlformats.org/officeDocument/2006/relationships/slideLayout" Target="../slideLayouts/slideLayout220.xml"/><Relationship Id="rId119" Type="http://schemas.openxmlformats.org/officeDocument/2006/relationships/slideLayout" Target="../slideLayouts/slideLayout225.xml"/><Relationship Id="rId127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37.xml"/><Relationship Id="rId44" Type="http://schemas.openxmlformats.org/officeDocument/2006/relationships/slideLayout" Target="../slideLayouts/slideLayout150.xml"/><Relationship Id="rId52" Type="http://schemas.openxmlformats.org/officeDocument/2006/relationships/slideLayout" Target="../slideLayouts/slideLayout158.xml"/><Relationship Id="rId60" Type="http://schemas.openxmlformats.org/officeDocument/2006/relationships/slideLayout" Target="../slideLayouts/slideLayout166.xml"/><Relationship Id="rId65" Type="http://schemas.openxmlformats.org/officeDocument/2006/relationships/slideLayout" Target="../slideLayouts/slideLayout171.xml"/><Relationship Id="rId73" Type="http://schemas.openxmlformats.org/officeDocument/2006/relationships/slideLayout" Target="../slideLayouts/slideLayout179.xml"/><Relationship Id="rId78" Type="http://schemas.openxmlformats.org/officeDocument/2006/relationships/slideLayout" Target="../slideLayouts/slideLayout184.xml"/><Relationship Id="rId81" Type="http://schemas.openxmlformats.org/officeDocument/2006/relationships/slideLayout" Target="../slideLayouts/slideLayout187.xml"/><Relationship Id="rId86" Type="http://schemas.openxmlformats.org/officeDocument/2006/relationships/slideLayout" Target="../slideLayouts/slideLayout192.xml"/><Relationship Id="rId94" Type="http://schemas.openxmlformats.org/officeDocument/2006/relationships/slideLayout" Target="../slideLayouts/slideLayout200.xml"/><Relationship Id="rId99" Type="http://schemas.openxmlformats.org/officeDocument/2006/relationships/slideLayout" Target="../slideLayouts/slideLayout205.xml"/><Relationship Id="rId101" Type="http://schemas.openxmlformats.org/officeDocument/2006/relationships/slideLayout" Target="../slideLayouts/slideLayout207.xml"/><Relationship Id="rId122" Type="http://schemas.openxmlformats.org/officeDocument/2006/relationships/slideLayout" Target="../slideLayouts/slideLayout228.xml"/><Relationship Id="rId130" Type="http://schemas.openxmlformats.org/officeDocument/2006/relationships/slideLayout" Target="../slideLayouts/slideLayout236.xml"/><Relationship Id="rId135" Type="http://schemas.openxmlformats.org/officeDocument/2006/relationships/slideLayout" Target="../slideLayouts/slideLayout241.xml"/><Relationship Id="rId143" Type="http://schemas.openxmlformats.org/officeDocument/2006/relationships/slideLayout" Target="../slideLayouts/slideLayout249.xml"/><Relationship Id="rId148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39" Type="http://schemas.openxmlformats.org/officeDocument/2006/relationships/slideLayout" Target="../slideLayouts/slideLayout145.xml"/><Relationship Id="rId109" Type="http://schemas.openxmlformats.org/officeDocument/2006/relationships/slideLayout" Target="../slideLayouts/slideLayout215.xml"/><Relationship Id="rId34" Type="http://schemas.openxmlformats.org/officeDocument/2006/relationships/slideLayout" Target="../slideLayouts/slideLayout140.xml"/><Relationship Id="rId50" Type="http://schemas.openxmlformats.org/officeDocument/2006/relationships/slideLayout" Target="../slideLayouts/slideLayout156.xml"/><Relationship Id="rId55" Type="http://schemas.openxmlformats.org/officeDocument/2006/relationships/slideLayout" Target="../slideLayouts/slideLayout161.xml"/><Relationship Id="rId76" Type="http://schemas.openxmlformats.org/officeDocument/2006/relationships/slideLayout" Target="../slideLayouts/slideLayout182.xml"/><Relationship Id="rId97" Type="http://schemas.openxmlformats.org/officeDocument/2006/relationships/slideLayout" Target="../slideLayouts/slideLayout203.xml"/><Relationship Id="rId104" Type="http://schemas.openxmlformats.org/officeDocument/2006/relationships/slideLayout" Target="../slideLayouts/slideLayout210.xml"/><Relationship Id="rId120" Type="http://schemas.openxmlformats.org/officeDocument/2006/relationships/slideLayout" Target="../slideLayouts/slideLayout226.xml"/><Relationship Id="rId125" Type="http://schemas.openxmlformats.org/officeDocument/2006/relationships/slideLayout" Target="../slideLayouts/slideLayout231.xml"/><Relationship Id="rId141" Type="http://schemas.openxmlformats.org/officeDocument/2006/relationships/slideLayout" Target="../slideLayouts/slideLayout247.xml"/><Relationship Id="rId146" Type="http://schemas.openxmlformats.org/officeDocument/2006/relationships/slideLayout" Target="../slideLayouts/slideLayout252.xml"/><Relationship Id="rId7" Type="http://schemas.openxmlformats.org/officeDocument/2006/relationships/slideLayout" Target="../slideLayouts/slideLayout113.xml"/><Relationship Id="rId71" Type="http://schemas.openxmlformats.org/officeDocument/2006/relationships/slideLayout" Target="../slideLayouts/slideLayout177.xml"/><Relationship Id="rId92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30.xml"/><Relationship Id="rId40" Type="http://schemas.openxmlformats.org/officeDocument/2006/relationships/slideLayout" Target="../slideLayouts/slideLayout146.xml"/><Relationship Id="rId45" Type="http://schemas.openxmlformats.org/officeDocument/2006/relationships/slideLayout" Target="../slideLayouts/slideLayout151.xml"/><Relationship Id="rId66" Type="http://schemas.openxmlformats.org/officeDocument/2006/relationships/slideLayout" Target="../slideLayouts/slideLayout172.xml"/><Relationship Id="rId87" Type="http://schemas.openxmlformats.org/officeDocument/2006/relationships/slideLayout" Target="../slideLayouts/slideLayout193.xml"/><Relationship Id="rId110" Type="http://schemas.openxmlformats.org/officeDocument/2006/relationships/slideLayout" Target="../slideLayouts/slideLayout216.xml"/><Relationship Id="rId115" Type="http://schemas.openxmlformats.org/officeDocument/2006/relationships/slideLayout" Target="../slideLayouts/slideLayout221.xml"/><Relationship Id="rId131" Type="http://schemas.openxmlformats.org/officeDocument/2006/relationships/slideLayout" Target="../slideLayouts/slideLayout237.xml"/><Relationship Id="rId136" Type="http://schemas.openxmlformats.org/officeDocument/2006/relationships/slideLayout" Target="../slideLayouts/slideLayout242.xml"/><Relationship Id="rId61" Type="http://schemas.openxmlformats.org/officeDocument/2006/relationships/slideLayout" Target="../slideLayouts/slideLayout167.xml"/><Relationship Id="rId82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36.xml"/><Relationship Id="rId35" Type="http://schemas.openxmlformats.org/officeDocument/2006/relationships/slideLayout" Target="../slideLayouts/slideLayout141.xml"/><Relationship Id="rId56" Type="http://schemas.openxmlformats.org/officeDocument/2006/relationships/slideLayout" Target="../slideLayouts/slideLayout162.xml"/><Relationship Id="rId77" Type="http://schemas.openxmlformats.org/officeDocument/2006/relationships/slideLayout" Target="../slideLayouts/slideLayout183.xml"/><Relationship Id="rId100" Type="http://schemas.openxmlformats.org/officeDocument/2006/relationships/slideLayout" Target="../slideLayouts/slideLayout206.xml"/><Relationship Id="rId105" Type="http://schemas.openxmlformats.org/officeDocument/2006/relationships/slideLayout" Target="../slideLayouts/slideLayout211.xml"/><Relationship Id="rId126" Type="http://schemas.openxmlformats.org/officeDocument/2006/relationships/slideLayout" Target="../slideLayouts/slideLayout232.xml"/><Relationship Id="rId147" Type="http://schemas.openxmlformats.org/officeDocument/2006/relationships/slideLayout" Target="../slideLayouts/slideLayout253.xml"/><Relationship Id="rId8" Type="http://schemas.openxmlformats.org/officeDocument/2006/relationships/slideLayout" Target="../slideLayouts/slideLayout114.xml"/><Relationship Id="rId51" Type="http://schemas.openxmlformats.org/officeDocument/2006/relationships/slideLayout" Target="../slideLayouts/slideLayout157.xml"/><Relationship Id="rId72" Type="http://schemas.openxmlformats.org/officeDocument/2006/relationships/slideLayout" Target="../slideLayouts/slideLayout178.xml"/><Relationship Id="rId93" Type="http://schemas.openxmlformats.org/officeDocument/2006/relationships/slideLayout" Target="../slideLayouts/slideLayout199.xml"/><Relationship Id="rId98" Type="http://schemas.openxmlformats.org/officeDocument/2006/relationships/slideLayout" Target="../slideLayouts/slideLayout204.xml"/><Relationship Id="rId121" Type="http://schemas.openxmlformats.org/officeDocument/2006/relationships/slideLayout" Target="../slideLayouts/slideLayout227.xml"/><Relationship Id="rId142" Type="http://schemas.openxmlformats.org/officeDocument/2006/relationships/slideLayout" Target="../slideLayouts/slideLayout248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79.xml"/><Relationship Id="rId18" Type="http://schemas.openxmlformats.org/officeDocument/2006/relationships/slideLayout" Target="../slideLayouts/slideLayout1384.xml"/><Relationship Id="rId26" Type="http://schemas.openxmlformats.org/officeDocument/2006/relationships/slideLayout" Target="../slideLayouts/slideLayout1392.xml"/><Relationship Id="rId39" Type="http://schemas.openxmlformats.org/officeDocument/2006/relationships/slideLayout" Target="../slideLayouts/slideLayout1405.xml"/><Relationship Id="rId21" Type="http://schemas.openxmlformats.org/officeDocument/2006/relationships/slideLayout" Target="../slideLayouts/slideLayout1387.xml"/><Relationship Id="rId34" Type="http://schemas.openxmlformats.org/officeDocument/2006/relationships/slideLayout" Target="../slideLayouts/slideLayout1400.xml"/><Relationship Id="rId42" Type="http://schemas.openxmlformats.org/officeDocument/2006/relationships/slideLayout" Target="../slideLayouts/slideLayout1408.xml"/><Relationship Id="rId47" Type="http://schemas.openxmlformats.org/officeDocument/2006/relationships/slideLayout" Target="../slideLayouts/slideLayout1413.xml"/><Relationship Id="rId50" Type="http://schemas.openxmlformats.org/officeDocument/2006/relationships/slideLayout" Target="../slideLayouts/slideLayout1416.xml"/><Relationship Id="rId55" Type="http://schemas.openxmlformats.org/officeDocument/2006/relationships/slideLayout" Target="../slideLayouts/slideLayout1421.xml"/><Relationship Id="rId63" Type="http://schemas.openxmlformats.org/officeDocument/2006/relationships/slideLayout" Target="../slideLayouts/slideLayout1429.xml"/><Relationship Id="rId68" Type="http://schemas.openxmlformats.org/officeDocument/2006/relationships/slideLayout" Target="../slideLayouts/slideLayout1434.xml"/><Relationship Id="rId7" Type="http://schemas.openxmlformats.org/officeDocument/2006/relationships/slideLayout" Target="../slideLayouts/slideLayout1373.xml"/><Relationship Id="rId71" Type="http://schemas.openxmlformats.org/officeDocument/2006/relationships/theme" Target="../theme/theme20.xml"/><Relationship Id="rId2" Type="http://schemas.openxmlformats.org/officeDocument/2006/relationships/slideLayout" Target="../slideLayouts/slideLayout1368.xml"/><Relationship Id="rId16" Type="http://schemas.openxmlformats.org/officeDocument/2006/relationships/slideLayout" Target="../slideLayouts/slideLayout1382.xml"/><Relationship Id="rId29" Type="http://schemas.openxmlformats.org/officeDocument/2006/relationships/slideLayout" Target="../slideLayouts/slideLayout1395.xml"/><Relationship Id="rId11" Type="http://schemas.openxmlformats.org/officeDocument/2006/relationships/slideLayout" Target="../slideLayouts/slideLayout1377.xml"/><Relationship Id="rId24" Type="http://schemas.openxmlformats.org/officeDocument/2006/relationships/slideLayout" Target="../slideLayouts/slideLayout1390.xml"/><Relationship Id="rId32" Type="http://schemas.openxmlformats.org/officeDocument/2006/relationships/slideLayout" Target="../slideLayouts/slideLayout1398.xml"/><Relationship Id="rId37" Type="http://schemas.openxmlformats.org/officeDocument/2006/relationships/slideLayout" Target="../slideLayouts/slideLayout1403.xml"/><Relationship Id="rId40" Type="http://schemas.openxmlformats.org/officeDocument/2006/relationships/slideLayout" Target="../slideLayouts/slideLayout1406.xml"/><Relationship Id="rId45" Type="http://schemas.openxmlformats.org/officeDocument/2006/relationships/slideLayout" Target="../slideLayouts/slideLayout1411.xml"/><Relationship Id="rId53" Type="http://schemas.openxmlformats.org/officeDocument/2006/relationships/slideLayout" Target="../slideLayouts/slideLayout1419.xml"/><Relationship Id="rId58" Type="http://schemas.openxmlformats.org/officeDocument/2006/relationships/slideLayout" Target="../slideLayouts/slideLayout1424.xml"/><Relationship Id="rId66" Type="http://schemas.openxmlformats.org/officeDocument/2006/relationships/slideLayout" Target="../slideLayouts/slideLayout1432.xml"/><Relationship Id="rId74" Type="http://schemas.openxmlformats.org/officeDocument/2006/relationships/image" Target="../media/image63.emf"/><Relationship Id="rId5" Type="http://schemas.openxmlformats.org/officeDocument/2006/relationships/slideLayout" Target="../slideLayouts/slideLayout1371.xml"/><Relationship Id="rId15" Type="http://schemas.openxmlformats.org/officeDocument/2006/relationships/slideLayout" Target="../slideLayouts/slideLayout1381.xml"/><Relationship Id="rId23" Type="http://schemas.openxmlformats.org/officeDocument/2006/relationships/slideLayout" Target="../slideLayouts/slideLayout1389.xml"/><Relationship Id="rId28" Type="http://schemas.openxmlformats.org/officeDocument/2006/relationships/slideLayout" Target="../slideLayouts/slideLayout1394.xml"/><Relationship Id="rId36" Type="http://schemas.openxmlformats.org/officeDocument/2006/relationships/slideLayout" Target="../slideLayouts/slideLayout1402.xml"/><Relationship Id="rId49" Type="http://schemas.openxmlformats.org/officeDocument/2006/relationships/slideLayout" Target="../slideLayouts/slideLayout1415.xml"/><Relationship Id="rId57" Type="http://schemas.openxmlformats.org/officeDocument/2006/relationships/slideLayout" Target="../slideLayouts/slideLayout1423.xml"/><Relationship Id="rId61" Type="http://schemas.openxmlformats.org/officeDocument/2006/relationships/slideLayout" Target="../slideLayouts/slideLayout1427.xml"/><Relationship Id="rId10" Type="http://schemas.openxmlformats.org/officeDocument/2006/relationships/slideLayout" Target="../slideLayouts/slideLayout1376.xml"/><Relationship Id="rId19" Type="http://schemas.openxmlformats.org/officeDocument/2006/relationships/slideLayout" Target="../slideLayouts/slideLayout1385.xml"/><Relationship Id="rId31" Type="http://schemas.openxmlformats.org/officeDocument/2006/relationships/slideLayout" Target="../slideLayouts/slideLayout1397.xml"/><Relationship Id="rId44" Type="http://schemas.openxmlformats.org/officeDocument/2006/relationships/slideLayout" Target="../slideLayouts/slideLayout1410.xml"/><Relationship Id="rId52" Type="http://schemas.openxmlformats.org/officeDocument/2006/relationships/slideLayout" Target="../slideLayouts/slideLayout1418.xml"/><Relationship Id="rId60" Type="http://schemas.openxmlformats.org/officeDocument/2006/relationships/slideLayout" Target="../slideLayouts/slideLayout1426.xml"/><Relationship Id="rId65" Type="http://schemas.openxmlformats.org/officeDocument/2006/relationships/slideLayout" Target="../slideLayouts/slideLayout1431.xml"/><Relationship Id="rId73" Type="http://schemas.openxmlformats.org/officeDocument/2006/relationships/oleObject" Target="../embeddings/oleObject12.bin"/><Relationship Id="rId4" Type="http://schemas.openxmlformats.org/officeDocument/2006/relationships/slideLayout" Target="../slideLayouts/slideLayout1370.xml"/><Relationship Id="rId9" Type="http://schemas.openxmlformats.org/officeDocument/2006/relationships/slideLayout" Target="../slideLayouts/slideLayout1375.xml"/><Relationship Id="rId14" Type="http://schemas.openxmlformats.org/officeDocument/2006/relationships/slideLayout" Target="../slideLayouts/slideLayout1380.xml"/><Relationship Id="rId22" Type="http://schemas.openxmlformats.org/officeDocument/2006/relationships/slideLayout" Target="../slideLayouts/slideLayout1388.xml"/><Relationship Id="rId27" Type="http://schemas.openxmlformats.org/officeDocument/2006/relationships/slideLayout" Target="../slideLayouts/slideLayout1393.xml"/><Relationship Id="rId30" Type="http://schemas.openxmlformats.org/officeDocument/2006/relationships/slideLayout" Target="../slideLayouts/slideLayout1396.xml"/><Relationship Id="rId35" Type="http://schemas.openxmlformats.org/officeDocument/2006/relationships/slideLayout" Target="../slideLayouts/slideLayout1401.xml"/><Relationship Id="rId43" Type="http://schemas.openxmlformats.org/officeDocument/2006/relationships/slideLayout" Target="../slideLayouts/slideLayout1409.xml"/><Relationship Id="rId48" Type="http://schemas.openxmlformats.org/officeDocument/2006/relationships/slideLayout" Target="../slideLayouts/slideLayout1414.xml"/><Relationship Id="rId56" Type="http://schemas.openxmlformats.org/officeDocument/2006/relationships/slideLayout" Target="../slideLayouts/slideLayout1422.xml"/><Relationship Id="rId64" Type="http://schemas.openxmlformats.org/officeDocument/2006/relationships/slideLayout" Target="../slideLayouts/slideLayout1430.xml"/><Relationship Id="rId69" Type="http://schemas.openxmlformats.org/officeDocument/2006/relationships/slideLayout" Target="../slideLayouts/slideLayout1435.xml"/><Relationship Id="rId8" Type="http://schemas.openxmlformats.org/officeDocument/2006/relationships/slideLayout" Target="../slideLayouts/slideLayout1374.xml"/><Relationship Id="rId51" Type="http://schemas.openxmlformats.org/officeDocument/2006/relationships/slideLayout" Target="../slideLayouts/slideLayout1417.xml"/><Relationship Id="rId72" Type="http://schemas.openxmlformats.org/officeDocument/2006/relationships/tags" Target="../tags/tag14.xml"/><Relationship Id="rId3" Type="http://schemas.openxmlformats.org/officeDocument/2006/relationships/slideLayout" Target="../slideLayouts/slideLayout1369.xml"/><Relationship Id="rId12" Type="http://schemas.openxmlformats.org/officeDocument/2006/relationships/slideLayout" Target="../slideLayouts/slideLayout1378.xml"/><Relationship Id="rId17" Type="http://schemas.openxmlformats.org/officeDocument/2006/relationships/slideLayout" Target="../slideLayouts/slideLayout1383.xml"/><Relationship Id="rId25" Type="http://schemas.openxmlformats.org/officeDocument/2006/relationships/slideLayout" Target="../slideLayouts/slideLayout1391.xml"/><Relationship Id="rId33" Type="http://schemas.openxmlformats.org/officeDocument/2006/relationships/slideLayout" Target="../slideLayouts/slideLayout1399.xml"/><Relationship Id="rId38" Type="http://schemas.openxmlformats.org/officeDocument/2006/relationships/slideLayout" Target="../slideLayouts/slideLayout1404.xml"/><Relationship Id="rId46" Type="http://schemas.openxmlformats.org/officeDocument/2006/relationships/slideLayout" Target="../slideLayouts/slideLayout1412.xml"/><Relationship Id="rId59" Type="http://schemas.openxmlformats.org/officeDocument/2006/relationships/slideLayout" Target="../slideLayouts/slideLayout1425.xml"/><Relationship Id="rId67" Type="http://schemas.openxmlformats.org/officeDocument/2006/relationships/slideLayout" Target="../slideLayouts/slideLayout1433.xml"/><Relationship Id="rId20" Type="http://schemas.openxmlformats.org/officeDocument/2006/relationships/slideLayout" Target="../slideLayouts/slideLayout1386.xml"/><Relationship Id="rId41" Type="http://schemas.openxmlformats.org/officeDocument/2006/relationships/slideLayout" Target="../slideLayouts/slideLayout1407.xml"/><Relationship Id="rId54" Type="http://schemas.openxmlformats.org/officeDocument/2006/relationships/slideLayout" Target="../slideLayouts/slideLayout1420.xml"/><Relationship Id="rId62" Type="http://schemas.openxmlformats.org/officeDocument/2006/relationships/slideLayout" Target="../slideLayouts/slideLayout1428.xml"/><Relationship Id="rId70" Type="http://schemas.openxmlformats.org/officeDocument/2006/relationships/slideLayout" Target="../slideLayouts/slideLayout1436.xml"/><Relationship Id="rId1" Type="http://schemas.openxmlformats.org/officeDocument/2006/relationships/slideLayout" Target="../slideLayouts/slideLayout1367.xml"/><Relationship Id="rId6" Type="http://schemas.openxmlformats.org/officeDocument/2006/relationships/slideLayout" Target="../slideLayouts/slideLayout1372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49.xml"/><Relationship Id="rId18" Type="http://schemas.openxmlformats.org/officeDocument/2006/relationships/slideLayout" Target="../slideLayouts/slideLayout1454.xml"/><Relationship Id="rId26" Type="http://schemas.openxmlformats.org/officeDocument/2006/relationships/slideLayout" Target="../slideLayouts/slideLayout1462.xml"/><Relationship Id="rId39" Type="http://schemas.openxmlformats.org/officeDocument/2006/relationships/slideLayout" Target="../slideLayouts/slideLayout1475.xml"/><Relationship Id="rId21" Type="http://schemas.openxmlformats.org/officeDocument/2006/relationships/slideLayout" Target="../slideLayouts/slideLayout1457.xml"/><Relationship Id="rId34" Type="http://schemas.openxmlformats.org/officeDocument/2006/relationships/slideLayout" Target="../slideLayouts/slideLayout1470.xml"/><Relationship Id="rId42" Type="http://schemas.openxmlformats.org/officeDocument/2006/relationships/slideLayout" Target="../slideLayouts/slideLayout1478.xml"/><Relationship Id="rId47" Type="http://schemas.openxmlformats.org/officeDocument/2006/relationships/slideLayout" Target="../slideLayouts/slideLayout1483.xml"/><Relationship Id="rId50" Type="http://schemas.openxmlformats.org/officeDocument/2006/relationships/slideLayout" Target="../slideLayouts/slideLayout1486.xml"/><Relationship Id="rId55" Type="http://schemas.openxmlformats.org/officeDocument/2006/relationships/slideLayout" Target="../slideLayouts/slideLayout1491.xml"/><Relationship Id="rId63" Type="http://schemas.openxmlformats.org/officeDocument/2006/relationships/slideLayout" Target="../slideLayouts/slideLayout1499.xml"/><Relationship Id="rId68" Type="http://schemas.openxmlformats.org/officeDocument/2006/relationships/slideLayout" Target="../slideLayouts/slideLayout1504.xml"/><Relationship Id="rId7" Type="http://schemas.openxmlformats.org/officeDocument/2006/relationships/slideLayout" Target="../slideLayouts/slideLayout1443.xml"/><Relationship Id="rId71" Type="http://schemas.openxmlformats.org/officeDocument/2006/relationships/slideLayout" Target="../slideLayouts/slideLayout1507.xml"/><Relationship Id="rId2" Type="http://schemas.openxmlformats.org/officeDocument/2006/relationships/slideLayout" Target="../slideLayouts/slideLayout1438.xml"/><Relationship Id="rId16" Type="http://schemas.openxmlformats.org/officeDocument/2006/relationships/slideLayout" Target="../slideLayouts/slideLayout1452.xml"/><Relationship Id="rId29" Type="http://schemas.openxmlformats.org/officeDocument/2006/relationships/slideLayout" Target="../slideLayouts/slideLayout1465.xml"/><Relationship Id="rId11" Type="http://schemas.openxmlformats.org/officeDocument/2006/relationships/slideLayout" Target="../slideLayouts/slideLayout1447.xml"/><Relationship Id="rId24" Type="http://schemas.openxmlformats.org/officeDocument/2006/relationships/slideLayout" Target="../slideLayouts/slideLayout1460.xml"/><Relationship Id="rId32" Type="http://schemas.openxmlformats.org/officeDocument/2006/relationships/slideLayout" Target="../slideLayouts/slideLayout1468.xml"/><Relationship Id="rId37" Type="http://schemas.openxmlformats.org/officeDocument/2006/relationships/slideLayout" Target="../slideLayouts/slideLayout1473.xml"/><Relationship Id="rId40" Type="http://schemas.openxmlformats.org/officeDocument/2006/relationships/slideLayout" Target="../slideLayouts/slideLayout1476.xml"/><Relationship Id="rId45" Type="http://schemas.openxmlformats.org/officeDocument/2006/relationships/slideLayout" Target="../slideLayouts/slideLayout1481.xml"/><Relationship Id="rId53" Type="http://schemas.openxmlformats.org/officeDocument/2006/relationships/slideLayout" Target="../slideLayouts/slideLayout1489.xml"/><Relationship Id="rId58" Type="http://schemas.openxmlformats.org/officeDocument/2006/relationships/slideLayout" Target="../slideLayouts/slideLayout1494.xml"/><Relationship Id="rId66" Type="http://schemas.openxmlformats.org/officeDocument/2006/relationships/slideLayout" Target="../slideLayouts/slideLayout1502.xml"/><Relationship Id="rId74" Type="http://schemas.openxmlformats.org/officeDocument/2006/relationships/oleObject" Target="../embeddings/oleObject13.bin"/><Relationship Id="rId5" Type="http://schemas.openxmlformats.org/officeDocument/2006/relationships/slideLayout" Target="../slideLayouts/slideLayout1441.xml"/><Relationship Id="rId15" Type="http://schemas.openxmlformats.org/officeDocument/2006/relationships/slideLayout" Target="../slideLayouts/slideLayout1451.xml"/><Relationship Id="rId23" Type="http://schemas.openxmlformats.org/officeDocument/2006/relationships/slideLayout" Target="../slideLayouts/slideLayout1459.xml"/><Relationship Id="rId28" Type="http://schemas.openxmlformats.org/officeDocument/2006/relationships/slideLayout" Target="../slideLayouts/slideLayout1464.xml"/><Relationship Id="rId36" Type="http://schemas.openxmlformats.org/officeDocument/2006/relationships/slideLayout" Target="../slideLayouts/slideLayout1472.xml"/><Relationship Id="rId49" Type="http://schemas.openxmlformats.org/officeDocument/2006/relationships/slideLayout" Target="../slideLayouts/slideLayout1485.xml"/><Relationship Id="rId57" Type="http://schemas.openxmlformats.org/officeDocument/2006/relationships/slideLayout" Target="../slideLayouts/slideLayout1493.xml"/><Relationship Id="rId61" Type="http://schemas.openxmlformats.org/officeDocument/2006/relationships/slideLayout" Target="../slideLayouts/slideLayout1497.xml"/><Relationship Id="rId10" Type="http://schemas.openxmlformats.org/officeDocument/2006/relationships/slideLayout" Target="../slideLayouts/slideLayout1446.xml"/><Relationship Id="rId19" Type="http://schemas.openxmlformats.org/officeDocument/2006/relationships/slideLayout" Target="../slideLayouts/slideLayout1455.xml"/><Relationship Id="rId31" Type="http://schemas.openxmlformats.org/officeDocument/2006/relationships/slideLayout" Target="../slideLayouts/slideLayout1467.xml"/><Relationship Id="rId44" Type="http://schemas.openxmlformats.org/officeDocument/2006/relationships/slideLayout" Target="../slideLayouts/slideLayout1480.xml"/><Relationship Id="rId52" Type="http://schemas.openxmlformats.org/officeDocument/2006/relationships/slideLayout" Target="../slideLayouts/slideLayout1488.xml"/><Relationship Id="rId60" Type="http://schemas.openxmlformats.org/officeDocument/2006/relationships/slideLayout" Target="../slideLayouts/slideLayout1496.xml"/><Relationship Id="rId65" Type="http://schemas.openxmlformats.org/officeDocument/2006/relationships/slideLayout" Target="../slideLayouts/slideLayout1501.xml"/><Relationship Id="rId73" Type="http://schemas.openxmlformats.org/officeDocument/2006/relationships/tags" Target="../tags/tag15.xml"/><Relationship Id="rId4" Type="http://schemas.openxmlformats.org/officeDocument/2006/relationships/slideLayout" Target="../slideLayouts/slideLayout1440.xml"/><Relationship Id="rId9" Type="http://schemas.openxmlformats.org/officeDocument/2006/relationships/slideLayout" Target="../slideLayouts/slideLayout1445.xml"/><Relationship Id="rId14" Type="http://schemas.openxmlformats.org/officeDocument/2006/relationships/slideLayout" Target="../slideLayouts/slideLayout1450.xml"/><Relationship Id="rId22" Type="http://schemas.openxmlformats.org/officeDocument/2006/relationships/slideLayout" Target="../slideLayouts/slideLayout1458.xml"/><Relationship Id="rId27" Type="http://schemas.openxmlformats.org/officeDocument/2006/relationships/slideLayout" Target="../slideLayouts/slideLayout1463.xml"/><Relationship Id="rId30" Type="http://schemas.openxmlformats.org/officeDocument/2006/relationships/slideLayout" Target="../slideLayouts/slideLayout1466.xml"/><Relationship Id="rId35" Type="http://schemas.openxmlformats.org/officeDocument/2006/relationships/slideLayout" Target="../slideLayouts/slideLayout1471.xml"/><Relationship Id="rId43" Type="http://schemas.openxmlformats.org/officeDocument/2006/relationships/slideLayout" Target="../slideLayouts/slideLayout1479.xml"/><Relationship Id="rId48" Type="http://schemas.openxmlformats.org/officeDocument/2006/relationships/slideLayout" Target="../slideLayouts/slideLayout1484.xml"/><Relationship Id="rId56" Type="http://schemas.openxmlformats.org/officeDocument/2006/relationships/slideLayout" Target="../slideLayouts/slideLayout1492.xml"/><Relationship Id="rId64" Type="http://schemas.openxmlformats.org/officeDocument/2006/relationships/slideLayout" Target="../slideLayouts/slideLayout1500.xml"/><Relationship Id="rId69" Type="http://schemas.openxmlformats.org/officeDocument/2006/relationships/slideLayout" Target="../slideLayouts/slideLayout1505.xml"/><Relationship Id="rId8" Type="http://schemas.openxmlformats.org/officeDocument/2006/relationships/slideLayout" Target="../slideLayouts/slideLayout1444.xml"/><Relationship Id="rId51" Type="http://schemas.openxmlformats.org/officeDocument/2006/relationships/slideLayout" Target="../slideLayouts/slideLayout1487.xml"/><Relationship Id="rId72" Type="http://schemas.openxmlformats.org/officeDocument/2006/relationships/theme" Target="../theme/theme21.xml"/><Relationship Id="rId3" Type="http://schemas.openxmlformats.org/officeDocument/2006/relationships/slideLayout" Target="../slideLayouts/slideLayout1439.xml"/><Relationship Id="rId12" Type="http://schemas.openxmlformats.org/officeDocument/2006/relationships/slideLayout" Target="../slideLayouts/slideLayout1448.xml"/><Relationship Id="rId17" Type="http://schemas.openxmlformats.org/officeDocument/2006/relationships/slideLayout" Target="../slideLayouts/slideLayout1453.xml"/><Relationship Id="rId25" Type="http://schemas.openxmlformats.org/officeDocument/2006/relationships/slideLayout" Target="../slideLayouts/slideLayout1461.xml"/><Relationship Id="rId33" Type="http://schemas.openxmlformats.org/officeDocument/2006/relationships/slideLayout" Target="../slideLayouts/slideLayout1469.xml"/><Relationship Id="rId38" Type="http://schemas.openxmlformats.org/officeDocument/2006/relationships/slideLayout" Target="../slideLayouts/slideLayout1474.xml"/><Relationship Id="rId46" Type="http://schemas.openxmlformats.org/officeDocument/2006/relationships/slideLayout" Target="../slideLayouts/slideLayout1482.xml"/><Relationship Id="rId59" Type="http://schemas.openxmlformats.org/officeDocument/2006/relationships/slideLayout" Target="../slideLayouts/slideLayout1495.xml"/><Relationship Id="rId67" Type="http://schemas.openxmlformats.org/officeDocument/2006/relationships/slideLayout" Target="../slideLayouts/slideLayout1503.xml"/><Relationship Id="rId20" Type="http://schemas.openxmlformats.org/officeDocument/2006/relationships/slideLayout" Target="../slideLayouts/slideLayout1456.xml"/><Relationship Id="rId41" Type="http://schemas.openxmlformats.org/officeDocument/2006/relationships/slideLayout" Target="../slideLayouts/slideLayout1477.xml"/><Relationship Id="rId54" Type="http://schemas.openxmlformats.org/officeDocument/2006/relationships/slideLayout" Target="../slideLayouts/slideLayout1490.xml"/><Relationship Id="rId62" Type="http://schemas.openxmlformats.org/officeDocument/2006/relationships/slideLayout" Target="../slideLayouts/slideLayout1498.xml"/><Relationship Id="rId70" Type="http://schemas.openxmlformats.org/officeDocument/2006/relationships/slideLayout" Target="../slideLayouts/slideLayout1506.xml"/><Relationship Id="rId75" Type="http://schemas.openxmlformats.org/officeDocument/2006/relationships/image" Target="../media/image63.emf"/><Relationship Id="rId1" Type="http://schemas.openxmlformats.org/officeDocument/2006/relationships/slideLayout" Target="../slideLayouts/slideLayout1437.xml"/><Relationship Id="rId6" Type="http://schemas.openxmlformats.org/officeDocument/2006/relationships/slideLayout" Target="../slideLayouts/slideLayout144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7.xml"/><Relationship Id="rId18" Type="http://schemas.openxmlformats.org/officeDocument/2006/relationships/slideLayout" Target="../slideLayouts/slideLayout272.xml"/><Relationship Id="rId26" Type="http://schemas.openxmlformats.org/officeDocument/2006/relationships/slideLayout" Target="../slideLayouts/slideLayout280.xml"/><Relationship Id="rId39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275.xml"/><Relationship Id="rId34" Type="http://schemas.openxmlformats.org/officeDocument/2006/relationships/slideLayout" Target="../slideLayouts/slideLayout288.xml"/><Relationship Id="rId42" Type="http://schemas.openxmlformats.org/officeDocument/2006/relationships/slideLayout" Target="../slideLayouts/slideLayout296.xml"/><Relationship Id="rId47" Type="http://schemas.openxmlformats.org/officeDocument/2006/relationships/slideLayout" Target="../slideLayouts/slideLayout301.xml"/><Relationship Id="rId50" Type="http://schemas.openxmlformats.org/officeDocument/2006/relationships/slideLayout" Target="../slideLayouts/slideLayout304.xml"/><Relationship Id="rId55" Type="http://schemas.openxmlformats.org/officeDocument/2006/relationships/slideLayout" Target="../slideLayouts/slideLayout309.xml"/><Relationship Id="rId63" Type="http://schemas.openxmlformats.org/officeDocument/2006/relationships/slideLayout" Target="../slideLayouts/slideLayout317.xml"/><Relationship Id="rId68" Type="http://schemas.openxmlformats.org/officeDocument/2006/relationships/slideLayout" Target="../slideLayouts/slideLayout322.xml"/><Relationship Id="rId7" Type="http://schemas.openxmlformats.org/officeDocument/2006/relationships/slideLayout" Target="../slideLayouts/slideLayout261.xml"/><Relationship Id="rId71" Type="http://schemas.openxmlformats.org/officeDocument/2006/relationships/theme" Target="../theme/theme3.xml"/><Relationship Id="rId2" Type="http://schemas.openxmlformats.org/officeDocument/2006/relationships/slideLayout" Target="../slideLayouts/slideLayout256.xml"/><Relationship Id="rId16" Type="http://schemas.openxmlformats.org/officeDocument/2006/relationships/slideLayout" Target="../slideLayouts/slideLayout270.xml"/><Relationship Id="rId29" Type="http://schemas.openxmlformats.org/officeDocument/2006/relationships/slideLayout" Target="../slideLayouts/slideLayout283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24" Type="http://schemas.openxmlformats.org/officeDocument/2006/relationships/slideLayout" Target="../slideLayouts/slideLayout278.xml"/><Relationship Id="rId32" Type="http://schemas.openxmlformats.org/officeDocument/2006/relationships/slideLayout" Target="../slideLayouts/slideLayout286.xml"/><Relationship Id="rId37" Type="http://schemas.openxmlformats.org/officeDocument/2006/relationships/slideLayout" Target="../slideLayouts/slideLayout291.xml"/><Relationship Id="rId40" Type="http://schemas.openxmlformats.org/officeDocument/2006/relationships/slideLayout" Target="../slideLayouts/slideLayout294.xml"/><Relationship Id="rId45" Type="http://schemas.openxmlformats.org/officeDocument/2006/relationships/slideLayout" Target="../slideLayouts/slideLayout299.xml"/><Relationship Id="rId53" Type="http://schemas.openxmlformats.org/officeDocument/2006/relationships/slideLayout" Target="../slideLayouts/slideLayout307.xml"/><Relationship Id="rId58" Type="http://schemas.openxmlformats.org/officeDocument/2006/relationships/slideLayout" Target="../slideLayouts/slideLayout312.xml"/><Relationship Id="rId66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259.xml"/><Relationship Id="rId15" Type="http://schemas.openxmlformats.org/officeDocument/2006/relationships/slideLayout" Target="../slideLayouts/slideLayout269.xml"/><Relationship Id="rId23" Type="http://schemas.openxmlformats.org/officeDocument/2006/relationships/slideLayout" Target="../slideLayouts/slideLayout277.xml"/><Relationship Id="rId28" Type="http://schemas.openxmlformats.org/officeDocument/2006/relationships/slideLayout" Target="../slideLayouts/slideLayout282.xml"/><Relationship Id="rId36" Type="http://schemas.openxmlformats.org/officeDocument/2006/relationships/slideLayout" Target="../slideLayouts/slideLayout290.xml"/><Relationship Id="rId49" Type="http://schemas.openxmlformats.org/officeDocument/2006/relationships/slideLayout" Target="../slideLayouts/slideLayout303.xml"/><Relationship Id="rId57" Type="http://schemas.openxmlformats.org/officeDocument/2006/relationships/slideLayout" Target="../slideLayouts/slideLayout311.xml"/><Relationship Id="rId61" Type="http://schemas.openxmlformats.org/officeDocument/2006/relationships/slideLayout" Target="../slideLayouts/slideLayout315.xml"/><Relationship Id="rId10" Type="http://schemas.openxmlformats.org/officeDocument/2006/relationships/slideLayout" Target="../slideLayouts/slideLayout264.xml"/><Relationship Id="rId19" Type="http://schemas.openxmlformats.org/officeDocument/2006/relationships/slideLayout" Target="../slideLayouts/slideLayout273.xml"/><Relationship Id="rId31" Type="http://schemas.openxmlformats.org/officeDocument/2006/relationships/slideLayout" Target="../slideLayouts/slideLayout285.xml"/><Relationship Id="rId44" Type="http://schemas.openxmlformats.org/officeDocument/2006/relationships/slideLayout" Target="../slideLayouts/slideLayout298.xml"/><Relationship Id="rId52" Type="http://schemas.openxmlformats.org/officeDocument/2006/relationships/slideLayout" Target="../slideLayouts/slideLayout306.xml"/><Relationship Id="rId60" Type="http://schemas.openxmlformats.org/officeDocument/2006/relationships/slideLayout" Target="../slideLayouts/slideLayout314.xml"/><Relationship Id="rId65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slideLayout" Target="../slideLayouts/slideLayout268.xml"/><Relationship Id="rId22" Type="http://schemas.openxmlformats.org/officeDocument/2006/relationships/slideLayout" Target="../slideLayouts/slideLayout276.xml"/><Relationship Id="rId27" Type="http://schemas.openxmlformats.org/officeDocument/2006/relationships/slideLayout" Target="../slideLayouts/slideLayout281.xml"/><Relationship Id="rId30" Type="http://schemas.openxmlformats.org/officeDocument/2006/relationships/slideLayout" Target="../slideLayouts/slideLayout284.xml"/><Relationship Id="rId35" Type="http://schemas.openxmlformats.org/officeDocument/2006/relationships/slideLayout" Target="../slideLayouts/slideLayout289.xml"/><Relationship Id="rId43" Type="http://schemas.openxmlformats.org/officeDocument/2006/relationships/slideLayout" Target="../slideLayouts/slideLayout297.xml"/><Relationship Id="rId48" Type="http://schemas.openxmlformats.org/officeDocument/2006/relationships/slideLayout" Target="../slideLayouts/slideLayout302.xml"/><Relationship Id="rId56" Type="http://schemas.openxmlformats.org/officeDocument/2006/relationships/slideLayout" Target="../slideLayouts/slideLayout310.xml"/><Relationship Id="rId64" Type="http://schemas.openxmlformats.org/officeDocument/2006/relationships/slideLayout" Target="../slideLayouts/slideLayout318.xml"/><Relationship Id="rId69" Type="http://schemas.openxmlformats.org/officeDocument/2006/relationships/slideLayout" Target="../slideLayouts/slideLayout323.xml"/><Relationship Id="rId8" Type="http://schemas.openxmlformats.org/officeDocument/2006/relationships/slideLayout" Target="../slideLayouts/slideLayout262.xml"/><Relationship Id="rId51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6.xml"/><Relationship Id="rId17" Type="http://schemas.openxmlformats.org/officeDocument/2006/relationships/slideLayout" Target="../slideLayouts/slideLayout271.xml"/><Relationship Id="rId25" Type="http://schemas.openxmlformats.org/officeDocument/2006/relationships/slideLayout" Target="../slideLayouts/slideLayout279.xml"/><Relationship Id="rId33" Type="http://schemas.openxmlformats.org/officeDocument/2006/relationships/slideLayout" Target="../slideLayouts/slideLayout287.xml"/><Relationship Id="rId38" Type="http://schemas.openxmlformats.org/officeDocument/2006/relationships/slideLayout" Target="../slideLayouts/slideLayout292.xml"/><Relationship Id="rId46" Type="http://schemas.openxmlformats.org/officeDocument/2006/relationships/slideLayout" Target="../slideLayouts/slideLayout300.xml"/><Relationship Id="rId59" Type="http://schemas.openxmlformats.org/officeDocument/2006/relationships/slideLayout" Target="../slideLayouts/slideLayout313.xml"/><Relationship Id="rId67" Type="http://schemas.openxmlformats.org/officeDocument/2006/relationships/slideLayout" Target="../slideLayouts/slideLayout321.xml"/><Relationship Id="rId20" Type="http://schemas.openxmlformats.org/officeDocument/2006/relationships/slideLayout" Target="../slideLayouts/slideLayout274.xml"/><Relationship Id="rId41" Type="http://schemas.openxmlformats.org/officeDocument/2006/relationships/slideLayout" Target="../slideLayouts/slideLayout295.xml"/><Relationship Id="rId54" Type="http://schemas.openxmlformats.org/officeDocument/2006/relationships/slideLayout" Target="../slideLayouts/slideLayout308.xml"/><Relationship Id="rId62" Type="http://schemas.openxmlformats.org/officeDocument/2006/relationships/slideLayout" Target="../slideLayouts/slideLayout316.xml"/><Relationship Id="rId70" Type="http://schemas.openxmlformats.org/officeDocument/2006/relationships/slideLayout" Target="../slideLayouts/slideLayout32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7.xml"/><Relationship Id="rId18" Type="http://schemas.openxmlformats.org/officeDocument/2006/relationships/slideLayout" Target="../slideLayouts/slideLayout342.xml"/><Relationship Id="rId26" Type="http://schemas.openxmlformats.org/officeDocument/2006/relationships/slideLayout" Target="../slideLayouts/slideLayout350.xml"/><Relationship Id="rId39" Type="http://schemas.openxmlformats.org/officeDocument/2006/relationships/slideLayout" Target="../slideLayouts/slideLayout363.xml"/><Relationship Id="rId21" Type="http://schemas.openxmlformats.org/officeDocument/2006/relationships/slideLayout" Target="../slideLayouts/slideLayout345.xml"/><Relationship Id="rId34" Type="http://schemas.openxmlformats.org/officeDocument/2006/relationships/slideLayout" Target="../slideLayouts/slideLayout358.xml"/><Relationship Id="rId42" Type="http://schemas.openxmlformats.org/officeDocument/2006/relationships/slideLayout" Target="../slideLayouts/slideLayout366.xml"/><Relationship Id="rId47" Type="http://schemas.openxmlformats.org/officeDocument/2006/relationships/slideLayout" Target="../slideLayouts/slideLayout371.xml"/><Relationship Id="rId50" Type="http://schemas.openxmlformats.org/officeDocument/2006/relationships/slideLayout" Target="../slideLayouts/slideLayout374.xml"/><Relationship Id="rId55" Type="http://schemas.openxmlformats.org/officeDocument/2006/relationships/slideLayout" Target="../slideLayouts/slideLayout379.xml"/><Relationship Id="rId63" Type="http://schemas.openxmlformats.org/officeDocument/2006/relationships/slideLayout" Target="../slideLayouts/slideLayout387.xml"/><Relationship Id="rId68" Type="http://schemas.openxmlformats.org/officeDocument/2006/relationships/slideLayout" Target="../slideLayouts/slideLayout392.xml"/><Relationship Id="rId7" Type="http://schemas.openxmlformats.org/officeDocument/2006/relationships/slideLayout" Target="../slideLayouts/slideLayout331.xml"/><Relationship Id="rId71" Type="http://schemas.openxmlformats.org/officeDocument/2006/relationships/theme" Target="../theme/theme4.xml"/><Relationship Id="rId2" Type="http://schemas.openxmlformats.org/officeDocument/2006/relationships/slideLayout" Target="../slideLayouts/slideLayout326.xml"/><Relationship Id="rId16" Type="http://schemas.openxmlformats.org/officeDocument/2006/relationships/slideLayout" Target="../slideLayouts/slideLayout340.xml"/><Relationship Id="rId29" Type="http://schemas.openxmlformats.org/officeDocument/2006/relationships/slideLayout" Target="../slideLayouts/slideLayout353.xml"/><Relationship Id="rId11" Type="http://schemas.openxmlformats.org/officeDocument/2006/relationships/slideLayout" Target="../slideLayouts/slideLayout335.xml"/><Relationship Id="rId24" Type="http://schemas.openxmlformats.org/officeDocument/2006/relationships/slideLayout" Target="../slideLayouts/slideLayout348.xml"/><Relationship Id="rId32" Type="http://schemas.openxmlformats.org/officeDocument/2006/relationships/slideLayout" Target="../slideLayouts/slideLayout356.xml"/><Relationship Id="rId37" Type="http://schemas.openxmlformats.org/officeDocument/2006/relationships/slideLayout" Target="../slideLayouts/slideLayout361.xml"/><Relationship Id="rId40" Type="http://schemas.openxmlformats.org/officeDocument/2006/relationships/slideLayout" Target="../slideLayouts/slideLayout364.xml"/><Relationship Id="rId45" Type="http://schemas.openxmlformats.org/officeDocument/2006/relationships/slideLayout" Target="../slideLayouts/slideLayout369.xml"/><Relationship Id="rId53" Type="http://schemas.openxmlformats.org/officeDocument/2006/relationships/slideLayout" Target="../slideLayouts/slideLayout377.xml"/><Relationship Id="rId58" Type="http://schemas.openxmlformats.org/officeDocument/2006/relationships/slideLayout" Target="../slideLayouts/slideLayout382.xml"/><Relationship Id="rId66" Type="http://schemas.openxmlformats.org/officeDocument/2006/relationships/slideLayout" Target="../slideLayouts/slideLayout390.xml"/><Relationship Id="rId74" Type="http://schemas.openxmlformats.org/officeDocument/2006/relationships/image" Target="../media/image42.emf"/><Relationship Id="rId5" Type="http://schemas.openxmlformats.org/officeDocument/2006/relationships/slideLayout" Target="../slideLayouts/slideLayout329.xml"/><Relationship Id="rId15" Type="http://schemas.openxmlformats.org/officeDocument/2006/relationships/slideLayout" Target="../slideLayouts/slideLayout339.xml"/><Relationship Id="rId23" Type="http://schemas.openxmlformats.org/officeDocument/2006/relationships/slideLayout" Target="../slideLayouts/slideLayout347.xml"/><Relationship Id="rId28" Type="http://schemas.openxmlformats.org/officeDocument/2006/relationships/slideLayout" Target="../slideLayouts/slideLayout352.xml"/><Relationship Id="rId36" Type="http://schemas.openxmlformats.org/officeDocument/2006/relationships/slideLayout" Target="../slideLayouts/slideLayout360.xml"/><Relationship Id="rId49" Type="http://schemas.openxmlformats.org/officeDocument/2006/relationships/slideLayout" Target="../slideLayouts/slideLayout373.xml"/><Relationship Id="rId57" Type="http://schemas.openxmlformats.org/officeDocument/2006/relationships/slideLayout" Target="../slideLayouts/slideLayout381.xml"/><Relationship Id="rId61" Type="http://schemas.openxmlformats.org/officeDocument/2006/relationships/slideLayout" Target="../slideLayouts/slideLayout385.xml"/><Relationship Id="rId10" Type="http://schemas.openxmlformats.org/officeDocument/2006/relationships/slideLayout" Target="../slideLayouts/slideLayout334.xml"/><Relationship Id="rId19" Type="http://schemas.openxmlformats.org/officeDocument/2006/relationships/slideLayout" Target="../slideLayouts/slideLayout343.xml"/><Relationship Id="rId31" Type="http://schemas.openxmlformats.org/officeDocument/2006/relationships/slideLayout" Target="../slideLayouts/slideLayout355.xml"/><Relationship Id="rId44" Type="http://schemas.openxmlformats.org/officeDocument/2006/relationships/slideLayout" Target="../slideLayouts/slideLayout368.xml"/><Relationship Id="rId52" Type="http://schemas.openxmlformats.org/officeDocument/2006/relationships/slideLayout" Target="../slideLayouts/slideLayout376.xml"/><Relationship Id="rId60" Type="http://schemas.openxmlformats.org/officeDocument/2006/relationships/slideLayout" Target="../slideLayouts/slideLayout384.xml"/><Relationship Id="rId65" Type="http://schemas.openxmlformats.org/officeDocument/2006/relationships/slideLayout" Target="../slideLayouts/slideLayout389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328.xml"/><Relationship Id="rId9" Type="http://schemas.openxmlformats.org/officeDocument/2006/relationships/slideLayout" Target="../slideLayouts/slideLayout333.xml"/><Relationship Id="rId14" Type="http://schemas.openxmlformats.org/officeDocument/2006/relationships/slideLayout" Target="../slideLayouts/slideLayout338.xml"/><Relationship Id="rId22" Type="http://schemas.openxmlformats.org/officeDocument/2006/relationships/slideLayout" Target="../slideLayouts/slideLayout346.xml"/><Relationship Id="rId27" Type="http://schemas.openxmlformats.org/officeDocument/2006/relationships/slideLayout" Target="../slideLayouts/slideLayout351.xml"/><Relationship Id="rId30" Type="http://schemas.openxmlformats.org/officeDocument/2006/relationships/slideLayout" Target="../slideLayouts/slideLayout354.xml"/><Relationship Id="rId35" Type="http://schemas.openxmlformats.org/officeDocument/2006/relationships/slideLayout" Target="../slideLayouts/slideLayout359.xml"/><Relationship Id="rId43" Type="http://schemas.openxmlformats.org/officeDocument/2006/relationships/slideLayout" Target="../slideLayouts/slideLayout367.xml"/><Relationship Id="rId48" Type="http://schemas.openxmlformats.org/officeDocument/2006/relationships/slideLayout" Target="../slideLayouts/slideLayout372.xml"/><Relationship Id="rId56" Type="http://schemas.openxmlformats.org/officeDocument/2006/relationships/slideLayout" Target="../slideLayouts/slideLayout380.xml"/><Relationship Id="rId64" Type="http://schemas.openxmlformats.org/officeDocument/2006/relationships/slideLayout" Target="../slideLayouts/slideLayout388.xml"/><Relationship Id="rId69" Type="http://schemas.openxmlformats.org/officeDocument/2006/relationships/slideLayout" Target="../slideLayouts/slideLayout393.xml"/><Relationship Id="rId8" Type="http://schemas.openxmlformats.org/officeDocument/2006/relationships/slideLayout" Target="../slideLayouts/slideLayout332.xml"/><Relationship Id="rId51" Type="http://schemas.openxmlformats.org/officeDocument/2006/relationships/slideLayout" Target="../slideLayouts/slideLayout375.xml"/><Relationship Id="rId72" Type="http://schemas.openxmlformats.org/officeDocument/2006/relationships/tags" Target="../tags/tag2.xml"/><Relationship Id="rId3" Type="http://schemas.openxmlformats.org/officeDocument/2006/relationships/slideLayout" Target="../slideLayouts/slideLayout327.xml"/><Relationship Id="rId12" Type="http://schemas.openxmlformats.org/officeDocument/2006/relationships/slideLayout" Target="../slideLayouts/slideLayout336.xml"/><Relationship Id="rId17" Type="http://schemas.openxmlformats.org/officeDocument/2006/relationships/slideLayout" Target="../slideLayouts/slideLayout341.xml"/><Relationship Id="rId25" Type="http://schemas.openxmlformats.org/officeDocument/2006/relationships/slideLayout" Target="../slideLayouts/slideLayout349.xml"/><Relationship Id="rId33" Type="http://schemas.openxmlformats.org/officeDocument/2006/relationships/slideLayout" Target="../slideLayouts/slideLayout357.xml"/><Relationship Id="rId38" Type="http://schemas.openxmlformats.org/officeDocument/2006/relationships/slideLayout" Target="../slideLayouts/slideLayout362.xml"/><Relationship Id="rId46" Type="http://schemas.openxmlformats.org/officeDocument/2006/relationships/slideLayout" Target="../slideLayouts/slideLayout370.xml"/><Relationship Id="rId59" Type="http://schemas.openxmlformats.org/officeDocument/2006/relationships/slideLayout" Target="../slideLayouts/slideLayout383.xml"/><Relationship Id="rId67" Type="http://schemas.openxmlformats.org/officeDocument/2006/relationships/slideLayout" Target="../slideLayouts/slideLayout391.xml"/><Relationship Id="rId20" Type="http://schemas.openxmlformats.org/officeDocument/2006/relationships/slideLayout" Target="../slideLayouts/slideLayout344.xml"/><Relationship Id="rId41" Type="http://schemas.openxmlformats.org/officeDocument/2006/relationships/slideLayout" Target="../slideLayouts/slideLayout365.xml"/><Relationship Id="rId54" Type="http://schemas.openxmlformats.org/officeDocument/2006/relationships/slideLayout" Target="../slideLayouts/slideLayout378.xml"/><Relationship Id="rId62" Type="http://schemas.openxmlformats.org/officeDocument/2006/relationships/slideLayout" Target="../slideLayouts/slideLayout386.xml"/><Relationship Id="rId70" Type="http://schemas.openxmlformats.org/officeDocument/2006/relationships/slideLayout" Target="../slideLayouts/slideLayout394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7.xml"/><Relationship Id="rId18" Type="http://schemas.openxmlformats.org/officeDocument/2006/relationships/slideLayout" Target="../slideLayouts/slideLayout412.xml"/><Relationship Id="rId26" Type="http://schemas.openxmlformats.org/officeDocument/2006/relationships/slideLayout" Target="../slideLayouts/slideLayout420.xml"/><Relationship Id="rId39" Type="http://schemas.openxmlformats.org/officeDocument/2006/relationships/slideLayout" Target="../slideLayouts/slideLayout433.xml"/><Relationship Id="rId21" Type="http://schemas.openxmlformats.org/officeDocument/2006/relationships/slideLayout" Target="../slideLayouts/slideLayout415.xml"/><Relationship Id="rId34" Type="http://schemas.openxmlformats.org/officeDocument/2006/relationships/slideLayout" Target="../slideLayouts/slideLayout428.xml"/><Relationship Id="rId42" Type="http://schemas.openxmlformats.org/officeDocument/2006/relationships/slideLayout" Target="../slideLayouts/slideLayout436.xml"/><Relationship Id="rId47" Type="http://schemas.openxmlformats.org/officeDocument/2006/relationships/slideLayout" Target="../slideLayouts/slideLayout441.xml"/><Relationship Id="rId50" Type="http://schemas.openxmlformats.org/officeDocument/2006/relationships/slideLayout" Target="../slideLayouts/slideLayout444.xml"/><Relationship Id="rId55" Type="http://schemas.openxmlformats.org/officeDocument/2006/relationships/slideLayout" Target="../slideLayouts/slideLayout449.xml"/><Relationship Id="rId63" Type="http://schemas.openxmlformats.org/officeDocument/2006/relationships/slideLayout" Target="../slideLayouts/slideLayout457.xml"/><Relationship Id="rId68" Type="http://schemas.openxmlformats.org/officeDocument/2006/relationships/slideLayout" Target="../slideLayouts/slideLayout462.xml"/><Relationship Id="rId7" Type="http://schemas.openxmlformats.org/officeDocument/2006/relationships/slideLayout" Target="../slideLayouts/slideLayout401.xml"/><Relationship Id="rId71" Type="http://schemas.openxmlformats.org/officeDocument/2006/relationships/slideLayout" Target="../slideLayouts/slideLayout465.xml"/><Relationship Id="rId2" Type="http://schemas.openxmlformats.org/officeDocument/2006/relationships/slideLayout" Target="../slideLayouts/slideLayout396.xml"/><Relationship Id="rId16" Type="http://schemas.openxmlformats.org/officeDocument/2006/relationships/slideLayout" Target="../slideLayouts/slideLayout410.xml"/><Relationship Id="rId29" Type="http://schemas.openxmlformats.org/officeDocument/2006/relationships/slideLayout" Target="../slideLayouts/slideLayout423.xml"/><Relationship Id="rId1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400.xml"/><Relationship Id="rId11" Type="http://schemas.openxmlformats.org/officeDocument/2006/relationships/slideLayout" Target="../slideLayouts/slideLayout405.xml"/><Relationship Id="rId24" Type="http://schemas.openxmlformats.org/officeDocument/2006/relationships/slideLayout" Target="../slideLayouts/slideLayout418.xml"/><Relationship Id="rId32" Type="http://schemas.openxmlformats.org/officeDocument/2006/relationships/slideLayout" Target="../slideLayouts/slideLayout426.xml"/><Relationship Id="rId37" Type="http://schemas.openxmlformats.org/officeDocument/2006/relationships/slideLayout" Target="../slideLayouts/slideLayout431.xml"/><Relationship Id="rId40" Type="http://schemas.openxmlformats.org/officeDocument/2006/relationships/slideLayout" Target="../slideLayouts/slideLayout434.xml"/><Relationship Id="rId45" Type="http://schemas.openxmlformats.org/officeDocument/2006/relationships/slideLayout" Target="../slideLayouts/slideLayout439.xml"/><Relationship Id="rId53" Type="http://schemas.openxmlformats.org/officeDocument/2006/relationships/slideLayout" Target="../slideLayouts/slideLayout447.xml"/><Relationship Id="rId58" Type="http://schemas.openxmlformats.org/officeDocument/2006/relationships/slideLayout" Target="../slideLayouts/slideLayout452.xml"/><Relationship Id="rId66" Type="http://schemas.openxmlformats.org/officeDocument/2006/relationships/slideLayout" Target="../slideLayouts/slideLayout460.xml"/><Relationship Id="rId5" Type="http://schemas.openxmlformats.org/officeDocument/2006/relationships/slideLayout" Target="../slideLayouts/slideLayout399.xml"/><Relationship Id="rId15" Type="http://schemas.openxmlformats.org/officeDocument/2006/relationships/slideLayout" Target="../slideLayouts/slideLayout409.xml"/><Relationship Id="rId23" Type="http://schemas.openxmlformats.org/officeDocument/2006/relationships/slideLayout" Target="../slideLayouts/slideLayout417.xml"/><Relationship Id="rId28" Type="http://schemas.openxmlformats.org/officeDocument/2006/relationships/slideLayout" Target="../slideLayouts/slideLayout422.xml"/><Relationship Id="rId36" Type="http://schemas.openxmlformats.org/officeDocument/2006/relationships/slideLayout" Target="../slideLayouts/slideLayout430.xml"/><Relationship Id="rId49" Type="http://schemas.openxmlformats.org/officeDocument/2006/relationships/slideLayout" Target="../slideLayouts/slideLayout443.xml"/><Relationship Id="rId57" Type="http://schemas.openxmlformats.org/officeDocument/2006/relationships/slideLayout" Target="../slideLayouts/slideLayout451.xml"/><Relationship Id="rId61" Type="http://schemas.openxmlformats.org/officeDocument/2006/relationships/slideLayout" Target="../slideLayouts/slideLayout455.xml"/><Relationship Id="rId10" Type="http://schemas.openxmlformats.org/officeDocument/2006/relationships/slideLayout" Target="../slideLayouts/slideLayout404.xml"/><Relationship Id="rId19" Type="http://schemas.openxmlformats.org/officeDocument/2006/relationships/slideLayout" Target="../slideLayouts/slideLayout413.xml"/><Relationship Id="rId31" Type="http://schemas.openxmlformats.org/officeDocument/2006/relationships/slideLayout" Target="../slideLayouts/slideLayout425.xml"/><Relationship Id="rId44" Type="http://schemas.openxmlformats.org/officeDocument/2006/relationships/slideLayout" Target="../slideLayouts/slideLayout438.xml"/><Relationship Id="rId52" Type="http://schemas.openxmlformats.org/officeDocument/2006/relationships/slideLayout" Target="../slideLayouts/slideLayout446.xml"/><Relationship Id="rId60" Type="http://schemas.openxmlformats.org/officeDocument/2006/relationships/slideLayout" Target="../slideLayouts/slideLayout454.xml"/><Relationship Id="rId65" Type="http://schemas.openxmlformats.org/officeDocument/2006/relationships/slideLayout" Target="../slideLayouts/slideLayout459.xml"/><Relationship Id="rId4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403.xml"/><Relationship Id="rId14" Type="http://schemas.openxmlformats.org/officeDocument/2006/relationships/slideLayout" Target="../slideLayouts/slideLayout408.xml"/><Relationship Id="rId22" Type="http://schemas.openxmlformats.org/officeDocument/2006/relationships/slideLayout" Target="../slideLayouts/slideLayout416.xml"/><Relationship Id="rId27" Type="http://schemas.openxmlformats.org/officeDocument/2006/relationships/slideLayout" Target="../slideLayouts/slideLayout421.xml"/><Relationship Id="rId30" Type="http://schemas.openxmlformats.org/officeDocument/2006/relationships/slideLayout" Target="../slideLayouts/slideLayout424.xml"/><Relationship Id="rId35" Type="http://schemas.openxmlformats.org/officeDocument/2006/relationships/slideLayout" Target="../slideLayouts/slideLayout429.xml"/><Relationship Id="rId43" Type="http://schemas.openxmlformats.org/officeDocument/2006/relationships/slideLayout" Target="../slideLayouts/slideLayout437.xml"/><Relationship Id="rId48" Type="http://schemas.openxmlformats.org/officeDocument/2006/relationships/slideLayout" Target="../slideLayouts/slideLayout442.xml"/><Relationship Id="rId56" Type="http://schemas.openxmlformats.org/officeDocument/2006/relationships/slideLayout" Target="../slideLayouts/slideLayout450.xml"/><Relationship Id="rId64" Type="http://schemas.openxmlformats.org/officeDocument/2006/relationships/slideLayout" Target="../slideLayouts/slideLayout458.xml"/><Relationship Id="rId69" Type="http://schemas.openxmlformats.org/officeDocument/2006/relationships/slideLayout" Target="../slideLayouts/slideLayout463.xml"/><Relationship Id="rId8" Type="http://schemas.openxmlformats.org/officeDocument/2006/relationships/slideLayout" Target="../slideLayouts/slideLayout402.xml"/><Relationship Id="rId51" Type="http://schemas.openxmlformats.org/officeDocument/2006/relationships/slideLayout" Target="../slideLayouts/slideLayout445.xml"/><Relationship Id="rId72" Type="http://schemas.openxmlformats.org/officeDocument/2006/relationships/theme" Target="../theme/theme5.xml"/><Relationship Id="rId3" Type="http://schemas.openxmlformats.org/officeDocument/2006/relationships/slideLayout" Target="../slideLayouts/slideLayout397.xml"/><Relationship Id="rId12" Type="http://schemas.openxmlformats.org/officeDocument/2006/relationships/slideLayout" Target="../slideLayouts/slideLayout406.xml"/><Relationship Id="rId17" Type="http://schemas.openxmlformats.org/officeDocument/2006/relationships/slideLayout" Target="../slideLayouts/slideLayout411.xml"/><Relationship Id="rId25" Type="http://schemas.openxmlformats.org/officeDocument/2006/relationships/slideLayout" Target="../slideLayouts/slideLayout419.xml"/><Relationship Id="rId33" Type="http://schemas.openxmlformats.org/officeDocument/2006/relationships/slideLayout" Target="../slideLayouts/slideLayout427.xml"/><Relationship Id="rId38" Type="http://schemas.openxmlformats.org/officeDocument/2006/relationships/slideLayout" Target="../slideLayouts/slideLayout432.xml"/><Relationship Id="rId46" Type="http://schemas.openxmlformats.org/officeDocument/2006/relationships/slideLayout" Target="../slideLayouts/slideLayout440.xml"/><Relationship Id="rId59" Type="http://schemas.openxmlformats.org/officeDocument/2006/relationships/slideLayout" Target="../slideLayouts/slideLayout453.xml"/><Relationship Id="rId67" Type="http://schemas.openxmlformats.org/officeDocument/2006/relationships/slideLayout" Target="../slideLayouts/slideLayout461.xml"/><Relationship Id="rId20" Type="http://schemas.openxmlformats.org/officeDocument/2006/relationships/slideLayout" Target="../slideLayouts/slideLayout414.xml"/><Relationship Id="rId41" Type="http://schemas.openxmlformats.org/officeDocument/2006/relationships/slideLayout" Target="../slideLayouts/slideLayout435.xml"/><Relationship Id="rId54" Type="http://schemas.openxmlformats.org/officeDocument/2006/relationships/slideLayout" Target="../slideLayouts/slideLayout448.xml"/><Relationship Id="rId62" Type="http://schemas.openxmlformats.org/officeDocument/2006/relationships/slideLayout" Target="../slideLayouts/slideLayout456.xml"/><Relationship Id="rId70" Type="http://schemas.openxmlformats.org/officeDocument/2006/relationships/slideLayout" Target="../slideLayouts/slideLayout46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8.xml"/><Relationship Id="rId18" Type="http://schemas.openxmlformats.org/officeDocument/2006/relationships/slideLayout" Target="../slideLayouts/slideLayout483.xml"/><Relationship Id="rId26" Type="http://schemas.openxmlformats.org/officeDocument/2006/relationships/slideLayout" Target="../slideLayouts/slideLayout491.xml"/><Relationship Id="rId39" Type="http://schemas.openxmlformats.org/officeDocument/2006/relationships/slideLayout" Target="../slideLayouts/slideLayout504.xml"/><Relationship Id="rId21" Type="http://schemas.openxmlformats.org/officeDocument/2006/relationships/slideLayout" Target="../slideLayouts/slideLayout486.xml"/><Relationship Id="rId34" Type="http://schemas.openxmlformats.org/officeDocument/2006/relationships/slideLayout" Target="../slideLayouts/slideLayout499.xml"/><Relationship Id="rId42" Type="http://schemas.openxmlformats.org/officeDocument/2006/relationships/slideLayout" Target="../slideLayouts/slideLayout507.xml"/><Relationship Id="rId47" Type="http://schemas.openxmlformats.org/officeDocument/2006/relationships/slideLayout" Target="../slideLayouts/slideLayout512.xml"/><Relationship Id="rId50" Type="http://schemas.openxmlformats.org/officeDocument/2006/relationships/slideLayout" Target="../slideLayouts/slideLayout515.xml"/><Relationship Id="rId55" Type="http://schemas.openxmlformats.org/officeDocument/2006/relationships/slideLayout" Target="../slideLayouts/slideLayout520.xml"/><Relationship Id="rId63" Type="http://schemas.openxmlformats.org/officeDocument/2006/relationships/slideLayout" Target="../slideLayouts/slideLayout528.xml"/><Relationship Id="rId68" Type="http://schemas.openxmlformats.org/officeDocument/2006/relationships/slideLayout" Target="../slideLayouts/slideLayout533.xml"/><Relationship Id="rId76" Type="http://schemas.openxmlformats.org/officeDocument/2006/relationships/image" Target="../media/image52.emf"/><Relationship Id="rId7" Type="http://schemas.openxmlformats.org/officeDocument/2006/relationships/slideLayout" Target="../slideLayouts/slideLayout472.xml"/><Relationship Id="rId71" Type="http://schemas.openxmlformats.org/officeDocument/2006/relationships/slideLayout" Target="../slideLayouts/slideLayout536.xml"/><Relationship Id="rId2" Type="http://schemas.openxmlformats.org/officeDocument/2006/relationships/slideLayout" Target="../slideLayouts/slideLayout467.xml"/><Relationship Id="rId16" Type="http://schemas.openxmlformats.org/officeDocument/2006/relationships/slideLayout" Target="../slideLayouts/slideLayout481.xml"/><Relationship Id="rId29" Type="http://schemas.openxmlformats.org/officeDocument/2006/relationships/slideLayout" Target="../slideLayouts/slideLayout494.xml"/><Relationship Id="rId11" Type="http://schemas.openxmlformats.org/officeDocument/2006/relationships/slideLayout" Target="../slideLayouts/slideLayout476.xml"/><Relationship Id="rId24" Type="http://schemas.openxmlformats.org/officeDocument/2006/relationships/slideLayout" Target="../slideLayouts/slideLayout489.xml"/><Relationship Id="rId32" Type="http://schemas.openxmlformats.org/officeDocument/2006/relationships/slideLayout" Target="../slideLayouts/slideLayout497.xml"/><Relationship Id="rId37" Type="http://schemas.openxmlformats.org/officeDocument/2006/relationships/slideLayout" Target="../slideLayouts/slideLayout502.xml"/><Relationship Id="rId40" Type="http://schemas.openxmlformats.org/officeDocument/2006/relationships/slideLayout" Target="../slideLayouts/slideLayout505.xml"/><Relationship Id="rId45" Type="http://schemas.openxmlformats.org/officeDocument/2006/relationships/slideLayout" Target="../slideLayouts/slideLayout510.xml"/><Relationship Id="rId53" Type="http://schemas.openxmlformats.org/officeDocument/2006/relationships/slideLayout" Target="../slideLayouts/slideLayout518.xml"/><Relationship Id="rId58" Type="http://schemas.openxmlformats.org/officeDocument/2006/relationships/slideLayout" Target="../slideLayouts/slideLayout523.xml"/><Relationship Id="rId66" Type="http://schemas.openxmlformats.org/officeDocument/2006/relationships/slideLayout" Target="../slideLayouts/slideLayout531.xml"/><Relationship Id="rId74" Type="http://schemas.openxmlformats.org/officeDocument/2006/relationships/tags" Target="../tags/tag3.xml"/><Relationship Id="rId5" Type="http://schemas.openxmlformats.org/officeDocument/2006/relationships/slideLayout" Target="../slideLayouts/slideLayout470.xml"/><Relationship Id="rId15" Type="http://schemas.openxmlformats.org/officeDocument/2006/relationships/slideLayout" Target="../slideLayouts/slideLayout480.xml"/><Relationship Id="rId23" Type="http://schemas.openxmlformats.org/officeDocument/2006/relationships/slideLayout" Target="../slideLayouts/slideLayout488.xml"/><Relationship Id="rId28" Type="http://schemas.openxmlformats.org/officeDocument/2006/relationships/slideLayout" Target="../slideLayouts/slideLayout493.xml"/><Relationship Id="rId36" Type="http://schemas.openxmlformats.org/officeDocument/2006/relationships/slideLayout" Target="../slideLayouts/slideLayout501.xml"/><Relationship Id="rId49" Type="http://schemas.openxmlformats.org/officeDocument/2006/relationships/slideLayout" Target="../slideLayouts/slideLayout514.xml"/><Relationship Id="rId57" Type="http://schemas.openxmlformats.org/officeDocument/2006/relationships/slideLayout" Target="../slideLayouts/slideLayout522.xml"/><Relationship Id="rId61" Type="http://schemas.openxmlformats.org/officeDocument/2006/relationships/slideLayout" Target="../slideLayouts/slideLayout526.xml"/><Relationship Id="rId10" Type="http://schemas.openxmlformats.org/officeDocument/2006/relationships/slideLayout" Target="../slideLayouts/slideLayout475.xml"/><Relationship Id="rId19" Type="http://schemas.openxmlformats.org/officeDocument/2006/relationships/slideLayout" Target="../slideLayouts/slideLayout484.xml"/><Relationship Id="rId31" Type="http://schemas.openxmlformats.org/officeDocument/2006/relationships/slideLayout" Target="../slideLayouts/slideLayout496.xml"/><Relationship Id="rId44" Type="http://schemas.openxmlformats.org/officeDocument/2006/relationships/slideLayout" Target="../slideLayouts/slideLayout509.xml"/><Relationship Id="rId52" Type="http://schemas.openxmlformats.org/officeDocument/2006/relationships/slideLayout" Target="../slideLayouts/slideLayout517.xml"/><Relationship Id="rId60" Type="http://schemas.openxmlformats.org/officeDocument/2006/relationships/slideLayout" Target="../slideLayouts/slideLayout525.xml"/><Relationship Id="rId65" Type="http://schemas.openxmlformats.org/officeDocument/2006/relationships/slideLayout" Target="../slideLayouts/slideLayout530.xml"/><Relationship Id="rId73" Type="http://schemas.openxmlformats.org/officeDocument/2006/relationships/theme" Target="../theme/theme6.xml"/><Relationship Id="rId4" Type="http://schemas.openxmlformats.org/officeDocument/2006/relationships/slideLayout" Target="../slideLayouts/slideLayout469.xml"/><Relationship Id="rId9" Type="http://schemas.openxmlformats.org/officeDocument/2006/relationships/slideLayout" Target="../slideLayouts/slideLayout474.xml"/><Relationship Id="rId14" Type="http://schemas.openxmlformats.org/officeDocument/2006/relationships/slideLayout" Target="../slideLayouts/slideLayout479.xml"/><Relationship Id="rId22" Type="http://schemas.openxmlformats.org/officeDocument/2006/relationships/slideLayout" Target="../slideLayouts/slideLayout487.xml"/><Relationship Id="rId27" Type="http://schemas.openxmlformats.org/officeDocument/2006/relationships/slideLayout" Target="../slideLayouts/slideLayout492.xml"/><Relationship Id="rId30" Type="http://schemas.openxmlformats.org/officeDocument/2006/relationships/slideLayout" Target="../slideLayouts/slideLayout495.xml"/><Relationship Id="rId35" Type="http://schemas.openxmlformats.org/officeDocument/2006/relationships/slideLayout" Target="../slideLayouts/slideLayout500.xml"/><Relationship Id="rId43" Type="http://schemas.openxmlformats.org/officeDocument/2006/relationships/slideLayout" Target="../slideLayouts/slideLayout508.xml"/><Relationship Id="rId48" Type="http://schemas.openxmlformats.org/officeDocument/2006/relationships/slideLayout" Target="../slideLayouts/slideLayout513.xml"/><Relationship Id="rId56" Type="http://schemas.openxmlformats.org/officeDocument/2006/relationships/slideLayout" Target="../slideLayouts/slideLayout521.xml"/><Relationship Id="rId64" Type="http://schemas.openxmlformats.org/officeDocument/2006/relationships/slideLayout" Target="../slideLayouts/slideLayout529.xml"/><Relationship Id="rId69" Type="http://schemas.openxmlformats.org/officeDocument/2006/relationships/slideLayout" Target="../slideLayouts/slideLayout534.xml"/><Relationship Id="rId8" Type="http://schemas.openxmlformats.org/officeDocument/2006/relationships/slideLayout" Target="../slideLayouts/slideLayout473.xml"/><Relationship Id="rId51" Type="http://schemas.openxmlformats.org/officeDocument/2006/relationships/slideLayout" Target="../slideLayouts/slideLayout516.xml"/><Relationship Id="rId72" Type="http://schemas.openxmlformats.org/officeDocument/2006/relationships/slideLayout" Target="../slideLayouts/slideLayout537.xml"/><Relationship Id="rId3" Type="http://schemas.openxmlformats.org/officeDocument/2006/relationships/slideLayout" Target="../slideLayouts/slideLayout468.xml"/><Relationship Id="rId12" Type="http://schemas.openxmlformats.org/officeDocument/2006/relationships/slideLayout" Target="../slideLayouts/slideLayout477.xml"/><Relationship Id="rId17" Type="http://schemas.openxmlformats.org/officeDocument/2006/relationships/slideLayout" Target="../slideLayouts/slideLayout482.xml"/><Relationship Id="rId25" Type="http://schemas.openxmlformats.org/officeDocument/2006/relationships/slideLayout" Target="../slideLayouts/slideLayout490.xml"/><Relationship Id="rId33" Type="http://schemas.openxmlformats.org/officeDocument/2006/relationships/slideLayout" Target="../slideLayouts/slideLayout498.xml"/><Relationship Id="rId38" Type="http://schemas.openxmlformats.org/officeDocument/2006/relationships/slideLayout" Target="../slideLayouts/slideLayout503.xml"/><Relationship Id="rId46" Type="http://schemas.openxmlformats.org/officeDocument/2006/relationships/slideLayout" Target="../slideLayouts/slideLayout511.xml"/><Relationship Id="rId59" Type="http://schemas.openxmlformats.org/officeDocument/2006/relationships/slideLayout" Target="../slideLayouts/slideLayout524.xml"/><Relationship Id="rId67" Type="http://schemas.openxmlformats.org/officeDocument/2006/relationships/slideLayout" Target="../slideLayouts/slideLayout532.xml"/><Relationship Id="rId20" Type="http://schemas.openxmlformats.org/officeDocument/2006/relationships/slideLayout" Target="../slideLayouts/slideLayout485.xml"/><Relationship Id="rId41" Type="http://schemas.openxmlformats.org/officeDocument/2006/relationships/slideLayout" Target="../slideLayouts/slideLayout506.xml"/><Relationship Id="rId54" Type="http://schemas.openxmlformats.org/officeDocument/2006/relationships/slideLayout" Target="../slideLayouts/slideLayout519.xml"/><Relationship Id="rId62" Type="http://schemas.openxmlformats.org/officeDocument/2006/relationships/slideLayout" Target="../slideLayouts/slideLayout527.xml"/><Relationship Id="rId70" Type="http://schemas.openxmlformats.org/officeDocument/2006/relationships/slideLayout" Target="../slideLayouts/slideLayout535.xml"/><Relationship Id="rId75" Type="http://schemas.openxmlformats.org/officeDocument/2006/relationships/oleObject" Target="../embeddings/oleObject2.bin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0.xml"/><Relationship Id="rId18" Type="http://schemas.openxmlformats.org/officeDocument/2006/relationships/slideLayout" Target="../slideLayouts/slideLayout555.xml"/><Relationship Id="rId26" Type="http://schemas.openxmlformats.org/officeDocument/2006/relationships/slideLayout" Target="../slideLayouts/slideLayout563.xml"/><Relationship Id="rId39" Type="http://schemas.openxmlformats.org/officeDocument/2006/relationships/slideLayout" Target="../slideLayouts/slideLayout576.xml"/><Relationship Id="rId21" Type="http://schemas.openxmlformats.org/officeDocument/2006/relationships/slideLayout" Target="../slideLayouts/slideLayout558.xml"/><Relationship Id="rId34" Type="http://schemas.openxmlformats.org/officeDocument/2006/relationships/slideLayout" Target="../slideLayouts/slideLayout571.xml"/><Relationship Id="rId42" Type="http://schemas.openxmlformats.org/officeDocument/2006/relationships/slideLayout" Target="../slideLayouts/slideLayout579.xml"/><Relationship Id="rId47" Type="http://schemas.openxmlformats.org/officeDocument/2006/relationships/slideLayout" Target="../slideLayouts/slideLayout584.xml"/><Relationship Id="rId50" Type="http://schemas.openxmlformats.org/officeDocument/2006/relationships/slideLayout" Target="../slideLayouts/slideLayout587.xml"/><Relationship Id="rId55" Type="http://schemas.openxmlformats.org/officeDocument/2006/relationships/slideLayout" Target="../slideLayouts/slideLayout592.xml"/><Relationship Id="rId63" Type="http://schemas.openxmlformats.org/officeDocument/2006/relationships/slideLayout" Target="../slideLayouts/slideLayout600.xml"/><Relationship Id="rId68" Type="http://schemas.openxmlformats.org/officeDocument/2006/relationships/slideLayout" Target="../slideLayouts/slideLayout605.xml"/><Relationship Id="rId7" Type="http://schemas.openxmlformats.org/officeDocument/2006/relationships/slideLayout" Target="../slideLayouts/slideLayout544.xml"/><Relationship Id="rId71" Type="http://schemas.openxmlformats.org/officeDocument/2006/relationships/theme" Target="../theme/theme7.xml"/><Relationship Id="rId2" Type="http://schemas.openxmlformats.org/officeDocument/2006/relationships/slideLayout" Target="../slideLayouts/slideLayout539.xml"/><Relationship Id="rId16" Type="http://schemas.openxmlformats.org/officeDocument/2006/relationships/slideLayout" Target="../slideLayouts/slideLayout553.xml"/><Relationship Id="rId29" Type="http://schemas.openxmlformats.org/officeDocument/2006/relationships/slideLayout" Target="../slideLayouts/slideLayout566.xml"/><Relationship Id="rId11" Type="http://schemas.openxmlformats.org/officeDocument/2006/relationships/slideLayout" Target="../slideLayouts/slideLayout548.xml"/><Relationship Id="rId24" Type="http://schemas.openxmlformats.org/officeDocument/2006/relationships/slideLayout" Target="../slideLayouts/slideLayout561.xml"/><Relationship Id="rId32" Type="http://schemas.openxmlformats.org/officeDocument/2006/relationships/slideLayout" Target="../slideLayouts/slideLayout569.xml"/><Relationship Id="rId37" Type="http://schemas.openxmlformats.org/officeDocument/2006/relationships/slideLayout" Target="../slideLayouts/slideLayout574.xml"/><Relationship Id="rId40" Type="http://schemas.openxmlformats.org/officeDocument/2006/relationships/slideLayout" Target="../slideLayouts/slideLayout577.xml"/><Relationship Id="rId45" Type="http://schemas.openxmlformats.org/officeDocument/2006/relationships/slideLayout" Target="../slideLayouts/slideLayout582.xml"/><Relationship Id="rId53" Type="http://schemas.openxmlformats.org/officeDocument/2006/relationships/slideLayout" Target="../slideLayouts/slideLayout590.xml"/><Relationship Id="rId58" Type="http://schemas.openxmlformats.org/officeDocument/2006/relationships/slideLayout" Target="../slideLayouts/slideLayout595.xml"/><Relationship Id="rId66" Type="http://schemas.openxmlformats.org/officeDocument/2006/relationships/slideLayout" Target="../slideLayouts/slideLayout603.xml"/><Relationship Id="rId74" Type="http://schemas.openxmlformats.org/officeDocument/2006/relationships/image" Target="../media/image53.emf"/><Relationship Id="rId5" Type="http://schemas.openxmlformats.org/officeDocument/2006/relationships/slideLayout" Target="../slideLayouts/slideLayout542.xml"/><Relationship Id="rId15" Type="http://schemas.openxmlformats.org/officeDocument/2006/relationships/slideLayout" Target="../slideLayouts/slideLayout552.xml"/><Relationship Id="rId23" Type="http://schemas.openxmlformats.org/officeDocument/2006/relationships/slideLayout" Target="../slideLayouts/slideLayout560.xml"/><Relationship Id="rId28" Type="http://schemas.openxmlformats.org/officeDocument/2006/relationships/slideLayout" Target="../slideLayouts/slideLayout565.xml"/><Relationship Id="rId36" Type="http://schemas.openxmlformats.org/officeDocument/2006/relationships/slideLayout" Target="../slideLayouts/slideLayout573.xml"/><Relationship Id="rId49" Type="http://schemas.openxmlformats.org/officeDocument/2006/relationships/slideLayout" Target="../slideLayouts/slideLayout586.xml"/><Relationship Id="rId57" Type="http://schemas.openxmlformats.org/officeDocument/2006/relationships/slideLayout" Target="../slideLayouts/slideLayout594.xml"/><Relationship Id="rId61" Type="http://schemas.openxmlformats.org/officeDocument/2006/relationships/slideLayout" Target="../slideLayouts/slideLayout598.xml"/><Relationship Id="rId10" Type="http://schemas.openxmlformats.org/officeDocument/2006/relationships/slideLayout" Target="../slideLayouts/slideLayout547.xml"/><Relationship Id="rId19" Type="http://schemas.openxmlformats.org/officeDocument/2006/relationships/slideLayout" Target="../slideLayouts/slideLayout556.xml"/><Relationship Id="rId31" Type="http://schemas.openxmlformats.org/officeDocument/2006/relationships/slideLayout" Target="../slideLayouts/slideLayout568.xml"/><Relationship Id="rId44" Type="http://schemas.openxmlformats.org/officeDocument/2006/relationships/slideLayout" Target="../slideLayouts/slideLayout581.xml"/><Relationship Id="rId52" Type="http://schemas.openxmlformats.org/officeDocument/2006/relationships/slideLayout" Target="../slideLayouts/slideLayout589.xml"/><Relationship Id="rId60" Type="http://schemas.openxmlformats.org/officeDocument/2006/relationships/slideLayout" Target="../slideLayouts/slideLayout597.xml"/><Relationship Id="rId65" Type="http://schemas.openxmlformats.org/officeDocument/2006/relationships/slideLayout" Target="../slideLayouts/slideLayout602.xml"/><Relationship Id="rId73" Type="http://schemas.openxmlformats.org/officeDocument/2006/relationships/oleObject" Target="../embeddings/oleObject3.bin"/><Relationship Id="rId4" Type="http://schemas.openxmlformats.org/officeDocument/2006/relationships/slideLayout" Target="../slideLayouts/slideLayout541.xml"/><Relationship Id="rId9" Type="http://schemas.openxmlformats.org/officeDocument/2006/relationships/slideLayout" Target="../slideLayouts/slideLayout546.xml"/><Relationship Id="rId14" Type="http://schemas.openxmlformats.org/officeDocument/2006/relationships/slideLayout" Target="../slideLayouts/slideLayout551.xml"/><Relationship Id="rId22" Type="http://schemas.openxmlformats.org/officeDocument/2006/relationships/slideLayout" Target="../slideLayouts/slideLayout559.xml"/><Relationship Id="rId27" Type="http://schemas.openxmlformats.org/officeDocument/2006/relationships/slideLayout" Target="../slideLayouts/slideLayout564.xml"/><Relationship Id="rId30" Type="http://schemas.openxmlformats.org/officeDocument/2006/relationships/slideLayout" Target="../slideLayouts/slideLayout567.xml"/><Relationship Id="rId35" Type="http://schemas.openxmlformats.org/officeDocument/2006/relationships/slideLayout" Target="../slideLayouts/slideLayout572.xml"/><Relationship Id="rId43" Type="http://schemas.openxmlformats.org/officeDocument/2006/relationships/slideLayout" Target="../slideLayouts/slideLayout580.xml"/><Relationship Id="rId48" Type="http://schemas.openxmlformats.org/officeDocument/2006/relationships/slideLayout" Target="../slideLayouts/slideLayout585.xml"/><Relationship Id="rId56" Type="http://schemas.openxmlformats.org/officeDocument/2006/relationships/slideLayout" Target="../slideLayouts/slideLayout593.xml"/><Relationship Id="rId64" Type="http://schemas.openxmlformats.org/officeDocument/2006/relationships/slideLayout" Target="../slideLayouts/slideLayout601.xml"/><Relationship Id="rId69" Type="http://schemas.openxmlformats.org/officeDocument/2006/relationships/slideLayout" Target="../slideLayouts/slideLayout606.xml"/><Relationship Id="rId8" Type="http://schemas.openxmlformats.org/officeDocument/2006/relationships/slideLayout" Target="../slideLayouts/slideLayout545.xml"/><Relationship Id="rId51" Type="http://schemas.openxmlformats.org/officeDocument/2006/relationships/slideLayout" Target="../slideLayouts/slideLayout588.xml"/><Relationship Id="rId72" Type="http://schemas.openxmlformats.org/officeDocument/2006/relationships/tags" Target="../tags/tag4.xml"/><Relationship Id="rId3" Type="http://schemas.openxmlformats.org/officeDocument/2006/relationships/slideLayout" Target="../slideLayouts/slideLayout540.xml"/><Relationship Id="rId12" Type="http://schemas.openxmlformats.org/officeDocument/2006/relationships/slideLayout" Target="../slideLayouts/slideLayout549.xml"/><Relationship Id="rId17" Type="http://schemas.openxmlformats.org/officeDocument/2006/relationships/slideLayout" Target="../slideLayouts/slideLayout554.xml"/><Relationship Id="rId25" Type="http://schemas.openxmlformats.org/officeDocument/2006/relationships/slideLayout" Target="../slideLayouts/slideLayout562.xml"/><Relationship Id="rId33" Type="http://schemas.openxmlformats.org/officeDocument/2006/relationships/slideLayout" Target="../slideLayouts/slideLayout570.xml"/><Relationship Id="rId38" Type="http://schemas.openxmlformats.org/officeDocument/2006/relationships/slideLayout" Target="../slideLayouts/slideLayout575.xml"/><Relationship Id="rId46" Type="http://schemas.openxmlformats.org/officeDocument/2006/relationships/slideLayout" Target="../slideLayouts/slideLayout583.xml"/><Relationship Id="rId59" Type="http://schemas.openxmlformats.org/officeDocument/2006/relationships/slideLayout" Target="../slideLayouts/slideLayout596.xml"/><Relationship Id="rId67" Type="http://schemas.openxmlformats.org/officeDocument/2006/relationships/slideLayout" Target="../slideLayouts/slideLayout604.xml"/><Relationship Id="rId20" Type="http://schemas.openxmlformats.org/officeDocument/2006/relationships/slideLayout" Target="../slideLayouts/slideLayout557.xml"/><Relationship Id="rId41" Type="http://schemas.openxmlformats.org/officeDocument/2006/relationships/slideLayout" Target="../slideLayouts/slideLayout578.xml"/><Relationship Id="rId54" Type="http://schemas.openxmlformats.org/officeDocument/2006/relationships/slideLayout" Target="../slideLayouts/slideLayout591.xml"/><Relationship Id="rId62" Type="http://schemas.openxmlformats.org/officeDocument/2006/relationships/slideLayout" Target="../slideLayouts/slideLayout599.xml"/><Relationship Id="rId70" Type="http://schemas.openxmlformats.org/officeDocument/2006/relationships/slideLayout" Target="../slideLayouts/slideLayout607.xml"/><Relationship Id="rId1" Type="http://schemas.openxmlformats.org/officeDocument/2006/relationships/slideLayout" Target="../slideLayouts/slideLayout538.xml"/><Relationship Id="rId6" Type="http://schemas.openxmlformats.org/officeDocument/2006/relationships/slideLayout" Target="../slideLayouts/slideLayout54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0.xml"/><Relationship Id="rId18" Type="http://schemas.openxmlformats.org/officeDocument/2006/relationships/slideLayout" Target="../slideLayouts/slideLayout625.xml"/><Relationship Id="rId26" Type="http://schemas.openxmlformats.org/officeDocument/2006/relationships/slideLayout" Target="../slideLayouts/slideLayout633.xml"/><Relationship Id="rId39" Type="http://schemas.openxmlformats.org/officeDocument/2006/relationships/slideLayout" Target="../slideLayouts/slideLayout646.xml"/><Relationship Id="rId21" Type="http://schemas.openxmlformats.org/officeDocument/2006/relationships/slideLayout" Target="../slideLayouts/slideLayout628.xml"/><Relationship Id="rId34" Type="http://schemas.openxmlformats.org/officeDocument/2006/relationships/slideLayout" Target="../slideLayouts/slideLayout641.xml"/><Relationship Id="rId42" Type="http://schemas.openxmlformats.org/officeDocument/2006/relationships/slideLayout" Target="../slideLayouts/slideLayout649.xml"/><Relationship Id="rId47" Type="http://schemas.openxmlformats.org/officeDocument/2006/relationships/slideLayout" Target="../slideLayouts/slideLayout654.xml"/><Relationship Id="rId50" Type="http://schemas.openxmlformats.org/officeDocument/2006/relationships/slideLayout" Target="../slideLayouts/slideLayout657.xml"/><Relationship Id="rId55" Type="http://schemas.openxmlformats.org/officeDocument/2006/relationships/slideLayout" Target="../slideLayouts/slideLayout662.xml"/><Relationship Id="rId63" Type="http://schemas.openxmlformats.org/officeDocument/2006/relationships/slideLayout" Target="../slideLayouts/slideLayout670.xml"/><Relationship Id="rId68" Type="http://schemas.openxmlformats.org/officeDocument/2006/relationships/slideLayout" Target="../slideLayouts/slideLayout675.xml"/><Relationship Id="rId76" Type="http://schemas.openxmlformats.org/officeDocument/2006/relationships/slideLayout" Target="../slideLayouts/slideLayout683.xml"/><Relationship Id="rId84" Type="http://schemas.openxmlformats.org/officeDocument/2006/relationships/oleObject" Target="../embeddings/oleObject4.bin"/><Relationship Id="rId7" Type="http://schemas.openxmlformats.org/officeDocument/2006/relationships/slideLayout" Target="../slideLayouts/slideLayout614.xml"/><Relationship Id="rId71" Type="http://schemas.openxmlformats.org/officeDocument/2006/relationships/slideLayout" Target="../slideLayouts/slideLayout678.xml"/><Relationship Id="rId2" Type="http://schemas.openxmlformats.org/officeDocument/2006/relationships/slideLayout" Target="../slideLayouts/slideLayout609.xml"/><Relationship Id="rId16" Type="http://schemas.openxmlformats.org/officeDocument/2006/relationships/slideLayout" Target="../slideLayouts/slideLayout623.xml"/><Relationship Id="rId29" Type="http://schemas.openxmlformats.org/officeDocument/2006/relationships/slideLayout" Target="../slideLayouts/slideLayout636.xml"/><Relationship Id="rId11" Type="http://schemas.openxmlformats.org/officeDocument/2006/relationships/slideLayout" Target="../slideLayouts/slideLayout618.xml"/><Relationship Id="rId24" Type="http://schemas.openxmlformats.org/officeDocument/2006/relationships/slideLayout" Target="../slideLayouts/slideLayout631.xml"/><Relationship Id="rId32" Type="http://schemas.openxmlformats.org/officeDocument/2006/relationships/slideLayout" Target="../slideLayouts/slideLayout639.xml"/><Relationship Id="rId37" Type="http://schemas.openxmlformats.org/officeDocument/2006/relationships/slideLayout" Target="../slideLayouts/slideLayout644.xml"/><Relationship Id="rId40" Type="http://schemas.openxmlformats.org/officeDocument/2006/relationships/slideLayout" Target="../slideLayouts/slideLayout647.xml"/><Relationship Id="rId45" Type="http://schemas.openxmlformats.org/officeDocument/2006/relationships/slideLayout" Target="../slideLayouts/slideLayout652.xml"/><Relationship Id="rId53" Type="http://schemas.openxmlformats.org/officeDocument/2006/relationships/slideLayout" Target="../slideLayouts/slideLayout660.xml"/><Relationship Id="rId58" Type="http://schemas.openxmlformats.org/officeDocument/2006/relationships/slideLayout" Target="../slideLayouts/slideLayout665.xml"/><Relationship Id="rId66" Type="http://schemas.openxmlformats.org/officeDocument/2006/relationships/slideLayout" Target="../slideLayouts/slideLayout673.xml"/><Relationship Id="rId74" Type="http://schemas.openxmlformats.org/officeDocument/2006/relationships/slideLayout" Target="../slideLayouts/slideLayout681.xml"/><Relationship Id="rId79" Type="http://schemas.openxmlformats.org/officeDocument/2006/relationships/slideLayout" Target="../slideLayouts/slideLayout686.xml"/><Relationship Id="rId5" Type="http://schemas.openxmlformats.org/officeDocument/2006/relationships/slideLayout" Target="../slideLayouts/slideLayout612.xml"/><Relationship Id="rId61" Type="http://schemas.openxmlformats.org/officeDocument/2006/relationships/slideLayout" Target="../slideLayouts/slideLayout668.xml"/><Relationship Id="rId82" Type="http://schemas.openxmlformats.org/officeDocument/2006/relationships/theme" Target="../theme/theme8.xml"/><Relationship Id="rId19" Type="http://schemas.openxmlformats.org/officeDocument/2006/relationships/slideLayout" Target="../slideLayouts/slideLayout626.xml"/><Relationship Id="rId4" Type="http://schemas.openxmlformats.org/officeDocument/2006/relationships/slideLayout" Target="../slideLayouts/slideLayout611.xml"/><Relationship Id="rId9" Type="http://schemas.openxmlformats.org/officeDocument/2006/relationships/slideLayout" Target="../slideLayouts/slideLayout616.xml"/><Relationship Id="rId14" Type="http://schemas.openxmlformats.org/officeDocument/2006/relationships/slideLayout" Target="../slideLayouts/slideLayout621.xml"/><Relationship Id="rId22" Type="http://schemas.openxmlformats.org/officeDocument/2006/relationships/slideLayout" Target="../slideLayouts/slideLayout629.xml"/><Relationship Id="rId27" Type="http://schemas.openxmlformats.org/officeDocument/2006/relationships/slideLayout" Target="../slideLayouts/slideLayout634.xml"/><Relationship Id="rId30" Type="http://schemas.openxmlformats.org/officeDocument/2006/relationships/slideLayout" Target="../slideLayouts/slideLayout637.xml"/><Relationship Id="rId35" Type="http://schemas.openxmlformats.org/officeDocument/2006/relationships/slideLayout" Target="../slideLayouts/slideLayout642.xml"/><Relationship Id="rId43" Type="http://schemas.openxmlformats.org/officeDocument/2006/relationships/slideLayout" Target="../slideLayouts/slideLayout650.xml"/><Relationship Id="rId48" Type="http://schemas.openxmlformats.org/officeDocument/2006/relationships/slideLayout" Target="../slideLayouts/slideLayout655.xml"/><Relationship Id="rId56" Type="http://schemas.openxmlformats.org/officeDocument/2006/relationships/slideLayout" Target="../slideLayouts/slideLayout663.xml"/><Relationship Id="rId64" Type="http://schemas.openxmlformats.org/officeDocument/2006/relationships/slideLayout" Target="../slideLayouts/slideLayout671.xml"/><Relationship Id="rId69" Type="http://schemas.openxmlformats.org/officeDocument/2006/relationships/slideLayout" Target="../slideLayouts/slideLayout676.xml"/><Relationship Id="rId77" Type="http://schemas.openxmlformats.org/officeDocument/2006/relationships/slideLayout" Target="../slideLayouts/slideLayout684.xml"/><Relationship Id="rId8" Type="http://schemas.openxmlformats.org/officeDocument/2006/relationships/slideLayout" Target="../slideLayouts/slideLayout615.xml"/><Relationship Id="rId51" Type="http://schemas.openxmlformats.org/officeDocument/2006/relationships/slideLayout" Target="../slideLayouts/slideLayout658.xml"/><Relationship Id="rId72" Type="http://schemas.openxmlformats.org/officeDocument/2006/relationships/slideLayout" Target="../slideLayouts/slideLayout679.xml"/><Relationship Id="rId80" Type="http://schemas.openxmlformats.org/officeDocument/2006/relationships/slideLayout" Target="../slideLayouts/slideLayout687.xml"/><Relationship Id="rId85" Type="http://schemas.openxmlformats.org/officeDocument/2006/relationships/image" Target="../media/image63.emf"/><Relationship Id="rId3" Type="http://schemas.openxmlformats.org/officeDocument/2006/relationships/slideLayout" Target="../slideLayouts/slideLayout610.xml"/><Relationship Id="rId12" Type="http://schemas.openxmlformats.org/officeDocument/2006/relationships/slideLayout" Target="../slideLayouts/slideLayout619.xml"/><Relationship Id="rId17" Type="http://schemas.openxmlformats.org/officeDocument/2006/relationships/slideLayout" Target="../slideLayouts/slideLayout624.xml"/><Relationship Id="rId25" Type="http://schemas.openxmlformats.org/officeDocument/2006/relationships/slideLayout" Target="../slideLayouts/slideLayout632.xml"/><Relationship Id="rId33" Type="http://schemas.openxmlformats.org/officeDocument/2006/relationships/slideLayout" Target="../slideLayouts/slideLayout640.xml"/><Relationship Id="rId38" Type="http://schemas.openxmlformats.org/officeDocument/2006/relationships/slideLayout" Target="../slideLayouts/slideLayout645.xml"/><Relationship Id="rId46" Type="http://schemas.openxmlformats.org/officeDocument/2006/relationships/slideLayout" Target="../slideLayouts/slideLayout653.xml"/><Relationship Id="rId59" Type="http://schemas.openxmlformats.org/officeDocument/2006/relationships/slideLayout" Target="../slideLayouts/slideLayout666.xml"/><Relationship Id="rId67" Type="http://schemas.openxmlformats.org/officeDocument/2006/relationships/slideLayout" Target="../slideLayouts/slideLayout674.xml"/><Relationship Id="rId20" Type="http://schemas.openxmlformats.org/officeDocument/2006/relationships/slideLayout" Target="../slideLayouts/slideLayout627.xml"/><Relationship Id="rId41" Type="http://schemas.openxmlformats.org/officeDocument/2006/relationships/slideLayout" Target="../slideLayouts/slideLayout648.xml"/><Relationship Id="rId54" Type="http://schemas.openxmlformats.org/officeDocument/2006/relationships/slideLayout" Target="../slideLayouts/slideLayout661.xml"/><Relationship Id="rId62" Type="http://schemas.openxmlformats.org/officeDocument/2006/relationships/slideLayout" Target="../slideLayouts/slideLayout669.xml"/><Relationship Id="rId70" Type="http://schemas.openxmlformats.org/officeDocument/2006/relationships/slideLayout" Target="../slideLayouts/slideLayout677.xml"/><Relationship Id="rId75" Type="http://schemas.openxmlformats.org/officeDocument/2006/relationships/slideLayout" Target="../slideLayouts/slideLayout682.xml"/><Relationship Id="rId83" Type="http://schemas.openxmlformats.org/officeDocument/2006/relationships/tags" Target="../tags/tag5.xml"/><Relationship Id="rId1" Type="http://schemas.openxmlformats.org/officeDocument/2006/relationships/slideLayout" Target="../slideLayouts/slideLayout608.xml"/><Relationship Id="rId6" Type="http://schemas.openxmlformats.org/officeDocument/2006/relationships/slideLayout" Target="../slideLayouts/slideLayout613.xml"/><Relationship Id="rId15" Type="http://schemas.openxmlformats.org/officeDocument/2006/relationships/slideLayout" Target="../slideLayouts/slideLayout622.xml"/><Relationship Id="rId23" Type="http://schemas.openxmlformats.org/officeDocument/2006/relationships/slideLayout" Target="../slideLayouts/slideLayout630.xml"/><Relationship Id="rId28" Type="http://schemas.openxmlformats.org/officeDocument/2006/relationships/slideLayout" Target="../slideLayouts/slideLayout635.xml"/><Relationship Id="rId36" Type="http://schemas.openxmlformats.org/officeDocument/2006/relationships/slideLayout" Target="../slideLayouts/slideLayout643.xml"/><Relationship Id="rId49" Type="http://schemas.openxmlformats.org/officeDocument/2006/relationships/slideLayout" Target="../slideLayouts/slideLayout656.xml"/><Relationship Id="rId57" Type="http://schemas.openxmlformats.org/officeDocument/2006/relationships/slideLayout" Target="../slideLayouts/slideLayout664.xml"/><Relationship Id="rId10" Type="http://schemas.openxmlformats.org/officeDocument/2006/relationships/slideLayout" Target="../slideLayouts/slideLayout617.xml"/><Relationship Id="rId31" Type="http://schemas.openxmlformats.org/officeDocument/2006/relationships/slideLayout" Target="../slideLayouts/slideLayout638.xml"/><Relationship Id="rId44" Type="http://schemas.openxmlformats.org/officeDocument/2006/relationships/slideLayout" Target="../slideLayouts/slideLayout651.xml"/><Relationship Id="rId52" Type="http://schemas.openxmlformats.org/officeDocument/2006/relationships/slideLayout" Target="../slideLayouts/slideLayout659.xml"/><Relationship Id="rId60" Type="http://schemas.openxmlformats.org/officeDocument/2006/relationships/slideLayout" Target="../slideLayouts/slideLayout667.xml"/><Relationship Id="rId65" Type="http://schemas.openxmlformats.org/officeDocument/2006/relationships/slideLayout" Target="../slideLayouts/slideLayout672.xml"/><Relationship Id="rId73" Type="http://schemas.openxmlformats.org/officeDocument/2006/relationships/slideLayout" Target="../slideLayouts/slideLayout680.xml"/><Relationship Id="rId78" Type="http://schemas.openxmlformats.org/officeDocument/2006/relationships/slideLayout" Target="../slideLayouts/slideLayout685.xml"/><Relationship Id="rId81" Type="http://schemas.openxmlformats.org/officeDocument/2006/relationships/slideLayout" Target="../slideLayouts/slideLayout6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6.xml"/><Relationship Id="rId13" Type="http://schemas.openxmlformats.org/officeDocument/2006/relationships/slideLayout" Target="../slideLayouts/slideLayout701.xml"/><Relationship Id="rId18" Type="http://schemas.openxmlformats.org/officeDocument/2006/relationships/slideLayout" Target="../slideLayouts/slideLayout706.xml"/><Relationship Id="rId26" Type="http://schemas.openxmlformats.org/officeDocument/2006/relationships/slideLayout" Target="../slideLayouts/slideLayout714.xml"/><Relationship Id="rId3" Type="http://schemas.openxmlformats.org/officeDocument/2006/relationships/slideLayout" Target="../slideLayouts/slideLayout691.xml"/><Relationship Id="rId21" Type="http://schemas.openxmlformats.org/officeDocument/2006/relationships/slideLayout" Target="../slideLayouts/slideLayout709.xml"/><Relationship Id="rId7" Type="http://schemas.openxmlformats.org/officeDocument/2006/relationships/slideLayout" Target="../slideLayouts/slideLayout695.xml"/><Relationship Id="rId12" Type="http://schemas.openxmlformats.org/officeDocument/2006/relationships/slideLayout" Target="../slideLayouts/slideLayout700.xml"/><Relationship Id="rId17" Type="http://schemas.openxmlformats.org/officeDocument/2006/relationships/slideLayout" Target="../slideLayouts/slideLayout705.xml"/><Relationship Id="rId25" Type="http://schemas.openxmlformats.org/officeDocument/2006/relationships/slideLayout" Target="../slideLayouts/slideLayout713.xml"/><Relationship Id="rId33" Type="http://schemas.openxmlformats.org/officeDocument/2006/relationships/theme" Target="../theme/theme9.xml"/><Relationship Id="rId2" Type="http://schemas.openxmlformats.org/officeDocument/2006/relationships/slideLayout" Target="../slideLayouts/slideLayout690.xml"/><Relationship Id="rId16" Type="http://schemas.openxmlformats.org/officeDocument/2006/relationships/slideLayout" Target="../slideLayouts/slideLayout704.xml"/><Relationship Id="rId20" Type="http://schemas.openxmlformats.org/officeDocument/2006/relationships/slideLayout" Target="../slideLayouts/slideLayout708.xml"/><Relationship Id="rId29" Type="http://schemas.openxmlformats.org/officeDocument/2006/relationships/slideLayout" Target="../slideLayouts/slideLayout717.xml"/><Relationship Id="rId1" Type="http://schemas.openxmlformats.org/officeDocument/2006/relationships/slideLayout" Target="../slideLayouts/slideLayout689.xml"/><Relationship Id="rId6" Type="http://schemas.openxmlformats.org/officeDocument/2006/relationships/slideLayout" Target="../slideLayouts/slideLayout694.xml"/><Relationship Id="rId11" Type="http://schemas.openxmlformats.org/officeDocument/2006/relationships/slideLayout" Target="../slideLayouts/slideLayout699.xml"/><Relationship Id="rId24" Type="http://schemas.openxmlformats.org/officeDocument/2006/relationships/slideLayout" Target="../slideLayouts/slideLayout712.xml"/><Relationship Id="rId32" Type="http://schemas.openxmlformats.org/officeDocument/2006/relationships/slideLayout" Target="../slideLayouts/slideLayout720.xml"/><Relationship Id="rId5" Type="http://schemas.openxmlformats.org/officeDocument/2006/relationships/slideLayout" Target="../slideLayouts/slideLayout693.xml"/><Relationship Id="rId15" Type="http://schemas.openxmlformats.org/officeDocument/2006/relationships/slideLayout" Target="../slideLayouts/slideLayout703.xml"/><Relationship Id="rId23" Type="http://schemas.openxmlformats.org/officeDocument/2006/relationships/slideLayout" Target="../slideLayouts/slideLayout711.xml"/><Relationship Id="rId28" Type="http://schemas.openxmlformats.org/officeDocument/2006/relationships/slideLayout" Target="../slideLayouts/slideLayout716.xml"/><Relationship Id="rId10" Type="http://schemas.openxmlformats.org/officeDocument/2006/relationships/slideLayout" Target="../slideLayouts/slideLayout698.xml"/><Relationship Id="rId19" Type="http://schemas.openxmlformats.org/officeDocument/2006/relationships/slideLayout" Target="../slideLayouts/slideLayout707.xml"/><Relationship Id="rId31" Type="http://schemas.openxmlformats.org/officeDocument/2006/relationships/slideLayout" Target="../slideLayouts/slideLayout719.xml"/><Relationship Id="rId4" Type="http://schemas.openxmlformats.org/officeDocument/2006/relationships/slideLayout" Target="../slideLayouts/slideLayout692.xml"/><Relationship Id="rId9" Type="http://schemas.openxmlformats.org/officeDocument/2006/relationships/slideLayout" Target="../slideLayouts/slideLayout697.xml"/><Relationship Id="rId14" Type="http://schemas.openxmlformats.org/officeDocument/2006/relationships/slideLayout" Target="../slideLayouts/slideLayout702.xml"/><Relationship Id="rId22" Type="http://schemas.openxmlformats.org/officeDocument/2006/relationships/slideLayout" Target="../slideLayouts/slideLayout710.xml"/><Relationship Id="rId27" Type="http://schemas.openxmlformats.org/officeDocument/2006/relationships/slideLayout" Target="../slideLayouts/slideLayout715.xml"/><Relationship Id="rId30" Type="http://schemas.openxmlformats.org/officeDocument/2006/relationships/slideLayout" Target="../slideLayouts/slideLayout7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Všechna</a:t>
            </a:r>
            <a:r>
              <a:rPr lang="en-US" dirty="0"/>
              <a:t> </a:t>
            </a:r>
            <a:r>
              <a:rPr lang="en-US" dirty="0" err="1"/>
              <a:t>práva</a:t>
            </a:r>
            <a:r>
              <a:rPr lang="en-US" dirty="0"/>
              <a:t> </a:t>
            </a:r>
            <a:r>
              <a:rPr lang="en-US" dirty="0" err="1"/>
              <a:t>vyhrazena</a:t>
            </a:r>
            <a:r>
              <a:rPr lang="en-US" dirty="0"/>
              <a:t> | © Siemens 2025 | Smart Infrastructure | Buildings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  <p:sldLayoutId id="2147484388" r:id="rId55"/>
    <p:sldLayoutId id="2147484389" r:id="rId56"/>
    <p:sldLayoutId id="2147484390" r:id="rId57"/>
    <p:sldLayoutId id="2147484391" r:id="rId58"/>
    <p:sldLayoutId id="2147484392" r:id="rId59"/>
    <p:sldLayoutId id="2147484393" r:id="rId60"/>
    <p:sldLayoutId id="2147484394" r:id="rId61"/>
    <p:sldLayoutId id="2147484395" r:id="rId62"/>
    <p:sldLayoutId id="2147484396" r:id="rId63"/>
    <p:sldLayoutId id="2147484397" r:id="rId64"/>
    <p:sldLayoutId id="2147484398" r:id="rId65"/>
    <p:sldLayoutId id="2147484399" r:id="rId66"/>
    <p:sldLayoutId id="2147484400" r:id="rId67"/>
    <p:sldLayoutId id="2147484401" r:id="rId68"/>
    <p:sldLayoutId id="2147484402" r:id="rId69"/>
    <p:sldLayoutId id="2147484403" r:id="rId70"/>
    <p:sldLayoutId id="2147484404" r:id="rId71"/>
    <p:sldLayoutId id="2147484405" r:id="rId72"/>
    <p:sldLayoutId id="2147484406" r:id="rId73"/>
    <p:sldLayoutId id="2147484407" r:id="rId74"/>
    <p:sldLayoutId id="2147484408" r:id="rId75"/>
    <p:sldLayoutId id="2147484409" r:id="rId76"/>
    <p:sldLayoutId id="2147484410" r:id="rId77"/>
    <p:sldLayoutId id="2147484411" r:id="rId78"/>
    <p:sldLayoutId id="2147484412" r:id="rId79"/>
    <p:sldLayoutId id="2147484413" r:id="rId80"/>
    <p:sldLayoutId id="2147484414" r:id="rId81"/>
    <p:sldLayoutId id="2147484415" r:id="rId82"/>
    <p:sldLayoutId id="2147484416" r:id="rId83"/>
    <p:sldLayoutId id="2147484417" r:id="rId84"/>
    <p:sldLayoutId id="2147484418" r:id="rId85"/>
    <p:sldLayoutId id="2147484419" r:id="rId86"/>
    <p:sldLayoutId id="2147484420" r:id="rId87"/>
    <p:sldLayoutId id="2147484422" r:id="rId88"/>
    <p:sldLayoutId id="2147484423" r:id="rId89"/>
    <p:sldLayoutId id="2147484424" r:id="rId90"/>
    <p:sldLayoutId id="2147484425" r:id="rId91"/>
    <p:sldLayoutId id="2147484426" r:id="rId92"/>
    <p:sldLayoutId id="2147484427" r:id="rId93"/>
    <p:sldLayoutId id="2147484428" r:id="rId94"/>
    <p:sldLayoutId id="2147484429" r:id="rId95"/>
    <p:sldLayoutId id="2147484430" r:id="rId96"/>
    <p:sldLayoutId id="2147484431" r:id="rId97"/>
    <p:sldLayoutId id="2147484432" r:id="rId98"/>
    <p:sldLayoutId id="2147484433" r:id="rId99"/>
    <p:sldLayoutId id="2147484435" r:id="rId100"/>
    <p:sldLayoutId id="2147484436" r:id="rId101"/>
    <p:sldLayoutId id="2147484437" r:id="rId102"/>
    <p:sldLayoutId id="2147484438" r:id="rId103"/>
    <p:sldLayoutId id="2147484439" r:id="rId104"/>
    <p:sldLayoutId id="2147484440" r:id="rId105"/>
    <p:sldLayoutId id="2147484441" r:id="rId10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ABC6F-483B-7D10-8F82-2FF982DB3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373927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408" imgH="408" progId="TCLayout.ActiveDocument.1">
                  <p:embed/>
                </p:oleObj>
              </mc:Choice>
              <mc:Fallback>
                <p:oleObj name="think-cell Slide" r:id="rId7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BC6F-483B-7D10-8F82-2FF982DB3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155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24" r:id="rId1"/>
    <p:sldLayoutId id="2147486725" r:id="rId2"/>
    <p:sldLayoutId id="2147486726" r:id="rId3"/>
    <p:sldLayoutId id="2147486727" r:id="rId4"/>
    <p:sldLayoutId id="2147486728" r:id="rId5"/>
    <p:sldLayoutId id="2147486729" r:id="rId6"/>
    <p:sldLayoutId id="2147486730" r:id="rId7"/>
    <p:sldLayoutId id="2147486731" r:id="rId8"/>
    <p:sldLayoutId id="2147486732" r:id="rId9"/>
    <p:sldLayoutId id="2147486733" r:id="rId10"/>
    <p:sldLayoutId id="2147486734" r:id="rId11"/>
    <p:sldLayoutId id="2147486735" r:id="rId12"/>
    <p:sldLayoutId id="2147486736" r:id="rId13"/>
    <p:sldLayoutId id="2147486737" r:id="rId14"/>
    <p:sldLayoutId id="2147486738" r:id="rId15"/>
    <p:sldLayoutId id="2147486739" r:id="rId16"/>
    <p:sldLayoutId id="2147486740" r:id="rId17"/>
    <p:sldLayoutId id="2147486741" r:id="rId18"/>
    <p:sldLayoutId id="2147486742" r:id="rId19"/>
    <p:sldLayoutId id="2147486743" r:id="rId20"/>
    <p:sldLayoutId id="2147486744" r:id="rId21"/>
    <p:sldLayoutId id="2147486745" r:id="rId22"/>
    <p:sldLayoutId id="2147486746" r:id="rId23"/>
    <p:sldLayoutId id="2147486747" r:id="rId24"/>
    <p:sldLayoutId id="2147486748" r:id="rId25"/>
    <p:sldLayoutId id="2147486749" r:id="rId26"/>
    <p:sldLayoutId id="2147486750" r:id="rId27"/>
    <p:sldLayoutId id="2147486751" r:id="rId28"/>
    <p:sldLayoutId id="2147486752" r:id="rId29"/>
    <p:sldLayoutId id="2147486753" r:id="rId30"/>
    <p:sldLayoutId id="2147486754" r:id="rId31"/>
    <p:sldLayoutId id="2147486755" r:id="rId32"/>
    <p:sldLayoutId id="2147486756" r:id="rId33"/>
    <p:sldLayoutId id="2147486757" r:id="rId34"/>
    <p:sldLayoutId id="2147486758" r:id="rId35"/>
    <p:sldLayoutId id="2147486759" r:id="rId36"/>
    <p:sldLayoutId id="2147486760" r:id="rId37"/>
    <p:sldLayoutId id="2147486761" r:id="rId38"/>
    <p:sldLayoutId id="2147486762" r:id="rId39"/>
    <p:sldLayoutId id="2147486763" r:id="rId40"/>
    <p:sldLayoutId id="2147486764" r:id="rId41"/>
    <p:sldLayoutId id="2147486765" r:id="rId42"/>
    <p:sldLayoutId id="2147486766" r:id="rId43"/>
    <p:sldLayoutId id="2147486767" r:id="rId44"/>
    <p:sldLayoutId id="2147486768" r:id="rId45"/>
    <p:sldLayoutId id="2147486769" r:id="rId46"/>
    <p:sldLayoutId id="2147486770" r:id="rId47"/>
    <p:sldLayoutId id="2147486771" r:id="rId48"/>
    <p:sldLayoutId id="2147486772" r:id="rId49"/>
    <p:sldLayoutId id="2147486773" r:id="rId50"/>
    <p:sldLayoutId id="2147486774" r:id="rId51"/>
    <p:sldLayoutId id="2147486775" r:id="rId52"/>
    <p:sldLayoutId id="2147486776" r:id="rId53"/>
    <p:sldLayoutId id="2147486777" r:id="rId54"/>
    <p:sldLayoutId id="2147486778" r:id="rId55"/>
    <p:sldLayoutId id="2147486779" r:id="rId56"/>
    <p:sldLayoutId id="2147486780" r:id="rId57"/>
    <p:sldLayoutId id="2147486781" r:id="rId58"/>
    <p:sldLayoutId id="2147486782" r:id="rId59"/>
    <p:sldLayoutId id="2147486783" r:id="rId60"/>
    <p:sldLayoutId id="2147486784" r:id="rId61"/>
    <p:sldLayoutId id="2147486785" r:id="rId62"/>
    <p:sldLayoutId id="2147486786" r:id="rId63"/>
    <p:sldLayoutId id="2147486787" r:id="rId64"/>
    <p:sldLayoutId id="2147486788" r:id="rId65"/>
    <p:sldLayoutId id="2147486789" r:id="rId66"/>
    <p:sldLayoutId id="2147486790" r:id="rId67"/>
    <p:sldLayoutId id="2147486791" r:id="rId68"/>
    <p:sldLayoutId id="2147486792" r:id="rId69"/>
    <p:sldLayoutId id="2147486793" r:id="rId70"/>
    <p:sldLayoutId id="2147486794" r:id="rId7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Building X | Sales Enablement Deck​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B14F0504-0D23-4A34-489A-A3377E12E7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102375391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415" imgH="416" progId="TCLayout.ActiveDocument.1">
                  <p:embed/>
                </p:oleObj>
              </mc:Choice>
              <mc:Fallback>
                <p:oleObj name="think-cell Slide" r:id="rId75" imgW="415" imgH="416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B14F0504-0D23-4A34-489A-A3377E12E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8E8DCB95-80DB-6460-CCEF-83B50F7AE5C7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/>
            <a:endParaRPr kumimoji="0" lang="en-US" sz="1999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70118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96" r:id="rId1"/>
    <p:sldLayoutId id="2147486797" r:id="rId2"/>
    <p:sldLayoutId id="2147486798" r:id="rId3"/>
    <p:sldLayoutId id="2147486799" r:id="rId4"/>
    <p:sldLayoutId id="2147486800" r:id="rId5"/>
    <p:sldLayoutId id="2147486801" r:id="rId6"/>
    <p:sldLayoutId id="2147486802" r:id="rId7"/>
    <p:sldLayoutId id="2147486803" r:id="rId8"/>
    <p:sldLayoutId id="2147486804" r:id="rId9"/>
    <p:sldLayoutId id="2147486805" r:id="rId10"/>
    <p:sldLayoutId id="2147486806" r:id="rId11"/>
    <p:sldLayoutId id="2147486807" r:id="rId12"/>
    <p:sldLayoutId id="2147486808" r:id="rId13"/>
    <p:sldLayoutId id="2147486809" r:id="rId14"/>
    <p:sldLayoutId id="2147486810" r:id="rId15"/>
    <p:sldLayoutId id="2147486811" r:id="rId16"/>
    <p:sldLayoutId id="2147486812" r:id="rId17"/>
    <p:sldLayoutId id="2147486813" r:id="rId18"/>
    <p:sldLayoutId id="2147486814" r:id="rId19"/>
    <p:sldLayoutId id="2147486815" r:id="rId20"/>
    <p:sldLayoutId id="2147486816" r:id="rId21"/>
    <p:sldLayoutId id="2147486817" r:id="rId22"/>
    <p:sldLayoutId id="2147486818" r:id="rId23"/>
    <p:sldLayoutId id="2147486819" r:id="rId24"/>
    <p:sldLayoutId id="2147486820" r:id="rId25"/>
    <p:sldLayoutId id="2147486821" r:id="rId26"/>
    <p:sldLayoutId id="2147486822" r:id="rId27"/>
    <p:sldLayoutId id="2147486823" r:id="rId28"/>
    <p:sldLayoutId id="2147486824" r:id="rId29"/>
    <p:sldLayoutId id="2147486825" r:id="rId30"/>
    <p:sldLayoutId id="2147486826" r:id="rId31"/>
    <p:sldLayoutId id="2147486827" r:id="rId32"/>
    <p:sldLayoutId id="2147486828" r:id="rId33"/>
    <p:sldLayoutId id="2147486829" r:id="rId34"/>
    <p:sldLayoutId id="2147486830" r:id="rId35"/>
    <p:sldLayoutId id="2147486831" r:id="rId36"/>
    <p:sldLayoutId id="2147486832" r:id="rId37"/>
    <p:sldLayoutId id="2147486833" r:id="rId38"/>
    <p:sldLayoutId id="2147486834" r:id="rId39"/>
    <p:sldLayoutId id="2147486835" r:id="rId40"/>
    <p:sldLayoutId id="2147486836" r:id="rId41"/>
    <p:sldLayoutId id="2147486837" r:id="rId42"/>
    <p:sldLayoutId id="2147486838" r:id="rId43"/>
    <p:sldLayoutId id="2147486839" r:id="rId44"/>
    <p:sldLayoutId id="2147486840" r:id="rId45"/>
    <p:sldLayoutId id="2147486841" r:id="rId46"/>
    <p:sldLayoutId id="2147486842" r:id="rId47"/>
    <p:sldLayoutId id="2147486843" r:id="rId48"/>
    <p:sldLayoutId id="2147486844" r:id="rId49"/>
    <p:sldLayoutId id="2147486845" r:id="rId50"/>
    <p:sldLayoutId id="2147486846" r:id="rId51"/>
    <p:sldLayoutId id="2147486847" r:id="rId52"/>
    <p:sldLayoutId id="2147486848" r:id="rId53"/>
    <p:sldLayoutId id="2147486849" r:id="rId54"/>
    <p:sldLayoutId id="2147486850" r:id="rId55"/>
    <p:sldLayoutId id="2147486851" r:id="rId56"/>
    <p:sldLayoutId id="2147486852" r:id="rId57"/>
    <p:sldLayoutId id="2147486853" r:id="rId58"/>
    <p:sldLayoutId id="2147486854" r:id="rId59"/>
    <p:sldLayoutId id="2147486855" r:id="rId60"/>
    <p:sldLayoutId id="2147486856" r:id="rId61"/>
    <p:sldLayoutId id="2147486857" r:id="rId62"/>
    <p:sldLayoutId id="2147486858" r:id="rId63"/>
    <p:sldLayoutId id="2147486859" r:id="rId64"/>
    <p:sldLayoutId id="2147486860" r:id="rId65"/>
    <p:sldLayoutId id="2147486861" r:id="rId66"/>
    <p:sldLayoutId id="2147486862" r:id="rId67"/>
    <p:sldLayoutId id="2147486863" r:id="rId68"/>
    <p:sldLayoutId id="2147486864" r:id="rId69"/>
    <p:sldLayoutId id="2147486865" r:id="rId70"/>
    <p:sldLayoutId id="2147486867" r:id="rId7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F4A32F-70C2-E08F-8723-777A84B6C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3" imgW="344" imgH="344" progId="TCLayout.ActiveDocument.1">
                  <p:embed/>
                </p:oleObj>
              </mc:Choice>
              <mc:Fallback>
                <p:oleObj name="think-cell Folie" r:id="rId73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F4A32F-70C2-E08F-8723-777A84B6C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SI B SW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97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9" r:id="rId1"/>
    <p:sldLayoutId id="2147486870" r:id="rId2"/>
    <p:sldLayoutId id="2147486871" r:id="rId3"/>
    <p:sldLayoutId id="2147486872" r:id="rId4"/>
    <p:sldLayoutId id="2147486873" r:id="rId5"/>
    <p:sldLayoutId id="2147486874" r:id="rId6"/>
    <p:sldLayoutId id="2147486875" r:id="rId7"/>
    <p:sldLayoutId id="2147486876" r:id="rId8"/>
    <p:sldLayoutId id="2147486877" r:id="rId9"/>
    <p:sldLayoutId id="2147486878" r:id="rId10"/>
    <p:sldLayoutId id="2147486879" r:id="rId11"/>
    <p:sldLayoutId id="2147486880" r:id="rId12"/>
    <p:sldLayoutId id="2147486881" r:id="rId13"/>
    <p:sldLayoutId id="2147486882" r:id="rId14"/>
    <p:sldLayoutId id="2147486883" r:id="rId15"/>
    <p:sldLayoutId id="2147486884" r:id="rId16"/>
    <p:sldLayoutId id="2147486885" r:id="rId17"/>
    <p:sldLayoutId id="2147486886" r:id="rId18"/>
    <p:sldLayoutId id="2147486887" r:id="rId19"/>
    <p:sldLayoutId id="2147486888" r:id="rId20"/>
    <p:sldLayoutId id="2147486889" r:id="rId21"/>
    <p:sldLayoutId id="2147486890" r:id="rId22"/>
    <p:sldLayoutId id="2147486891" r:id="rId23"/>
    <p:sldLayoutId id="2147486892" r:id="rId24"/>
    <p:sldLayoutId id="2147486893" r:id="rId25"/>
    <p:sldLayoutId id="2147486894" r:id="rId26"/>
    <p:sldLayoutId id="2147486895" r:id="rId27"/>
    <p:sldLayoutId id="2147486896" r:id="rId28"/>
    <p:sldLayoutId id="2147486897" r:id="rId29"/>
    <p:sldLayoutId id="2147486898" r:id="rId30"/>
    <p:sldLayoutId id="2147486899" r:id="rId31"/>
    <p:sldLayoutId id="2147486900" r:id="rId32"/>
    <p:sldLayoutId id="2147486901" r:id="rId33"/>
    <p:sldLayoutId id="2147486902" r:id="rId34"/>
    <p:sldLayoutId id="2147486903" r:id="rId35"/>
    <p:sldLayoutId id="2147486904" r:id="rId36"/>
    <p:sldLayoutId id="2147486905" r:id="rId37"/>
    <p:sldLayoutId id="2147486906" r:id="rId38"/>
    <p:sldLayoutId id="2147486907" r:id="rId39"/>
    <p:sldLayoutId id="2147486908" r:id="rId40"/>
    <p:sldLayoutId id="2147486909" r:id="rId41"/>
    <p:sldLayoutId id="2147486910" r:id="rId42"/>
    <p:sldLayoutId id="2147486911" r:id="rId43"/>
    <p:sldLayoutId id="2147486912" r:id="rId44"/>
    <p:sldLayoutId id="2147486913" r:id="rId45"/>
    <p:sldLayoutId id="2147486914" r:id="rId46"/>
    <p:sldLayoutId id="2147486915" r:id="rId47"/>
    <p:sldLayoutId id="2147486916" r:id="rId48"/>
    <p:sldLayoutId id="2147486917" r:id="rId49"/>
    <p:sldLayoutId id="2147486918" r:id="rId50"/>
    <p:sldLayoutId id="2147486919" r:id="rId51"/>
    <p:sldLayoutId id="2147486920" r:id="rId52"/>
    <p:sldLayoutId id="2147486921" r:id="rId53"/>
    <p:sldLayoutId id="2147486922" r:id="rId54"/>
    <p:sldLayoutId id="2147486923" r:id="rId55"/>
    <p:sldLayoutId id="2147486924" r:id="rId56"/>
    <p:sldLayoutId id="2147486925" r:id="rId57"/>
    <p:sldLayoutId id="2147486926" r:id="rId58"/>
    <p:sldLayoutId id="2147486927" r:id="rId59"/>
    <p:sldLayoutId id="2147486928" r:id="rId60"/>
    <p:sldLayoutId id="2147486929" r:id="rId61"/>
    <p:sldLayoutId id="2147486930" r:id="rId62"/>
    <p:sldLayoutId id="2147486931" r:id="rId63"/>
    <p:sldLayoutId id="2147486932" r:id="rId64"/>
    <p:sldLayoutId id="2147486933" r:id="rId65"/>
    <p:sldLayoutId id="2147486934" r:id="rId66"/>
    <p:sldLayoutId id="2147486935" r:id="rId67"/>
    <p:sldLayoutId id="2147486936" r:id="rId68"/>
    <p:sldLayoutId id="2147486937" r:id="rId69"/>
    <p:sldLayoutId id="2147486938" r:id="rId7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ABDF044B-EE3C-46D3-BFEC-6370F23C2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1F2790FF-7E3C-47C1-96C3-37F145A503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D2B5AFE-E582-4A74-83AD-A8FE801DCF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853C4D-05FA-423D-9141-AF166336806B}" type="datetime1">
              <a:rPr lang="en-GB" smtClean="0"/>
              <a:t>25/03/2026</a:t>
            </a:fld>
            <a:endParaRPr lang="en-GB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05B43EC-92D7-4C3A-8CD4-1009FA048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B71C0EB-7052-443F-9F5A-B8A1C79977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295C38-3496-4F0C-AAF5-7507DF7608EA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délník: s jedním odříznutým rohem 8">
            <a:extLst>
              <a:ext uri="{FF2B5EF4-FFF2-40B4-BE49-F238E27FC236}">
                <a16:creationId xmlns:a16="http://schemas.microsoft.com/office/drawing/2014/main" id="{49F5B450-C38C-41CB-82A7-39ECD78CAA3D}"/>
              </a:ext>
            </a:extLst>
          </p:cNvPr>
          <p:cNvSpPr/>
          <p:nvPr/>
        </p:nvSpPr>
        <p:spPr>
          <a:xfrm flipH="1">
            <a:off x="0" y="6428509"/>
            <a:ext cx="12205854" cy="415635"/>
          </a:xfrm>
          <a:prstGeom prst="snip1Rect">
            <a:avLst>
              <a:gd name="adj" fmla="val 40000"/>
            </a:avLst>
          </a:prstGeom>
          <a:solidFill>
            <a:srgbClr val="006CB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8F55B930-F51F-49D6-9A7C-46EBF2DE040B}"/>
              </a:ext>
            </a:extLst>
          </p:cNvPr>
          <p:cNvGrpSpPr/>
          <p:nvPr userDrawn="1"/>
        </p:nvGrpSpPr>
        <p:grpSpPr>
          <a:xfrm>
            <a:off x="12474575" y="0"/>
            <a:ext cx="2301287" cy="690885"/>
            <a:chOff x="1722944" y="1237084"/>
            <a:chExt cx="3519642" cy="1056656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21481818-6426-4C56-8F4E-0FB5A82FB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biLevel thresh="75000"/>
            </a:blip>
            <a:stretch>
              <a:fillRect/>
            </a:stretch>
          </p:blipFill>
          <p:spPr>
            <a:xfrm>
              <a:off x="3940323" y="1773103"/>
              <a:ext cx="1153854" cy="473163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F9E8BC00-D821-4A83-962B-5D7A9CDB06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hqprint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22944" y="1296050"/>
              <a:ext cx="2005878" cy="99769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2F2F775D-4576-443A-B762-D6167C3076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hqprint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40323" y="1237084"/>
              <a:ext cx="1302263" cy="546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460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40" r:id="rId1"/>
    <p:sldLayoutId id="2147486941" r:id="rId2"/>
    <p:sldLayoutId id="2147486942" r:id="rId3"/>
    <p:sldLayoutId id="2147486943" r:id="rId4"/>
    <p:sldLayoutId id="2147486944" r:id="rId5"/>
    <p:sldLayoutId id="2147486945" r:id="rId6"/>
    <p:sldLayoutId id="2147486946" r:id="rId7"/>
    <p:sldLayoutId id="2147486947" r:id="rId8"/>
    <p:sldLayoutId id="2147486948" r:id="rId9"/>
    <p:sldLayoutId id="2147486949" r:id="rId10"/>
    <p:sldLayoutId id="2147486950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24 | Smart Infrastructure | 2024-05-30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31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2" r:id="rId1"/>
    <p:sldLayoutId id="2147486953" r:id="rId2"/>
    <p:sldLayoutId id="2147486954" r:id="rId3"/>
    <p:sldLayoutId id="2147486955" r:id="rId4"/>
    <p:sldLayoutId id="2147486956" r:id="rId5"/>
    <p:sldLayoutId id="2147486957" r:id="rId6"/>
    <p:sldLayoutId id="2147486958" r:id="rId7"/>
    <p:sldLayoutId id="2147486959" r:id="rId8"/>
    <p:sldLayoutId id="2147486960" r:id="rId9"/>
    <p:sldLayoutId id="2147486961" r:id="rId10"/>
    <p:sldLayoutId id="2147486962" r:id="rId11"/>
    <p:sldLayoutId id="2147486963" r:id="rId12"/>
    <p:sldLayoutId id="2147486964" r:id="rId13"/>
    <p:sldLayoutId id="2147486965" r:id="rId14"/>
    <p:sldLayoutId id="2147486966" r:id="rId15"/>
    <p:sldLayoutId id="2147486967" r:id="rId16"/>
    <p:sldLayoutId id="2147486968" r:id="rId17"/>
    <p:sldLayoutId id="2147486969" r:id="rId18"/>
    <p:sldLayoutId id="2147486970" r:id="rId19"/>
    <p:sldLayoutId id="2147486971" r:id="rId20"/>
    <p:sldLayoutId id="2147486972" r:id="rId21"/>
    <p:sldLayoutId id="2147486973" r:id="rId22"/>
    <p:sldLayoutId id="2147486974" r:id="rId23"/>
    <p:sldLayoutId id="2147486975" r:id="rId24"/>
    <p:sldLayoutId id="2147486976" r:id="rId25"/>
    <p:sldLayoutId id="2147486977" r:id="rId26"/>
    <p:sldLayoutId id="2147486978" r:id="rId27"/>
    <p:sldLayoutId id="2147486979" r:id="rId28"/>
    <p:sldLayoutId id="2147486980" r:id="rId29"/>
    <p:sldLayoutId id="2147486981" r:id="rId30"/>
    <p:sldLayoutId id="2147486982" r:id="rId31"/>
    <p:sldLayoutId id="2147486983" r:id="rId32"/>
    <p:sldLayoutId id="2147486984" r:id="rId33"/>
    <p:sldLayoutId id="2147486985" r:id="rId34"/>
    <p:sldLayoutId id="2147486986" r:id="rId35"/>
    <p:sldLayoutId id="2147486987" r:id="rId36"/>
    <p:sldLayoutId id="2147486988" r:id="rId37"/>
    <p:sldLayoutId id="2147486989" r:id="rId38"/>
    <p:sldLayoutId id="2147486990" r:id="rId39"/>
    <p:sldLayoutId id="2147486991" r:id="rId40"/>
    <p:sldLayoutId id="2147486992" r:id="rId41"/>
    <p:sldLayoutId id="2147486993" r:id="rId42"/>
    <p:sldLayoutId id="2147486994" r:id="rId43"/>
    <p:sldLayoutId id="2147486995" r:id="rId44"/>
    <p:sldLayoutId id="2147486996" r:id="rId45"/>
    <p:sldLayoutId id="2147486997" r:id="rId46"/>
    <p:sldLayoutId id="2147486998" r:id="rId47"/>
    <p:sldLayoutId id="2147486999" r:id="rId48"/>
    <p:sldLayoutId id="2147487000" r:id="rId49"/>
    <p:sldLayoutId id="2147487001" r:id="rId50"/>
    <p:sldLayoutId id="2147487002" r:id="rId51"/>
    <p:sldLayoutId id="2147487003" r:id="rId52"/>
    <p:sldLayoutId id="2147487004" r:id="rId53"/>
    <p:sldLayoutId id="2147487005" r:id="rId54"/>
    <p:sldLayoutId id="2147487006" r:id="rId55"/>
    <p:sldLayoutId id="2147487007" r:id="rId56"/>
    <p:sldLayoutId id="2147487008" r:id="rId57"/>
    <p:sldLayoutId id="2147487009" r:id="rId58"/>
    <p:sldLayoutId id="2147487010" r:id="rId59"/>
    <p:sldLayoutId id="2147487011" r:id="rId60"/>
    <p:sldLayoutId id="2147487012" r:id="rId61"/>
    <p:sldLayoutId id="2147487013" r:id="rId62"/>
    <p:sldLayoutId id="2147487014" r:id="rId63"/>
    <p:sldLayoutId id="2147487015" r:id="rId64"/>
    <p:sldLayoutId id="2147487016" r:id="rId65"/>
    <p:sldLayoutId id="2147487017" r:id="rId66"/>
    <p:sldLayoutId id="2147487018" r:id="rId67"/>
    <p:sldLayoutId id="2147487019" r:id="rId68"/>
    <p:sldLayoutId id="2147487020" r:id="rId69"/>
    <p:sldLayoutId id="2147487021" r:id="rId70"/>
    <p:sldLayoutId id="2147487022" r:id="rId7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FA3C10D-D13A-DA01-779B-9ACC7220B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92124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12" imgH="514" progId="TCLayout.ActiveDocument.1">
                  <p:embed/>
                </p:oleObj>
              </mc:Choice>
              <mc:Fallback>
                <p:oleObj name="think-cell Slide" r:id="rId40" imgW="512" imgH="51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A3C10D-D13A-DA01-779B-9ACC7220B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3 | Smart Infrastructure | July 2023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716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4" r:id="rId1"/>
    <p:sldLayoutId id="2147487025" r:id="rId2"/>
    <p:sldLayoutId id="2147487026" r:id="rId3"/>
    <p:sldLayoutId id="2147487027" r:id="rId4"/>
    <p:sldLayoutId id="2147487028" r:id="rId5"/>
    <p:sldLayoutId id="2147487029" r:id="rId6"/>
    <p:sldLayoutId id="2147487030" r:id="rId7"/>
    <p:sldLayoutId id="2147487031" r:id="rId8"/>
    <p:sldLayoutId id="2147487032" r:id="rId9"/>
    <p:sldLayoutId id="2147487033" r:id="rId10"/>
    <p:sldLayoutId id="2147487034" r:id="rId11"/>
    <p:sldLayoutId id="2147487035" r:id="rId12"/>
    <p:sldLayoutId id="2147487036" r:id="rId13"/>
    <p:sldLayoutId id="2147487037" r:id="rId14"/>
    <p:sldLayoutId id="2147487038" r:id="rId15"/>
    <p:sldLayoutId id="2147487039" r:id="rId16"/>
    <p:sldLayoutId id="2147487040" r:id="rId17"/>
    <p:sldLayoutId id="2147487041" r:id="rId18"/>
    <p:sldLayoutId id="2147487042" r:id="rId19"/>
    <p:sldLayoutId id="2147487043" r:id="rId20"/>
    <p:sldLayoutId id="2147487044" r:id="rId21"/>
    <p:sldLayoutId id="2147487045" r:id="rId22"/>
    <p:sldLayoutId id="2147487046" r:id="rId23"/>
    <p:sldLayoutId id="2147487047" r:id="rId24"/>
    <p:sldLayoutId id="2147487048" r:id="rId25"/>
    <p:sldLayoutId id="2147487049" r:id="rId26"/>
    <p:sldLayoutId id="2147487050" r:id="rId27"/>
    <p:sldLayoutId id="2147487051" r:id="rId28"/>
    <p:sldLayoutId id="2147487052" r:id="rId29"/>
    <p:sldLayoutId id="2147487053" r:id="rId30"/>
    <p:sldLayoutId id="2147487054" r:id="rId31"/>
    <p:sldLayoutId id="2147487055" r:id="rId32"/>
    <p:sldLayoutId id="2147487056" r:id="rId33"/>
    <p:sldLayoutId id="2147487057" r:id="rId34"/>
    <p:sldLayoutId id="2147487058" r:id="rId35"/>
    <p:sldLayoutId id="2147487059" r:id="rId36"/>
    <p:sldLayoutId id="2147487060" r:id="rId3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2793BC8-1A32-BAAF-222D-550C465F8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938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3" imgW="344" imgH="344" progId="TCLayout.ActiveDocument.1">
                  <p:embed/>
                </p:oleObj>
              </mc:Choice>
              <mc:Fallback>
                <p:oleObj name="think-cell Folie" r:id="rId73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793BC8-1A32-BAAF-222D-550C465F8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03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23" r:id="rId1"/>
    <p:sldLayoutId id="2147487324" r:id="rId2"/>
    <p:sldLayoutId id="2147487325" r:id="rId3"/>
    <p:sldLayoutId id="2147487326" r:id="rId4"/>
    <p:sldLayoutId id="2147487327" r:id="rId5"/>
    <p:sldLayoutId id="2147487328" r:id="rId6"/>
    <p:sldLayoutId id="2147487329" r:id="rId7"/>
    <p:sldLayoutId id="2147487330" r:id="rId8"/>
    <p:sldLayoutId id="2147487331" r:id="rId9"/>
    <p:sldLayoutId id="2147487332" r:id="rId10"/>
    <p:sldLayoutId id="2147487333" r:id="rId11"/>
    <p:sldLayoutId id="2147487334" r:id="rId12"/>
    <p:sldLayoutId id="2147487335" r:id="rId13"/>
    <p:sldLayoutId id="2147487336" r:id="rId14"/>
    <p:sldLayoutId id="2147487337" r:id="rId15"/>
    <p:sldLayoutId id="2147487338" r:id="rId16"/>
    <p:sldLayoutId id="2147487339" r:id="rId17"/>
    <p:sldLayoutId id="2147487340" r:id="rId18"/>
    <p:sldLayoutId id="2147487341" r:id="rId19"/>
    <p:sldLayoutId id="2147487342" r:id="rId20"/>
    <p:sldLayoutId id="2147487343" r:id="rId21"/>
    <p:sldLayoutId id="2147487344" r:id="rId22"/>
    <p:sldLayoutId id="2147487345" r:id="rId23"/>
    <p:sldLayoutId id="2147487346" r:id="rId24"/>
    <p:sldLayoutId id="2147487347" r:id="rId25"/>
    <p:sldLayoutId id="2147487348" r:id="rId26"/>
    <p:sldLayoutId id="2147487349" r:id="rId27"/>
    <p:sldLayoutId id="2147487350" r:id="rId28"/>
    <p:sldLayoutId id="2147487351" r:id="rId29"/>
    <p:sldLayoutId id="2147487352" r:id="rId30"/>
    <p:sldLayoutId id="2147487353" r:id="rId31"/>
    <p:sldLayoutId id="2147487354" r:id="rId32"/>
    <p:sldLayoutId id="2147487355" r:id="rId33"/>
    <p:sldLayoutId id="2147487356" r:id="rId34"/>
    <p:sldLayoutId id="2147487357" r:id="rId35"/>
    <p:sldLayoutId id="2147487358" r:id="rId36"/>
    <p:sldLayoutId id="2147487359" r:id="rId37"/>
    <p:sldLayoutId id="2147487360" r:id="rId38"/>
    <p:sldLayoutId id="2147487361" r:id="rId39"/>
    <p:sldLayoutId id="2147487362" r:id="rId40"/>
    <p:sldLayoutId id="2147487363" r:id="rId41"/>
    <p:sldLayoutId id="2147487364" r:id="rId42"/>
    <p:sldLayoutId id="2147487365" r:id="rId43"/>
    <p:sldLayoutId id="2147487366" r:id="rId44"/>
    <p:sldLayoutId id="2147487367" r:id="rId45"/>
    <p:sldLayoutId id="2147487368" r:id="rId46"/>
    <p:sldLayoutId id="2147487369" r:id="rId47"/>
    <p:sldLayoutId id="2147487370" r:id="rId48"/>
    <p:sldLayoutId id="2147487371" r:id="rId49"/>
    <p:sldLayoutId id="2147487372" r:id="rId50"/>
    <p:sldLayoutId id="2147487373" r:id="rId51"/>
    <p:sldLayoutId id="2147487374" r:id="rId52"/>
    <p:sldLayoutId id="2147487375" r:id="rId53"/>
    <p:sldLayoutId id="2147487376" r:id="rId54"/>
    <p:sldLayoutId id="2147487377" r:id="rId55"/>
    <p:sldLayoutId id="2147487378" r:id="rId56"/>
    <p:sldLayoutId id="2147487379" r:id="rId57"/>
    <p:sldLayoutId id="2147487380" r:id="rId58"/>
    <p:sldLayoutId id="2147487381" r:id="rId59"/>
    <p:sldLayoutId id="2147487382" r:id="rId60"/>
    <p:sldLayoutId id="2147487383" r:id="rId61"/>
    <p:sldLayoutId id="2147487384" r:id="rId62"/>
    <p:sldLayoutId id="2147487385" r:id="rId63"/>
    <p:sldLayoutId id="2147487386" r:id="rId64"/>
    <p:sldLayoutId id="2147487387" r:id="rId65"/>
    <p:sldLayoutId id="2147487388" r:id="rId66"/>
    <p:sldLayoutId id="2147487389" r:id="rId67"/>
    <p:sldLayoutId id="2147487390" r:id="rId68"/>
    <p:sldLayoutId id="2147487391" r:id="rId69"/>
    <p:sldLayoutId id="2147487392" r:id="rId7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F8C6417-6689-06B5-233A-EC3B3B8827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2385239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5" imgW="350" imgH="350" progId="TCLayout.ActiveDocument.1">
                  <p:embed/>
                </p:oleObj>
              </mc:Choice>
              <mc:Fallback>
                <p:oleObj name="think-cell Folie" r:id="rId75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C6417-6689-06B5-233A-EC3B3B8827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SI B SW​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867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95" r:id="rId1"/>
    <p:sldLayoutId id="2147487396" r:id="rId2"/>
    <p:sldLayoutId id="2147487397" r:id="rId3"/>
    <p:sldLayoutId id="2147487398" r:id="rId4"/>
    <p:sldLayoutId id="2147487399" r:id="rId5"/>
    <p:sldLayoutId id="2147487400" r:id="rId6"/>
    <p:sldLayoutId id="2147487401" r:id="rId7"/>
    <p:sldLayoutId id="2147487402" r:id="rId8"/>
    <p:sldLayoutId id="2147487403" r:id="rId9"/>
    <p:sldLayoutId id="2147487404" r:id="rId10"/>
    <p:sldLayoutId id="2147487405" r:id="rId11"/>
    <p:sldLayoutId id="2147487406" r:id="rId12"/>
    <p:sldLayoutId id="2147487407" r:id="rId13"/>
    <p:sldLayoutId id="2147487408" r:id="rId14"/>
    <p:sldLayoutId id="2147487409" r:id="rId15"/>
    <p:sldLayoutId id="2147487410" r:id="rId16"/>
    <p:sldLayoutId id="2147487411" r:id="rId17"/>
    <p:sldLayoutId id="2147487412" r:id="rId18"/>
    <p:sldLayoutId id="2147487413" r:id="rId19"/>
    <p:sldLayoutId id="2147487414" r:id="rId20"/>
    <p:sldLayoutId id="2147487415" r:id="rId21"/>
    <p:sldLayoutId id="2147487416" r:id="rId22"/>
    <p:sldLayoutId id="2147487417" r:id="rId23"/>
    <p:sldLayoutId id="2147487418" r:id="rId24"/>
    <p:sldLayoutId id="2147487419" r:id="rId25"/>
    <p:sldLayoutId id="2147487420" r:id="rId26"/>
    <p:sldLayoutId id="2147487421" r:id="rId27"/>
    <p:sldLayoutId id="2147487422" r:id="rId28"/>
    <p:sldLayoutId id="2147487423" r:id="rId29"/>
    <p:sldLayoutId id="2147487424" r:id="rId30"/>
    <p:sldLayoutId id="2147487425" r:id="rId31"/>
    <p:sldLayoutId id="2147487426" r:id="rId32"/>
    <p:sldLayoutId id="2147487427" r:id="rId33"/>
    <p:sldLayoutId id="2147487428" r:id="rId34"/>
    <p:sldLayoutId id="2147487429" r:id="rId35"/>
    <p:sldLayoutId id="2147487430" r:id="rId36"/>
    <p:sldLayoutId id="2147487431" r:id="rId37"/>
    <p:sldLayoutId id="2147487432" r:id="rId38"/>
    <p:sldLayoutId id="2147487433" r:id="rId39"/>
    <p:sldLayoutId id="2147487434" r:id="rId40"/>
    <p:sldLayoutId id="2147487435" r:id="rId41"/>
    <p:sldLayoutId id="2147487436" r:id="rId42"/>
    <p:sldLayoutId id="2147487437" r:id="rId43"/>
    <p:sldLayoutId id="2147487438" r:id="rId44"/>
    <p:sldLayoutId id="2147487439" r:id="rId45"/>
    <p:sldLayoutId id="2147487440" r:id="rId46"/>
    <p:sldLayoutId id="2147487441" r:id="rId47"/>
    <p:sldLayoutId id="2147487442" r:id="rId48"/>
    <p:sldLayoutId id="2147487443" r:id="rId49"/>
    <p:sldLayoutId id="2147487444" r:id="rId50"/>
    <p:sldLayoutId id="2147487445" r:id="rId51"/>
    <p:sldLayoutId id="2147487446" r:id="rId52"/>
    <p:sldLayoutId id="2147487447" r:id="rId53"/>
    <p:sldLayoutId id="2147487448" r:id="rId54"/>
    <p:sldLayoutId id="2147487449" r:id="rId55"/>
    <p:sldLayoutId id="2147487450" r:id="rId56"/>
    <p:sldLayoutId id="2147487451" r:id="rId57"/>
    <p:sldLayoutId id="2147487452" r:id="rId58"/>
    <p:sldLayoutId id="2147487453" r:id="rId59"/>
    <p:sldLayoutId id="2147487454" r:id="rId60"/>
    <p:sldLayoutId id="2147487455" r:id="rId61"/>
    <p:sldLayoutId id="2147487456" r:id="rId62"/>
    <p:sldLayoutId id="2147487457" r:id="rId63"/>
    <p:sldLayoutId id="2147487458" r:id="rId64"/>
    <p:sldLayoutId id="2147487459" r:id="rId65"/>
    <p:sldLayoutId id="2147487460" r:id="rId66"/>
    <p:sldLayoutId id="2147487461" r:id="rId67"/>
    <p:sldLayoutId id="2147487462" r:id="rId68"/>
    <p:sldLayoutId id="2147487463" r:id="rId69"/>
    <p:sldLayoutId id="2147487464" r:id="rId70"/>
    <p:sldLayoutId id="2147487465" r:id="rId71"/>
    <p:sldLayoutId id="2147487466" r:id="rId7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14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691" r:id="rId1"/>
    <p:sldLayoutId id="2147487692" r:id="rId2"/>
    <p:sldLayoutId id="2147487693" r:id="rId3"/>
    <p:sldLayoutId id="2147487694" r:id="rId4"/>
    <p:sldLayoutId id="2147487695" r:id="rId5"/>
    <p:sldLayoutId id="2147487696" r:id="rId6"/>
    <p:sldLayoutId id="2147487697" r:id="rId7"/>
    <p:sldLayoutId id="2147487698" r:id="rId8"/>
    <p:sldLayoutId id="2147487699" r:id="rId9"/>
    <p:sldLayoutId id="2147487700" r:id="rId10"/>
    <p:sldLayoutId id="2147487701" r:id="rId11"/>
    <p:sldLayoutId id="2147487702" r:id="rId12"/>
    <p:sldLayoutId id="2147487703" r:id="rId13"/>
    <p:sldLayoutId id="2147487704" r:id="rId14"/>
    <p:sldLayoutId id="2147487705" r:id="rId15"/>
    <p:sldLayoutId id="2147487706" r:id="rId16"/>
    <p:sldLayoutId id="2147487707" r:id="rId17"/>
    <p:sldLayoutId id="2147487708" r:id="rId18"/>
    <p:sldLayoutId id="2147487709" r:id="rId19"/>
    <p:sldLayoutId id="2147487710" r:id="rId20"/>
    <p:sldLayoutId id="2147487711" r:id="rId21"/>
    <p:sldLayoutId id="2147487712" r:id="rId22"/>
    <p:sldLayoutId id="2147487713" r:id="rId23"/>
    <p:sldLayoutId id="2147487714" r:id="rId24"/>
    <p:sldLayoutId id="2147487715" r:id="rId25"/>
    <p:sldLayoutId id="2147487716" r:id="rId26"/>
    <p:sldLayoutId id="2147487717" r:id="rId27"/>
    <p:sldLayoutId id="2147487718" r:id="rId28"/>
    <p:sldLayoutId id="2147487719" r:id="rId29"/>
    <p:sldLayoutId id="2147487720" r:id="rId30"/>
    <p:sldLayoutId id="2147487721" r:id="rId31"/>
    <p:sldLayoutId id="2147487722" r:id="rId32"/>
    <p:sldLayoutId id="2147487723" r:id="rId33"/>
    <p:sldLayoutId id="2147487724" r:id="rId34"/>
    <p:sldLayoutId id="2147487725" r:id="rId35"/>
    <p:sldLayoutId id="2147487726" r:id="rId36"/>
    <p:sldLayoutId id="2147487727" r:id="rId37"/>
    <p:sldLayoutId id="2147487728" r:id="rId38"/>
    <p:sldLayoutId id="2147487729" r:id="rId39"/>
    <p:sldLayoutId id="2147487730" r:id="rId40"/>
    <p:sldLayoutId id="2147487731" r:id="rId41"/>
    <p:sldLayoutId id="2147487732" r:id="rId42"/>
    <p:sldLayoutId id="2147487733" r:id="rId43"/>
    <p:sldLayoutId id="2147487734" r:id="rId44"/>
    <p:sldLayoutId id="2147487735" r:id="rId45"/>
    <p:sldLayoutId id="2147487736" r:id="rId46"/>
    <p:sldLayoutId id="2147487737" r:id="rId47"/>
    <p:sldLayoutId id="2147487738" r:id="rId48"/>
    <p:sldLayoutId id="2147487739" r:id="rId49"/>
    <p:sldLayoutId id="2147487740" r:id="rId50"/>
    <p:sldLayoutId id="2147487741" r:id="rId51"/>
    <p:sldLayoutId id="2147487742" r:id="rId52"/>
    <p:sldLayoutId id="2147487743" r:id="rId53"/>
    <p:sldLayoutId id="2147487744" r:id="rId54"/>
    <p:sldLayoutId id="2147487745" r:id="rId55"/>
    <p:sldLayoutId id="2147487746" r:id="rId56"/>
    <p:sldLayoutId id="2147487747" r:id="rId57"/>
    <p:sldLayoutId id="2147487748" r:id="rId58"/>
    <p:sldLayoutId id="2147487749" r:id="rId59"/>
    <p:sldLayoutId id="2147487750" r:id="rId60"/>
    <p:sldLayoutId id="2147487751" r:id="rId61"/>
    <p:sldLayoutId id="2147487752" r:id="rId62"/>
    <p:sldLayoutId id="2147487753" r:id="rId63"/>
    <p:sldLayoutId id="2147487754" r:id="rId64"/>
    <p:sldLayoutId id="2147487755" r:id="rId65"/>
    <p:sldLayoutId id="2147487756" r:id="rId66"/>
    <p:sldLayoutId id="2147487757" r:id="rId67"/>
    <p:sldLayoutId id="2147487758" r:id="rId68"/>
    <p:sldLayoutId id="2147487759" r:id="rId69"/>
    <p:sldLayoutId id="2147487760" r:id="rId70"/>
    <p:sldLayoutId id="2147487761" r:id="rId71"/>
    <p:sldLayoutId id="2147487762" r:id="rId72"/>
    <p:sldLayoutId id="2147487763" r:id="rId73"/>
    <p:sldLayoutId id="2147487768" r:id="rId74"/>
    <p:sldLayoutId id="2147487769" r:id="rId75"/>
    <p:sldLayoutId id="2147487770" r:id="rId76"/>
    <p:sldLayoutId id="2147487771" r:id="rId77"/>
    <p:sldLayoutId id="2147487772" r:id="rId78"/>
    <p:sldLayoutId id="2147487773" r:id="rId79"/>
    <p:sldLayoutId id="2147487774" r:id="rId80"/>
    <p:sldLayoutId id="2147487775" r:id="rId81"/>
    <p:sldLayoutId id="2147487776" r:id="rId82"/>
    <p:sldLayoutId id="2147487777" r:id="rId83"/>
    <p:sldLayoutId id="2147487778" r:id="rId84"/>
    <p:sldLayoutId id="2147487779" r:id="rId85"/>
    <p:sldLayoutId id="2147487780" r:id="rId86"/>
    <p:sldLayoutId id="2147487781" r:id="rId87"/>
    <p:sldLayoutId id="2147487782" r:id="rId88"/>
    <p:sldLayoutId id="2147487783" r:id="rId89"/>
    <p:sldLayoutId id="2147487784" r:id="rId90"/>
    <p:sldLayoutId id="2147487785" r:id="rId91"/>
    <p:sldLayoutId id="2147487786" r:id="rId92"/>
    <p:sldLayoutId id="2147487787" r:id="rId93"/>
    <p:sldLayoutId id="2147487788" r:id="rId94"/>
    <p:sldLayoutId id="2147487789" r:id="rId95"/>
    <p:sldLayoutId id="2147487790" r:id="rId96"/>
    <p:sldLayoutId id="2147487791" r:id="rId97"/>
    <p:sldLayoutId id="2147487792" r:id="rId98"/>
    <p:sldLayoutId id="2147487793" r:id="rId99"/>
    <p:sldLayoutId id="2147487794" r:id="rId100"/>
    <p:sldLayoutId id="2147487815" r:id="rId101"/>
    <p:sldLayoutId id="2147487836" r:id="rId102"/>
    <p:sldLayoutId id="2147487837" r:id="rId10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DD3ECE-485D-81C1-B826-C470A2A66D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4049140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3" imgW="344" imgH="345" progId="TCLayout.ActiveDocument.1">
                  <p:embed/>
                </p:oleObj>
              </mc:Choice>
              <mc:Fallback>
                <p:oleObj name="think-cell Folie" r:id="rId73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DD3ECE-485D-81C1-B826-C470A2A66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SI B | SW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355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11" r:id="rId1"/>
    <p:sldLayoutId id="2147487912" r:id="rId2"/>
    <p:sldLayoutId id="2147487913" r:id="rId3"/>
    <p:sldLayoutId id="2147487914" r:id="rId4"/>
    <p:sldLayoutId id="2147487915" r:id="rId5"/>
    <p:sldLayoutId id="2147487916" r:id="rId6"/>
    <p:sldLayoutId id="2147487917" r:id="rId7"/>
    <p:sldLayoutId id="2147487918" r:id="rId8"/>
    <p:sldLayoutId id="2147487919" r:id="rId9"/>
    <p:sldLayoutId id="2147487920" r:id="rId10"/>
    <p:sldLayoutId id="2147487921" r:id="rId11"/>
    <p:sldLayoutId id="2147487922" r:id="rId12"/>
    <p:sldLayoutId id="2147487923" r:id="rId13"/>
    <p:sldLayoutId id="2147487924" r:id="rId14"/>
    <p:sldLayoutId id="2147487925" r:id="rId15"/>
    <p:sldLayoutId id="2147487926" r:id="rId16"/>
    <p:sldLayoutId id="2147487927" r:id="rId17"/>
    <p:sldLayoutId id="2147487928" r:id="rId18"/>
    <p:sldLayoutId id="2147487929" r:id="rId19"/>
    <p:sldLayoutId id="2147487930" r:id="rId20"/>
    <p:sldLayoutId id="2147487931" r:id="rId21"/>
    <p:sldLayoutId id="2147487932" r:id="rId22"/>
    <p:sldLayoutId id="2147487933" r:id="rId23"/>
    <p:sldLayoutId id="2147487934" r:id="rId24"/>
    <p:sldLayoutId id="2147487935" r:id="rId25"/>
    <p:sldLayoutId id="2147487936" r:id="rId26"/>
    <p:sldLayoutId id="2147487937" r:id="rId27"/>
    <p:sldLayoutId id="2147487938" r:id="rId28"/>
    <p:sldLayoutId id="2147487939" r:id="rId29"/>
    <p:sldLayoutId id="2147487940" r:id="rId30"/>
    <p:sldLayoutId id="2147487941" r:id="rId31"/>
    <p:sldLayoutId id="2147487942" r:id="rId32"/>
    <p:sldLayoutId id="2147487943" r:id="rId33"/>
    <p:sldLayoutId id="2147487944" r:id="rId34"/>
    <p:sldLayoutId id="2147487945" r:id="rId35"/>
    <p:sldLayoutId id="2147487946" r:id="rId36"/>
    <p:sldLayoutId id="2147487947" r:id="rId37"/>
    <p:sldLayoutId id="2147487948" r:id="rId38"/>
    <p:sldLayoutId id="2147487949" r:id="rId39"/>
    <p:sldLayoutId id="2147487950" r:id="rId40"/>
    <p:sldLayoutId id="2147487951" r:id="rId41"/>
    <p:sldLayoutId id="2147487952" r:id="rId42"/>
    <p:sldLayoutId id="2147487953" r:id="rId43"/>
    <p:sldLayoutId id="2147487954" r:id="rId44"/>
    <p:sldLayoutId id="2147487955" r:id="rId45"/>
    <p:sldLayoutId id="2147487956" r:id="rId46"/>
    <p:sldLayoutId id="2147487957" r:id="rId47"/>
    <p:sldLayoutId id="2147487958" r:id="rId48"/>
    <p:sldLayoutId id="2147487959" r:id="rId49"/>
    <p:sldLayoutId id="2147487960" r:id="rId50"/>
    <p:sldLayoutId id="2147487961" r:id="rId51"/>
    <p:sldLayoutId id="2147487962" r:id="rId52"/>
    <p:sldLayoutId id="2147487963" r:id="rId53"/>
    <p:sldLayoutId id="2147487964" r:id="rId54"/>
    <p:sldLayoutId id="2147487965" r:id="rId55"/>
    <p:sldLayoutId id="2147487966" r:id="rId56"/>
    <p:sldLayoutId id="2147487967" r:id="rId57"/>
    <p:sldLayoutId id="2147487968" r:id="rId58"/>
    <p:sldLayoutId id="2147487969" r:id="rId59"/>
    <p:sldLayoutId id="2147487970" r:id="rId60"/>
    <p:sldLayoutId id="2147487971" r:id="rId61"/>
    <p:sldLayoutId id="2147487972" r:id="rId62"/>
    <p:sldLayoutId id="2147487973" r:id="rId63"/>
    <p:sldLayoutId id="2147487974" r:id="rId64"/>
    <p:sldLayoutId id="2147487975" r:id="rId65"/>
    <p:sldLayoutId id="2147487976" r:id="rId66"/>
    <p:sldLayoutId id="2147487977" r:id="rId67"/>
    <p:sldLayoutId id="2147487978" r:id="rId68"/>
    <p:sldLayoutId id="2147487979" r:id="rId69"/>
    <p:sldLayoutId id="2147487980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718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  <p:sldLayoutId id="2147483791" r:id="rId36"/>
    <p:sldLayoutId id="2147483792" r:id="rId37"/>
    <p:sldLayoutId id="2147483793" r:id="rId38"/>
    <p:sldLayoutId id="2147483794" r:id="rId39"/>
    <p:sldLayoutId id="2147483795" r:id="rId40"/>
    <p:sldLayoutId id="2147483796" r:id="rId41"/>
    <p:sldLayoutId id="2147483797" r:id="rId42"/>
    <p:sldLayoutId id="2147483798" r:id="rId43"/>
    <p:sldLayoutId id="2147483799" r:id="rId44"/>
    <p:sldLayoutId id="2147483800" r:id="rId45"/>
    <p:sldLayoutId id="2147483801" r:id="rId46"/>
    <p:sldLayoutId id="2147483802" r:id="rId47"/>
    <p:sldLayoutId id="2147483803" r:id="rId48"/>
    <p:sldLayoutId id="2147483804" r:id="rId49"/>
    <p:sldLayoutId id="2147483805" r:id="rId50"/>
    <p:sldLayoutId id="2147483806" r:id="rId51"/>
    <p:sldLayoutId id="2147483807" r:id="rId52"/>
    <p:sldLayoutId id="2147483808" r:id="rId53"/>
    <p:sldLayoutId id="2147483809" r:id="rId54"/>
    <p:sldLayoutId id="2147483810" r:id="rId55"/>
    <p:sldLayoutId id="2147483811" r:id="rId56"/>
    <p:sldLayoutId id="2147483812" r:id="rId57"/>
    <p:sldLayoutId id="2147483813" r:id="rId58"/>
    <p:sldLayoutId id="2147483814" r:id="rId59"/>
    <p:sldLayoutId id="2147483815" r:id="rId60"/>
    <p:sldLayoutId id="2147483816" r:id="rId61"/>
    <p:sldLayoutId id="2147483817" r:id="rId62"/>
    <p:sldLayoutId id="2147483818" r:id="rId63"/>
    <p:sldLayoutId id="2147483819" r:id="rId64"/>
    <p:sldLayoutId id="2147483820" r:id="rId65"/>
    <p:sldLayoutId id="2147483821" r:id="rId66"/>
    <p:sldLayoutId id="2147483822" r:id="rId67"/>
    <p:sldLayoutId id="2147483823" r:id="rId68"/>
    <p:sldLayoutId id="2147483824" r:id="rId69"/>
    <p:sldLayoutId id="2147483825" r:id="rId70"/>
    <p:sldLayoutId id="2147484317" r:id="rId71"/>
    <p:sldLayoutId id="2147484318" r:id="rId72"/>
    <p:sldLayoutId id="2147484319" r:id="rId73"/>
    <p:sldLayoutId id="2147484320" r:id="rId74"/>
    <p:sldLayoutId id="2147484321" r:id="rId75"/>
    <p:sldLayoutId id="2147484322" r:id="rId76"/>
    <p:sldLayoutId id="2147484323" r:id="rId77"/>
    <p:sldLayoutId id="2147484324" r:id="rId78"/>
    <p:sldLayoutId id="2147484325" r:id="rId79"/>
    <p:sldLayoutId id="2147484326" r:id="rId80"/>
    <p:sldLayoutId id="2147484327" r:id="rId81"/>
    <p:sldLayoutId id="2147484328" r:id="rId82"/>
    <p:sldLayoutId id="2147484329" r:id="rId83"/>
    <p:sldLayoutId id="2147484330" r:id="rId84"/>
    <p:sldLayoutId id="2147484331" r:id="rId85"/>
    <p:sldLayoutId id="2147484332" r:id="rId86"/>
    <p:sldLayoutId id="2147484333" r:id="rId87"/>
    <p:sldLayoutId id="2147484334" r:id="rId88"/>
    <p:sldLayoutId id="2147484335" r:id="rId89"/>
    <p:sldLayoutId id="2147484336" r:id="rId90"/>
    <p:sldLayoutId id="2147484337" r:id="rId91"/>
    <p:sldLayoutId id="2147484338" r:id="rId92"/>
    <p:sldLayoutId id="2147484339" r:id="rId93"/>
    <p:sldLayoutId id="2147484340" r:id="rId94"/>
    <p:sldLayoutId id="2147484341" r:id="rId95"/>
    <p:sldLayoutId id="2147484342" r:id="rId96"/>
    <p:sldLayoutId id="2147484343" r:id="rId97"/>
    <p:sldLayoutId id="2147484344" r:id="rId98"/>
    <p:sldLayoutId id="2147484345" r:id="rId99"/>
    <p:sldLayoutId id="2147484346" r:id="rId100"/>
    <p:sldLayoutId id="2147484347" r:id="rId101"/>
    <p:sldLayoutId id="2147484348" r:id="rId102"/>
    <p:sldLayoutId id="2147484349" r:id="rId103"/>
    <p:sldLayoutId id="2147484350" r:id="rId104"/>
    <p:sldLayoutId id="2147484351" r:id="rId105"/>
    <p:sldLayoutId id="2147484352" r:id="rId106"/>
    <p:sldLayoutId id="2147484353" r:id="rId107"/>
    <p:sldLayoutId id="2147484354" r:id="rId108"/>
    <p:sldLayoutId id="2147484355" r:id="rId109"/>
    <p:sldLayoutId id="2147484356" r:id="rId110"/>
    <p:sldLayoutId id="2147484357" r:id="rId111"/>
    <p:sldLayoutId id="2147484358" r:id="rId112"/>
    <p:sldLayoutId id="2147484359" r:id="rId113"/>
    <p:sldLayoutId id="2147484360" r:id="rId114"/>
    <p:sldLayoutId id="2147484361" r:id="rId115"/>
    <p:sldLayoutId id="2147484362" r:id="rId116"/>
    <p:sldLayoutId id="2147484363" r:id="rId117"/>
    <p:sldLayoutId id="2147484364" r:id="rId118"/>
    <p:sldLayoutId id="2147484365" r:id="rId119"/>
    <p:sldLayoutId id="2147484366" r:id="rId120"/>
    <p:sldLayoutId id="2147484367" r:id="rId121"/>
    <p:sldLayoutId id="2147484368" r:id="rId122"/>
    <p:sldLayoutId id="2147484369" r:id="rId123"/>
    <p:sldLayoutId id="2147484370" r:id="rId124"/>
    <p:sldLayoutId id="2147484371" r:id="rId125"/>
    <p:sldLayoutId id="2147484372" r:id="rId126"/>
    <p:sldLayoutId id="2147484373" r:id="rId127"/>
    <p:sldLayoutId id="2147484374" r:id="rId128"/>
    <p:sldLayoutId id="2147484375" r:id="rId129"/>
    <p:sldLayoutId id="2147484376" r:id="rId130"/>
    <p:sldLayoutId id="2147484377" r:id="rId131"/>
    <p:sldLayoutId id="2147484378" r:id="rId132"/>
    <p:sldLayoutId id="2147484379" r:id="rId133"/>
    <p:sldLayoutId id="2147484380" r:id="rId134"/>
    <p:sldLayoutId id="2147484381" r:id="rId135"/>
    <p:sldLayoutId id="2147484382" r:id="rId136"/>
    <p:sldLayoutId id="2147484383" r:id="rId137"/>
    <p:sldLayoutId id="2147484384" r:id="rId138"/>
    <p:sldLayoutId id="2147484385" r:id="rId139"/>
    <p:sldLayoutId id="2147484386" r:id="rId140"/>
    <p:sldLayoutId id="2147487994" r:id="rId141"/>
    <p:sldLayoutId id="2147487995" r:id="rId142"/>
    <p:sldLayoutId id="2147487996" r:id="rId143"/>
    <p:sldLayoutId id="2147488031" r:id="rId144"/>
    <p:sldLayoutId id="2147488036" r:id="rId145"/>
    <p:sldLayoutId id="2147488037" r:id="rId146"/>
    <p:sldLayoutId id="2147488051" r:id="rId147"/>
    <p:sldLayoutId id="2147488052" r:id="rId14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5EBDBBE-582B-2680-33A0-57EAF01BE8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769063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3" imgW="306" imgH="306" progId="TCLayout.ActiveDocument.1">
                  <p:embed/>
                </p:oleObj>
              </mc:Choice>
              <mc:Fallback>
                <p:oleObj name="think-cell Folie" r:id="rId7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EBDBBE-582B-2680-33A0-57EAF01BE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Smart Infrastructure – Buildings – Software 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900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56" r:id="rId1"/>
    <p:sldLayoutId id="2147488057" r:id="rId2"/>
    <p:sldLayoutId id="2147488058" r:id="rId3"/>
    <p:sldLayoutId id="2147488059" r:id="rId4"/>
    <p:sldLayoutId id="2147488060" r:id="rId5"/>
    <p:sldLayoutId id="2147488061" r:id="rId6"/>
    <p:sldLayoutId id="2147488062" r:id="rId7"/>
    <p:sldLayoutId id="2147488063" r:id="rId8"/>
    <p:sldLayoutId id="2147488064" r:id="rId9"/>
    <p:sldLayoutId id="2147488065" r:id="rId10"/>
    <p:sldLayoutId id="2147488066" r:id="rId11"/>
    <p:sldLayoutId id="2147488067" r:id="rId12"/>
    <p:sldLayoutId id="2147488068" r:id="rId13"/>
    <p:sldLayoutId id="2147488069" r:id="rId14"/>
    <p:sldLayoutId id="2147488070" r:id="rId15"/>
    <p:sldLayoutId id="2147488071" r:id="rId16"/>
    <p:sldLayoutId id="2147488072" r:id="rId17"/>
    <p:sldLayoutId id="2147488073" r:id="rId18"/>
    <p:sldLayoutId id="2147488074" r:id="rId19"/>
    <p:sldLayoutId id="2147488075" r:id="rId20"/>
    <p:sldLayoutId id="2147488076" r:id="rId21"/>
    <p:sldLayoutId id="2147488077" r:id="rId22"/>
    <p:sldLayoutId id="2147488078" r:id="rId23"/>
    <p:sldLayoutId id="2147488079" r:id="rId24"/>
    <p:sldLayoutId id="2147488080" r:id="rId25"/>
    <p:sldLayoutId id="2147488081" r:id="rId26"/>
    <p:sldLayoutId id="2147488082" r:id="rId27"/>
    <p:sldLayoutId id="2147488083" r:id="rId28"/>
    <p:sldLayoutId id="2147488084" r:id="rId29"/>
    <p:sldLayoutId id="2147488085" r:id="rId30"/>
    <p:sldLayoutId id="2147488086" r:id="rId31"/>
    <p:sldLayoutId id="2147488087" r:id="rId32"/>
    <p:sldLayoutId id="2147488088" r:id="rId33"/>
    <p:sldLayoutId id="2147488089" r:id="rId34"/>
    <p:sldLayoutId id="2147488090" r:id="rId35"/>
    <p:sldLayoutId id="2147488091" r:id="rId36"/>
    <p:sldLayoutId id="2147488092" r:id="rId37"/>
    <p:sldLayoutId id="2147488093" r:id="rId38"/>
    <p:sldLayoutId id="2147488094" r:id="rId39"/>
    <p:sldLayoutId id="2147488095" r:id="rId40"/>
    <p:sldLayoutId id="2147488096" r:id="rId41"/>
    <p:sldLayoutId id="2147488097" r:id="rId42"/>
    <p:sldLayoutId id="2147488098" r:id="rId43"/>
    <p:sldLayoutId id="2147488099" r:id="rId44"/>
    <p:sldLayoutId id="2147488100" r:id="rId45"/>
    <p:sldLayoutId id="2147488101" r:id="rId46"/>
    <p:sldLayoutId id="2147488102" r:id="rId47"/>
    <p:sldLayoutId id="2147488103" r:id="rId48"/>
    <p:sldLayoutId id="2147488104" r:id="rId49"/>
    <p:sldLayoutId id="2147488105" r:id="rId50"/>
    <p:sldLayoutId id="2147488106" r:id="rId51"/>
    <p:sldLayoutId id="2147488107" r:id="rId52"/>
    <p:sldLayoutId id="2147488108" r:id="rId53"/>
    <p:sldLayoutId id="2147488109" r:id="rId54"/>
    <p:sldLayoutId id="2147488110" r:id="rId55"/>
    <p:sldLayoutId id="2147488111" r:id="rId56"/>
    <p:sldLayoutId id="2147488112" r:id="rId57"/>
    <p:sldLayoutId id="2147488113" r:id="rId58"/>
    <p:sldLayoutId id="2147488114" r:id="rId59"/>
    <p:sldLayoutId id="2147488115" r:id="rId60"/>
    <p:sldLayoutId id="2147488116" r:id="rId61"/>
    <p:sldLayoutId id="2147488117" r:id="rId62"/>
    <p:sldLayoutId id="2147488118" r:id="rId63"/>
    <p:sldLayoutId id="2147488119" r:id="rId64"/>
    <p:sldLayoutId id="2147488120" r:id="rId65"/>
    <p:sldLayoutId id="2147488121" r:id="rId66"/>
    <p:sldLayoutId id="2147488122" r:id="rId67"/>
    <p:sldLayoutId id="2147488123" r:id="rId68"/>
    <p:sldLayoutId id="2147488124" r:id="rId69"/>
    <p:sldLayoutId id="2147488125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nrestricted | © Siemens 2025 | Buildings | February 2024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kt 6" hidden="1">
            <a:extLst>
              <a:ext uri="{FF2B5EF4-FFF2-40B4-BE49-F238E27FC236}">
                <a16:creationId xmlns:a16="http://schemas.microsoft.com/office/drawing/2014/main" id="{532F9D7B-5882-F792-8F63-05B55AF8B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29516941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306" imgH="306" progId="TCLayout.ActiveDocument.1">
                  <p:embed/>
                </p:oleObj>
              </mc:Choice>
              <mc:Fallback>
                <p:oleObj name="think-cell Slide" r:id="rId74" imgW="306" imgH="306" progId="TCLayout.ActiveDocument.1">
                  <p:embed/>
                  <p:pic>
                    <p:nvPicPr>
                      <p:cNvPr id="4" name="Objekt 6" hidden="1">
                        <a:extLst>
                          <a:ext uri="{FF2B5EF4-FFF2-40B4-BE49-F238E27FC236}">
                            <a16:creationId xmlns:a16="http://schemas.microsoft.com/office/drawing/2014/main" id="{532F9D7B-5882-F792-8F63-05B55AF8B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4507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99" r:id="rId1"/>
    <p:sldLayoutId id="2147488200" r:id="rId2"/>
    <p:sldLayoutId id="2147488201" r:id="rId3"/>
    <p:sldLayoutId id="2147488202" r:id="rId4"/>
    <p:sldLayoutId id="2147488203" r:id="rId5"/>
    <p:sldLayoutId id="2147488204" r:id="rId6"/>
    <p:sldLayoutId id="2147488205" r:id="rId7"/>
    <p:sldLayoutId id="2147488206" r:id="rId8"/>
    <p:sldLayoutId id="2147488207" r:id="rId9"/>
    <p:sldLayoutId id="2147488208" r:id="rId10"/>
    <p:sldLayoutId id="2147488209" r:id="rId11"/>
    <p:sldLayoutId id="2147488210" r:id="rId12"/>
    <p:sldLayoutId id="2147488211" r:id="rId13"/>
    <p:sldLayoutId id="2147488212" r:id="rId14"/>
    <p:sldLayoutId id="2147488213" r:id="rId15"/>
    <p:sldLayoutId id="2147488214" r:id="rId16"/>
    <p:sldLayoutId id="2147488215" r:id="rId17"/>
    <p:sldLayoutId id="2147488216" r:id="rId18"/>
    <p:sldLayoutId id="2147488217" r:id="rId19"/>
    <p:sldLayoutId id="2147488218" r:id="rId20"/>
    <p:sldLayoutId id="2147488219" r:id="rId21"/>
    <p:sldLayoutId id="2147488220" r:id="rId22"/>
    <p:sldLayoutId id="2147488221" r:id="rId23"/>
    <p:sldLayoutId id="2147488222" r:id="rId24"/>
    <p:sldLayoutId id="2147488223" r:id="rId25"/>
    <p:sldLayoutId id="2147488224" r:id="rId26"/>
    <p:sldLayoutId id="2147488225" r:id="rId27"/>
    <p:sldLayoutId id="2147488226" r:id="rId28"/>
    <p:sldLayoutId id="2147488227" r:id="rId29"/>
    <p:sldLayoutId id="2147488228" r:id="rId30"/>
    <p:sldLayoutId id="2147488229" r:id="rId31"/>
    <p:sldLayoutId id="2147488230" r:id="rId32"/>
    <p:sldLayoutId id="2147488231" r:id="rId33"/>
    <p:sldLayoutId id="2147488232" r:id="rId34"/>
    <p:sldLayoutId id="2147488233" r:id="rId35"/>
    <p:sldLayoutId id="2147488234" r:id="rId36"/>
    <p:sldLayoutId id="2147488235" r:id="rId37"/>
    <p:sldLayoutId id="2147488236" r:id="rId38"/>
    <p:sldLayoutId id="2147488237" r:id="rId39"/>
    <p:sldLayoutId id="2147488238" r:id="rId40"/>
    <p:sldLayoutId id="2147488239" r:id="rId41"/>
    <p:sldLayoutId id="2147488240" r:id="rId42"/>
    <p:sldLayoutId id="2147488241" r:id="rId43"/>
    <p:sldLayoutId id="2147488242" r:id="rId44"/>
    <p:sldLayoutId id="2147488243" r:id="rId45"/>
    <p:sldLayoutId id="2147488244" r:id="rId46"/>
    <p:sldLayoutId id="2147488245" r:id="rId47"/>
    <p:sldLayoutId id="2147488246" r:id="rId48"/>
    <p:sldLayoutId id="2147488247" r:id="rId49"/>
    <p:sldLayoutId id="2147488248" r:id="rId50"/>
    <p:sldLayoutId id="2147488249" r:id="rId51"/>
    <p:sldLayoutId id="2147488250" r:id="rId52"/>
    <p:sldLayoutId id="2147488251" r:id="rId53"/>
    <p:sldLayoutId id="2147488252" r:id="rId54"/>
    <p:sldLayoutId id="2147488253" r:id="rId55"/>
    <p:sldLayoutId id="2147488254" r:id="rId56"/>
    <p:sldLayoutId id="2147488255" r:id="rId57"/>
    <p:sldLayoutId id="2147488256" r:id="rId58"/>
    <p:sldLayoutId id="2147488257" r:id="rId59"/>
    <p:sldLayoutId id="2147488258" r:id="rId60"/>
    <p:sldLayoutId id="2147488259" r:id="rId61"/>
    <p:sldLayoutId id="2147488260" r:id="rId62"/>
    <p:sldLayoutId id="2147488261" r:id="rId63"/>
    <p:sldLayoutId id="2147488262" r:id="rId64"/>
    <p:sldLayoutId id="2147488263" r:id="rId65"/>
    <p:sldLayoutId id="2147488264" r:id="rId66"/>
    <p:sldLayoutId id="2147488265" r:id="rId67"/>
    <p:sldLayoutId id="2147488266" r:id="rId68"/>
    <p:sldLayoutId id="2147488267" r:id="rId69"/>
    <p:sldLayoutId id="2147488268" r:id="rId70"/>
    <p:sldLayoutId id="2147488269" r:id="rId7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err="1"/>
              <a:t>Snímek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50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5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  <p:sldLayoutId id="2147483862" r:id="rId36"/>
    <p:sldLayoutId id="2147483863" r:id="rId37"/>
    <p:sldLayoutId id="2147483864" r:id="rId38"/>
    <p:sldLayoutId id="2147483865" r:id="rId39"/>
    <p:sldLayoutId id="2147483866" r:id="rId40"/>
    <p:sldLayoutId id="2147483867" r:id="rId41"/>
    <p:sldLayoutId id="2147483868" r:id="rId42"/>
    <p:sldLayoutId id="2147483869" r:id="rId43"/>
    <p:sldLayoutId id="2147483870" r:id="rId44"/>
    <p:sldLayoutId id="2147483871" r:id="rId45"/>
    <p:sldLayoutId id="2147483872" r:id="rId46"/>
    <p:sldLayoutId id="2147483873" r:id="rId47"/>
    <p:sldLayoutId id="2147483874" r:id="rId48"/>
    <p:sldLayoutId id="2147483875" r:id="rId49"/>
    <p:sldLayoutId id="2147483876" r:id="rId50"/>
    <p:sldLayoutId id="2147483877" r:id="rId51"/>
    <p:sldLayoutId id="2147483878" r:id="rId52"/>
    <p:sldLayoutId id="2147483879" r:id="rId53"/>
    <p:sldLayoutId id="2147483880" r:id="rId54"/>
    <p:sldLayoutId id="2147483881" r:id="rId55"/>
    <p:sldLayoutId id="2147483882" r:id="rId56"/>
    <p:sldLayoutId id="2147483883" r:id="rId57"/>
    <p:sldLayoutId id="2147483884" r:id="rId58"/>
    <p:sldLayoutId id="2147483885" r:id="rId59"/>
    <p:sldLayoutId id="2147483886" r:id="rId60"/>
    <p:sldLayoutId id="2147483887" r:id="rId61"/>
    <p:sldLayoutId id="2147483888" r:id="rId62"/>
    <p:sldLayoutId id="2147483889" r:id="rId63"/>
    <p:sldLayoutId id="2147483890" r:id="rId64"/>
    <p:sldLayoutId id="2147483891" r:id="rId65"/>
    <p:sldLayoutId id="2147483892" r:id="rId66"/>
    <p:sldLayoutId id="2147483893" r:id="rId67"/>
    <p:sldLayoutId id="2147483894" r:id="rId68"/>
    <p:sldLayoutId id="2147483895" r:id="rId69"/>
    <p:sldLayoutId id="2147483896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6BA76AF-FD1A-7256-34AD-510F30AA5E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462875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3" imgW="344" imgH="345" progId="TCLayout.ActiveDocument.1">
                  <p:embed/>
                </p:oleObj>
              </mc:Choice>
              <mc:Fallback>
                <p:oleObj name="think-cell Folie" r:id="rId73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BA76AF-FD1A-7256-34AD-510F30AA5E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878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5" r:id="rId1"/>
    <p:sldLayoutId id="2147485496" r:id="rId2"/>
    <p:sldLayoutId id="2147485497" r:id="rId3"/>
    <p:sldLayoutId id="2147485498" r:id="rId4"/>
    <p:sldLayoutId id="2147485499" r:id="rId5"/>
    <p:sldLayoutId id="2147485500" r:id="rId6"/>
    <p:sldLayoutId id="2147485501" r:id="rId7"/>
    <p:sldLayoutId id="2147485502" r:id="rId8"/>
    <p:sldLayoutId id="2147485503" r:id="rId9"/>
    <p:sldLayoutId id="2147485504" r:id="rId10"/>
    <p:sldLayoutId id="2147485505" r:id="rId11"/>
    <p:sldLayoutId id="2147485506" r:id="rId12"/>
    <p:sldLayoutId id="2147485507" r:id="rId13"/>
    <p:sldLayoutId id="2147485508" r:id="rId14"/>
    <p:sldLayoutId id="2147485509" r:id="rId15"/>
    <p:sldLayoutId id="2147485510" r:id="rId16"/>
    <p:sldLayoutId id="2147485511" r:id="rId17"/>
    <p:sldLayoutId id="2147485512" r:id="rId18"/>
    <p:sldLayoutId id="2147485513" r:id="rId19"/>
    <p:sldLayoutId id="2147485514" r:id="rId20"/>
    <p:sldLayoutId id="2147485515" r:id="rId21"/>
    <p:sldLayoutId id="2147485516" r:id="rId22"/>
    <p:sldLayoutId id="2147485517" r:id="rId23"/>
    <p:sldLayoutId id="2147485518" r:id="rId24"/>
    <p:sldLayoutId id="2147485519" r:id="rId25"/>
    <p:sldLayoutId id="2147485520" r:id="rId26"/>
    <p:sldLayoutId id="2147485521" r:id="rId27"/>
    <p:sldLayoutId id="2147485522" r:id="rId28"/>
    <p:sldLayoutId id="2147485523" r:id="rId29"/>
    <p:sldLayoutId id="2147485524" r:id="rId30"/>
    <p:sldLayoutId id="2147485525" r:id="rId31"/>
    <p:sldLayoutId id="2147485526" r:id="rId32"/>
    <p:sldLayoutId id="2147485527" r:id="rId33"/>
    <p:sldLayoutId id="2147485528" r:id="rId34"/>
    <p:sldLayoutId id="2147485529" r:id="rId35"/>
    <p:sldLayoutId id="2147485530" r:id="rId36"/>
    <p:sldLayoutId id="2147485531" r:id="rId37"/>
    <p:sldLayoutId id="2147485532" r:id="rId38"/>
    <p:sldLayoutId id="2147485533" r:id="rId39"/>
    <p:sldLayoutId id="2147485534" r:id="rId40"/>
    <p:sldLayoutId id="2147485535" r:id="rId41"/>
    <p:sldLayoutId id="2147485536" r:id="rId42"/>
    <p:sldLayoutId id="2147485537" r:id="rId43"/>
    <p:sldLayoutId id="2147485538" r:id="rId44"/>
    <p:sldLayoutId id="2147485539" r:id="rId45"/>
    <p:sldLayoutId id="2147485540" r:id="rId46"/>
    <p:sldLayoutId id="2147485541" r:id="rId47"/>
    <p:sldLayoutId id="2147485542" r:id="rId48"/>
    <p:sldLayoutId id="2147485543" r:id="rId49"/>
    <p:sldLayoutId id="2147485544" r:id="rId50"/>
    <p:sldLayoutId id="2147485545" r:id="rId51"/>
    <p:sldLayoutId id="2147485546" r:id="rId52"/>
    <p:sldLayoutId id="2147485547" r:id="rId53"/>
    <p:sldLayoutId id="2147485548" r:id="rId54"/>
    <p:sldLayoutId id="2147485549" r:id="rId55"/>
    <p:sldLayoutId id="2147485550" r:id="rId56"/>
    <p:sldLayoutId id="2147485551" r:id="rId57"/>
    <p:sldLayoutId id="2147485552" r:id="rId58"/>
    <p:sldLayoutId id="2147485553" r:id="rId59"/>
    <p:sldLayoutId id="2147485554" r:id="rId60"/>
    <p:sldLayoutId id="2147485555" r:id="rId61"/>
    <p:sldLayoutId id="2147485556" r:id="rId62"/>
    <p:sldLayoutId id="2147485557" r:id="rId63"/>
    <p:sldLayoutId id="2147485558" r:id="rId64"/>
    <p:sldLayoutId id="2147485559" r:id="rId65"/>
    <p:sldLayoutId id="2147485560" r:id="rId66"/>
    <p:sldLayoutId id="2147485561" r:id="rId67"/>
    <p:sldLayoutId id="2147485562" r:id="rId68"/>
    <p:sldLayoutId id="2147485563" r:id="rId69"/>
    <p:sldLayoutId id="2147485564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Restricted | © Siemens 2025 | Communications | 2025-17-01</a:t>
            </a:r>
            <a:endParaRPr lang="en-US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441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9" r:id="rId1"/>
    <p:sldLayoutId id="2147486200" r:id="rId2"/>
    <p:sldLayoutId id="2147486201" r:id="rId3"/>
    <p:sldLayoutId id="2147486202" r:id="rId4"/>
    <p:sldLayoutId id="2147486203" r:id="rId5"/>
    <p:sldLayoutId id="2147486204" r:id="rId6"/>
    <p:sldLayoutId id="2147486205" r:id="rId7"/>
    <p:sldLayoutId id="2147486206" r:id="rId8"/>
    <p:sldLayoutId id="2147486207" r:id="rId9"/>
    <p:sldLayoutId id="2147486208" r:id="rId10"/>
    <p:sldLayoutId id="2147486209" r:id="rId11"/>
    <p:sldLayoutId id="2147486210" r:id="rId12"/>
    <p:sldLayoutId id="2147486211" r:id="rId13"/>
    <p:sldLayoutId id="2147486212" r:id="rId14"/>
    <p:sldLayoutId id="2147486213" r:id="rId15"/>
    <p:sldLayoutId id="2147486214" r:id="rId16"/>
    <p:sldLayoutId id="2147486215" r:id="rId17"/>
    <p:sldLayoutId id="2147486216" r:id="rId18"/>
    <p:sldLayoutId id="2147486217" r:id="rId19"/>
    <p:sldLayoutId id="2147486218" r:id="rId20"/>
    <p:sldLayoutId id="2147486219" r:id="rId21"/>
    <p:sldLayoutId id="2147486220" r:id="rId22"/>
    <p:sldLayoutId id="2147486221" r:id="rId23"/>
    <p:sldLayoutId id="2147486222" r:id="rId24"/>
    <p:sldLayoutId id="2147486223" r:id="rId25"/>
    <p:sldLayoutId id="2147486224" r:id="rId26"/>
    <p:sldLayoutId id="2147486225" r:id="rId27"/>
    <p:sldLayoutId id="2147486226" r:id="rId28"/>
    <p:sldLayoutId id="2147486227" r:id="rId29"/>
    <p:sldLayoutId id="2147486228" r:id="rId30"/>
    <p:sldLayoutId id="2147486229" r:id="rId31"/>
    <p:sldLayoutId id="2147486230" r:id="rId32"/>
    <p:sldLayoutId id="2147486231" r:id="rId33"/>
    <p:sldLayoutId id="2147486232" r:id="rId34"/>
    <p:sldLayoutId id="2147486233" r:id="rId35"/>
    <p:sldLayoutId id="2147486234" r:id="rId36"/>
    <p:sldLayoutId id="2147486235" r:id="rId37"/>
    <p:sldLayoutId id="2147486236" r:id="rId38"/>
    <p:sldLayoutId id="2147486237" r:id="rId39"/>
    <p:sldLayoutId id="2147486238" r:id="rId40"/>
    <p:sldLayoutId id="2147486239" r:id="rId41"/>
    <p:sldLayoutId id="2147486240" r:id="rId42"/>
    <p:sldLayoutId id="2147486241" r:id="rId43"/>
    <p:sldLayoutId id="2147486242" r:id="rId44"/>
    <p:sldLayoutId id="2147486243" r:id="rId45"/>
    <p:sldLayoutId id="2147486244" r:id="rId46"/>
    <p:sldLayoutId id="2147486245" r:id="rId47"/>
    <p:sldLayoutId id="2147486246" r:id="rId48"/>
    <p:sldLayoutId id="2147486247" r:id="rId49"/>
    <p:sldLayoutId id="2147486248" r:id="rId50"/>
    <p:sldLayoutId id="2147486249" r:id="rId51"/>
    <p:sldLayoutId id="2147486250" r:id="rId52"/>
    <p:sldLayoutId id="2147486251" r:id="rId53"/>
    <p:sldLayoutId id="2147486252" r:id="rId54"/>
    <p:sldLayoutId id="2147486253" r:id="rId55"/>
    <p:sldLayoutId id="2147486254" r:id="rId56"/>
    <p:sldLayoutId id="2147486255" r:id="rId57"/>
    <p:sldLayoutId id="2147486256" r:id="rId58"/>
    <p:sldLayoutId id="2147486257" r:id="rId59"/>
    <p:sldLayoutId id="2147486258" r:id="rId60"/>
    <p:sldLayoutId id="2147486259" r:id="rId61"/>
    <p:sldLayoutId id="2147486260" r:id="rId62"/>
    <p:sldLayoutId id="2147486261" r:id="rId63"/>
    <p:sldLayoutId id="2147486262" r:id="rId64"/>
    <p:sldLayoutId id="2147486263" r:id="rId65"/>
    <p:sldLayoutId id="2147486264" r:id="rId66"/>
    <p:sldLayoutId id="2147486265" r:id="rId67"/>
    <p:sldLayoutId id="2147486266" r:id="rId68"/>
    <p:sldLayoutId id="2147486267" r:id="rId69"/>
    <p:sldLayoutId id="2147486268" r:id="rId70"/>
    <p:sldLayoutId id="2147486269" r:id="rId7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F8C6417-6689-06B5-233A-EC3B3B8827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2385239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350" imgH="350" progId="TCLayout.ActiveDocument.1">
                  <p:embed/>
                </p:oleObj>
              </mc:Choice>
              <mc:Fallback>
                <p:oleObj name="think-cell Slide" r:id="rId75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C6417-6689-06B5-233A-EC3B3B8827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Siemens Smart Infrastructure | Building X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320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4" r:id="rId1"/>
    <p:sldLayoutId id="2147486335" r:id="rId2"/>
    <p:sldLayoutId id="2147486336" r:id="rId3"/>
    <p:sldLayoutId id="2147486337" r:id="rId4"/>
    <p:sldLayoutId id="2147486338" r:id="rId5"/>
    <p:sldLayoutId id="2147486339" r:id="rId6"/>
    <p:sldLayoutId id="2147486340" r:id="rId7"/>
    <p:sldLayoutId id="2147486341" r:id="rId8"/>
    <p:sldLayoutId id="2147486342" r:id="rId9"/>
    <p:sldLayoutId id="2147486343" r:id="rId10"/>
    <p:sldLayoutId id="2147486344" r:id="rId11"/>
    <p:sldLayoutId id="2147486345" r:id="rId12"/>
    <p:sldLayoutId id="2147486346" r:id="rId13"/>
    <p:sldLayoutId id="2147486347" r:id="rId14"/>
    <p:sldLayoutId id="2147486348" r:id="rId15"/>
    <p:sldLayoutId id="2147486349" r:id="rId16"/>
    <p:sldLayoutId id="2147486350" r:id="rId17"/>
    <p:sldLayoutId id="2147486351" r:id="rId18"/>
    <p:sldLayoutId id="2147486352" r:id="rId19"/>
    <p:sldLayoutId id="2147486353" r:id="rId20"/>
    <p:sldLayoutId id="2147486354" r:id="rId21"/>
    <p:sldLayoutId id="2147486355" r:id="rId22"/>
    <p:sldLayoutId id="2147486356" r:id="rId23"/>
    <p:sldLayoutId id="2147486357" r:id="rId24"/>
    <p:sldLayoutId id="2147486358" r:id="rId25"/>
    <p:sldLayoutId id="2147486359" r:id="rId26"/>
    <p:sldLayoutId id="2147486360" r:id="rId27"/>
    <p:sldLayoutId id="2147486361" r:id="rId28"/>
    <p:sldLayoutId id="2147486362" r:id="rId29"/>
    <p:sldLayoutId id="2147486363" r:id="rId30"/>
    <p:sldLayoutId id="2147486364" r:id="rId31"/>
    <p:sldLayoutId id="2147486365" r:id="rId32"/>
    <p:sldLayoutId id="2147486366" r:id="rId33"/>
    <p:sldLayoutId id="2147486367" r:id="rId34"/>
    <p:sldLayoutId id="2147486368" r:id="rId35"/>
    <p:sldLayoutId id="2147486369" r:id="rId36"/>
    <p:sldLayoutId id="2147486370" r:id="rId37"/>
    <p:sldLayoutId id="2147486371" r:id="rId38"/>
    <p:sldLayoutId id="2147486372" r:id="rId39"/>
    <p:sldLayoutId id="2147486373" r:id="rId40"/>
    <p:sldLayoutId id="2147486374" r:id="rId41"/>
    <p:sldLayoutId id="2147486375" r:id="rId42"/>
    <p:sldLayoutId id="2147486376" r:id="rId43"/>
    <p:sldLayoutId id="2147486377" r:id="rId44"/>
    <p:sldLayoutId id="2147486378" r:id="rId45"/>
    <p:sldLayoutId id="2147486379" r:id="rId46"/>
    <p:sldLayoutId id="2147486380" r:id="rId47"/>
    <p:sldLayoutId id="2147486381" r:id="rId48"/>
    <p:sldLayoutId id="2147486382" r:id="rId49"/>
    <p:sldLayoutId id="2147486383" r:id="rId50"/>
    <p:sldLayoutId id="2147486384" r:id="rId51"/>
    <p:sldLayoutId id="2147486385" r:id="rId52"/>
    <p:sldLayoutId id="2147486386" r:id="rId53"/>
    <p:sldLayoutId id="2147486387" r:id="rId54"/>
    <p:sldLayoutId id="2147486388" r:id="rId55"/>
    <p:sldLayoutId id="2147486389" r:id="rId56"/>
    <p:sldLayoutId id="2147486390" r:id="rId57"/>
    <p:sldLayoutId id="2147486391" r:id="rId58"/>
    <p:sldLayoutId id="2147486392" r:id="rId59"/>
    <p:sldLayoutId id="2147486393" r:id="rId60"/>
    <p:sldLayoutId id="2147486394" r:id="rId61"/>
    <p:sldLayoutId id="2147486395" r:id="rId62"/>
    <p:sldLayoutId id="2147486396" r:id="rId63"/>
    <p:sldLayoutId id="2147486397" r:id="rId64"/>
    <p:sldLayoutId id="2147486398" r:id="rId65"/>
    <p:sldLayoutId id="2147486399" r:id="rId66"/>
    <p:sldLayoutId id="2147486400" r:id="rId67"/>
    <p:sldLayoutId id="2147486401" r:id="rId68"/>
    <p:sldLayoutId id="2147486402" r:id="rId69"/>
    <p:sldLayoutId id="2147486403" r:id="rId70"/>
    <p:sldLayoutId id="2147486404" r:id="rId71"/>
    <p:sldLayoutId id="2147486405" r:id="rId7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56C362-9B73-ED3A-A5AA-9F58E1BE2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012973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484" imgH="486" progId="TCLayout.ActiveDocument.1">
                  <p:embed/>
                </p:oleObj>
              </mc:Choice>
              <mc:Fallback>
                <p:oleObj name="think-cell Slide" r:id="rId7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56C362-9B73-ED3A-A5AA-9F58E1BE2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14435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38" r:id="rId1"/>
    <p:sldLayoutId id="2147486539" r:id="rId2"/>
    <p:sldLayoutId id="2147486540" r:id="rId3"/>
    <p:sldLayoutId id="2147486541" r:id="rId4"/>
    <p:sldLayoutId id="2147486542" r:id="rId5"/>
    <p:sldLayoutId id="2147486543" r:id="rId6"/>
    <p:sldLayoutId id="2147486544" r:id="rId7"/>
    <p:sldLayoutId id="2147486545" r:id="rId8"/>
    <p:sldLayoutId id="2147486546" r:id="rId9"/>
    <p:sldLayoutId id="2147486547" r:id="rId10"/>
    <p:sldLayoutId id="2147486548" r:id="rId11"/>
    <p:sldLayoutId id="2147486549" r:id="rId12"/>
    <p:sldLayoutId id="2147486550" r:id="rId13"/>
    <p:sldLayoutId id="2147486551" r:id="rId14"/>
    <p:sldLayoutId id="2147486552" r:id="rId15"/>
    <p:sldLayoutId id="2147486553" r:id="rId16"/>
    <p:sldLayoutId id="2147486554" r:id="rId17"/>
    <p:sldLayoutId id="2147486555" r:id="rId18"/>
    <p:sldLayoutId id="2147486556" r:id="rId19"/>
    <p:sldLayoutId id="2147486557" r:id="rId20"/>
    <p:sldLayoutId id="2147486558" r:id="rId21"/>
    <p:sldLayoutId id="2147486559" r:id="rId22"/>
    <p:sldLayoutId id="2147486560" r:id="rId23"/>
    <p:sldLayoutId id="2147486561" r:id="rId24"/>
    <p:sldLayoutId id="2147486562" r:id="rId25"/>
    <p:sldLayoutId id="2147486563" r:id="rId26"/>
    <p:sldLayoutId id="2147486564" r:id="rId27"/>
    <p:sldLayoutId id="2147486565" r:id="rId28"/>
    <p:sldLayoutId id="2147486566" r:id="rId29"/>
    <p:sldLayoutId id="2147486567" r:id="rId30"/>
    <p:sldLayoutId id="2147486568" r:id="rId31"/>
    <p:sldLayoutId id="2147486569" r:id="rId32"/>
    <p:sldLayoutId id="2147486570" r:id="rId33"/>
    <p:sldLayoutId id="2147486571" r:id="rId34"/>
    <p:sldLayoutId id="2147486572" r:id="rId35"/>
    <p:sldLayoutId id="2147486573" r:id="rId36"/>
    <p:sldLayoutId id="2147486574" r:id="rId37"/>
    <p:sldLayoutId id="2147486575" r:id="rId38"/>
    <p:sldLayoutId id="2147486576" r:id="rId39"/>
    <p:sldLayoutId id="2147486577" r:id="rId40"/>
    <p:sldLayoutId id="2147486578" r:id="rId41"/>
    <p:sldLayoutId id="2147486579" r:id="rId42"/>
    <p:sldLayoutId id="2147486580" r:id="rId43"/>
    <p:sldLayoutId id="2147486581" r:id="rId44"/>
    <p:sldLayoutId id="2147486582" r:id="rId45"/>
    <p:sldLayoutId id="2147486583" r:id="rId46"/>
    <p:sldLayoutId id="2147486584" r:id="rId47"/>
    <p:sldLayoutId id="2147486585" r:id="rId48"/>
    <p:sldLayoutId id="2147486586" r:id="rId49"/>
    <p:sldLayoutId id="2147486587" r:id="rId50"/>
    <p:sldLayoutId id="2147486588" r:id="rId51"/>
    <p:sldLayoutId id="2147486589" r:id="rId52"/>
    <p:sldLayoutId id="2147486590" r:id="rId53"/>
    <p:sldLayoutId id="2147486591" r:id="rId54"/>
    <p:sldLayoutId id="2147486592" r:id="rId55"/>
    <p:sldLayoutId id="2147486593" r:id="rId56"/>
    <p:sldLayoutId id="2147486594" r:id="rId57"/>
    <p:sldLayoutId id="2147486595" r:id="rId58"/>
    <p:sldLayoutId id="2147486596" r:id="rId59"/>
    <p:sldLayoutId id="2147486597" r:id="rId60"/>
    <p:sldLayoutId id="2147486598" r:id="rId61"/>
    <p:sldLayoutId id="2147486599" r:id="rId62"/>
    <p:sldLayoutId id="2147486600" r:id="rId63"/>
    <p:sldLayoutId id="2147486601" r:id="rId64"/>
    <p:sldLayoutId id="2147486602" r:id="rId65"/>
    <p:sldLayoutId id="2147486603" r:id="rId66"/>
    <p:sldLayoutId id="2147486604" r:id="rId67"/>
    <p:sldLayoutId id="2147486605" r:id="rId68"/>
    <p:sldLayoutId id="2147486606" r:id="rId69"/>
    <p:sldLayoutId id="2147486607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47EB34B-1DB8-8730-BA4B-C82C61A0CA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1758355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4" imgW="306" imgH="306" progId="TCLayout.ActiveDocument.1">
                  <p:embed/>
                </p:oleObj>
              </mc:Choice>
              <mc:Fallback>
                <p:oleObj name="think-cell Folie" r:id="rId8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7EB34B-1DB8-8730-BA4B-C82C61A0CA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67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10" r:id="rId1"/>
    <p:sldLayoutId id="2147486611" r:id="rId2"/>
    <p:sldLayoutId id="2147486612" r:id="rId3"/>
    <p:sldLayoutId id="2147486613" r:id="rId4"/>
    <p:sldLayoutId id="2147486614" r:id="rId5"/>
    <p:sldLayoutId id="2147486615" r:id="rId6"/>
    <p:sldLayoutId id="2147486616" r:id="rId7"/>
    <p:sldLayoutId id="2147486617" r:id="rId8"/>
    <p:sldLayoutId id="2147486618" r:id="rId9"/>
    <p:sldLayoutId id="2147486619" r:id="rId10"/>
    <p:sldLayoutId id="2147486620" r:id="rId11"/>
    <p:sldLayoutId id="2147486621" r:id="rId12"/>
    <p:sldLayoutId id="2147486622" r:id="rId13"/>
    <p:sldLayoutId id="2147486623" r:id="rId14"/>
    <p:sldLayoutId id="2147486624" r:id="rId15"/>
    <p:sldLayoutId id="2147486625" r:id="rId16"/>
    <p:sldLayoutId id="2147486626" r:id="rId17"/>
    <p:sldLayoutId id="2147486627" r:id="rId18"/>
    <p:sldLayoutId id="2147486628" r:id="rId19"/>
    <p:sldLayoutId id="2147486629" r:id="rId20"/>
    <p:sldLayoutId id="2147486630" r:id="rId21"/>
    <p:sldLayoutId id="2147486631" r:id="rId22"/>
    <p:sldLayoutId id="2147486632" r:id="rId23"/>
    <p:sldLayoutId id="2147486633" r:id="rId24"/>
    <p:sldLayoutId id="2147486634" r:id="rId25"/>
    <p:sldLayoutId id="2147486635" r:id="rId26"/>
    <p:sldLayoutId id="2147486636" r:id="rId27"/>
    <p:sldLayoutId id="2147486637" r:id="rId28"/>
    <p:sldLayoutId id="2147486638" r:id="rId29"/>
    <p:sldLayoutId id="2147486639" r:id="rId30"/>
    <p:sldLayoutId id="2147486640" r:id="rId31"/>
    <p:sldLayoutId id="2147486641" r:id="rId32"/>
    <p:sldLayoutId id="2147486642" r:id="rId33"/>
    <p:sldLayoutId id="2147486643" r:id="rId34"/>
    <p:sldLayoutId id="2147486644" r:id="rId35"/>
    <p:sldLayoutId id="2147486645" r:id="rId36"/>
    <p:sldLayoutId id="2147486646" r:id="rId37"/>
    <p:sldLayoutId id="2147486647" r:id="rId38"/>
    <p:sldLayoutId id="2147486648" r:id="rId39"/>
    <p:sldLayoutId id="2147486649" r:id="rId40"/>
    <p:sldLayoutId id="2147486650" r:id="rId41"/>
    <p:sldLayoutId id="2147486651" r:id="rId42"/>
    <p:sldLayoutId id="2147486652" r:id="rId43"/>
    <p:sldLayoutId id="2147486653" r:id="rId44"/>
    <p:sldLayoutId id="2147486654" r:id="rId45"/>
    <p:sldLayoutId id="2147486655" r:id="rId46"/>
    <p:sldLayoutId id="2147486656" r:id="rId47"/>
    <p:sldLayoutId id="2147486657" r:id="rId48"/>
    <p:sldLayoutId id="2147486658" r:id="rId49"/>
    <p:sldLayoutId id="2147486659" r:id="rId50"/>
    <p:sldLayoutId id="2147486660" r:id="rId51"/>
    <p:sldLayoutId id="2147486661" r:id="rId52"/>
    <p:sldLayoutId id="2147486662" r:id="rId53"/>
    <p:sldLayoutId id="2147486663" r:id="rId54"/>
    <p:sldLayoutId id="2147486664" r:id="rId55"/>
    <p:sldLayoutId id="2147486665" r:id="rId56"/>
    <p:sldLayoutId id="2147486666" r:id="rId57"/>
    <p:sldLayoutId id="2147486667" r:id="rId58"/>
    <p:sldLayoutId id="2147486668" r:id="rId59"/>
    <p:sldLayoutId id="2147486669" r:id="rId60"/>
    <p:sldLayoutId id="2147486670" r:id="rId61"/>
    <p:sldLayoutId id="2147486671" r:id="rId62"/>
    <p:sldLayoutId id="2147486672" r:id="rId63"/>
    <p:sldLayoutId id="2147486673" r:id="rId64"/>
    <p:sldLayoutId id="2147486674" r:id="rId65"/>
    <p:sldLayoutId id="2147486675" r:id="rId66"/>
    <p:sldLayoutId id="2147486676" r:id="rId67"/>
    <p:sldLayoutId id="2147486677" r:id="rId68"/>
    <p:sldLayoutId id="2147486678" r:id="rId69"/>
    <p:sldLayoutId id="2147486679" r:id="rId70"/>
    <p:sldLayoutId id="2147486680" r:id="rId71"/>
    <p:sldLayoutId id="2147486681" r:id="rId72"/>
    <p:sldLayoutId id="2147486682" r:id="rId73"/>
    <p:sldLayoutId id="2147486683" r:id="rId74"/>
    <p:sldLayoutId id="2147486684" r:id="rId75"/>
    <p:sldLayoutId id="2147486685" r:id="rId76"/>
    <p:sldLayoutId id="2147486686" r:id="rId77"/>
    <p:sldLayoutId id="2147486687" r:id="rId78"/>
    <p:sldLayoutId id="2147486688" r:id="rId79"/>
    <p:sldLayoutId id="2147486689" r:id="rId80"/>
    <p:sldLayoutId id="2147488271" r:id="rId8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© Siemens 2023 | Smart Infrastructure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52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91" r:id="rId1"/>
    <p:sldLayoutId id="2147486692" r:id="rId2"/>
    <p:sldLayoutId id="2147486693" r:id="rId3"/>
    <p:sldLayoutId id="2147486694" r:id="rId4"/>
    <p:sldLayoutId id="2147486695" r:id="rId5"/>
    <p:sldLayoutId id="2147486696" r:id="rId6"/>
    <p:sldLayoutId id="2147486697" r:id="rId7"/>
    <p:sldLayoutId id="2147486698" r:id="rId8"/>
    <p:sldLayoutId id="2147486699" r:id="rId9"/>
    <p:sldLayoutId id="2147486700" r:id="rId10"/>
    <p:sldLayoutId id="2147486701" r:id="rId11"/>
    <p:sldLayoutId id="2147486702" r:id="rId12"/>
    <p:sldLayoutId id="2147486703" r:id="rId13"/>
    <p:sldLayoutId id="2147486704" r:id="rId14"/>
    <p:sldLayoutId id="2147486705" r:id="rId15"/>
    <p:sldLayoutId id="2147486706" r:id="rId16"/>
    <p:sldLayoutId id="2147486707" r:id="rId17"/>
    <p:sldLayoutId id="2147486708" r:id="rId18"/>
    <p:sldLayoutId id="2147486709" r:id="rId19"/>
    <p:sldLayoutId id="2147486710" r:id="rId20"/>
    <p:sldLayoutId id="2147486711" r:id="rId21"/>
    <p:sldLayoutId id="2147486712" r:id="rId22"/>
    <p:sldLayoutId id="2147486713" r:id="rId23"/>
    <p:sldLayoutId id="2147486714" r:id="rId24"/>
    <p:sldLayoutId id="2147486715" r:id="rId25"/>
    <p:sldLayoutId id="2147486716" r:id="rId26"/>
    <p:sldLayoutId id="2147486717" r:id="rId27"/>
    <p:sldLayoutId id="2147486718" r:id="rId28"/>
    <p:sldLayoutId id="2147486719" r:id="rId29"/>
    <p:sldLayoutId id="2147486720" r:id="rId30"/>
    <p:sldLayoutId id="2147486721" r:id="rId31"/>
    <p:sldLayoutId id="2147486722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09.xml"/><Relationship Id="rId1" Type="http://schemas.openxmlformats.org/officeDocument/2006/relationships/tags" Target="../tags/tag16.xml"/><Relationship Id="rId6" Type="http://schemas.openxmlformats.org/officeDocument/2006/relationships/image" Target="../media/image98.png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8.png"/><Relationship Id="rId12" Type="http://schemas.openxmlformats.org/officeDocument/2006/relationships/image" Target="../media/image124.pn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5.xml"/><Relationship Id="rId6" Type="http://schemas.openxmlformats.org/officeDocument/2006/relationships/image" Target="../media/image84.emf"/><Relationship Id="rId11" Type="http://schemas.openxmlformats.org/officeDocument/2006/relationships/image" Target="../media/image123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21.png"/><Relationship Id="rId4" Type="http://schemas.openxmlformats.org/officeDocument/2006/relationships/image" Target="../media/image117.png"/><Relationship Id="rId9" Type="http://schemas.openxmlformats.org/officeDocument/2006/relationships/image" Target="../media/image1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6.xml"/><Relationship Id="rId6" Type="http://schemas.openxmlformats.org/officeDocument/2006/relationships/image" Target="../media/image125.png"/><Relationship Id="rId5" Type="http://schemas.openxmlformats.org/officeDocument/2006/relationships/image" Target="../media/image84.emf"/><Relationship Id="rId4" Type="http://schemas.openxmlformats.org/officeDocument/2006/relationships/oleObject" Target="../embeddings/oleObject18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6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18.png"/><Relationship Id="rId12" Type="http://schemas.openxmlformats.org/officeDocument/2006/relationships/image" Target="../media/image124.pn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7.xml"/><Relationship Id="rId6" Type="http://schemas.openxmlformats.org/officeDocument/2006/relationships/image" Target="../media/image84.emf"/><Relationship Id="rId11" Type="http://schemas.openxmlformats.org/officeDocument/2006/relationships/image" Target="../media/image123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21.png"/><Relationship Id="rId4" Type="http://schemas.openxmlformats.org/officeDocument/2006/relationships/image" Target="../media/image117.png"/><Relationship Id="rId9" Type="http://schemas.openxmlformats.org/officeDocument/2006/relationships/image" Target="../media/image1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8.xml"/><Relationship Id="rId6" Type="http://schemas.openxmlformats.org/officeDocument/2006/relationships/image" Target="../media/image127.png"/><Relationship Id="rId5" Type="http://schemas.openxmlformats.org/officeDocument/2006/relationships/image" Target="../media/image84.emf"/><Relationship Id="rId4" Type="http://schemas.openxmlformats.org/officeDocument/2006/relationships/oleObject" Target="../embeddings/oleObject1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9.xml"/><Relationship Id="rId6" Type="http://schemas.openxmlformats.org/officeDocument/2006/relationships/image" Target="../media/image128.png"/><Relationship Id="rId5" Type="http://schemas.openxmlformats.org/officeDocument/2006/relationships/image" Target="../media/image84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30.xml"/><Relationship Id="rId6" Type="http://schemas.openxmlformats.org/officeDocument/2006/relationships/image" Target="../media/image120.png"/><Relationship Id="rId5" Type="http://schemas.openxmlformats.org/officeDocument/2006/relationships/image" Target="../media/image84.emf"/><Relationship Id="rId4" Type="http://schemas.openxmlformats.org/officeDocument/2006/relationships/oleObject" Target="../embeddings/oleObject18.bin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30.png"/><Relationship Id="rId2" Type="http://schemas.openxmlformats.org/officeDocument/2006/relationships/slideLayout" Target="../slideLayouts/slideLayout688.xml"/><Relationship Id="rId1" Type="http://schemas.openxmlformats.org/officeDocument/2006/relationships/tags" Target="../tags/tag31.xml"/><Relationship Id="rId6" Type="http://schemas.openxmlformats.org/officeDocument/2006/relationships/image" Target="../media/image129.jpeg"/><Relationship Id="rId5" Type="http://schemas.openxmlformats.org/officeDocument/2006/relationships/image" Target="../media/image107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13" Type="http://schemas.openxmlformats.org/officeDocument/2006/relationships/image" Target="../media/image138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32.svg"/><Relationship Id="rId12" Type="http://schemas.openxmlformats.org/officeDocument/2006/relationships/image" Target="../media/image137.pn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32.xml"/><Relationship Id="rId6" Type="http://schemas.openxmlformats.org/officeDocument/2006/relationships/image" Target="../media/image131.png"/><Relationship Id="rId11" Type="http://schemas.openxmlformats.org/officeDocument/2006/relationships/image" Target="../media/image136.svg"/><Relationship Id="rId5" Type="http://schemas.openxmlformats.org/officeDocument/2006/relationships/image" Target="../media/image71.emf"/><Relationship Id="rId10" Type="http://schemas.openxmlformats.org/officeDocument/2006/relationships/image" Target="../media/image135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34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33.xml"/><Relationship Id="rId6" Type="http://schemas.openxmlformats.org/officeDocument/2006/relationships/image" Target="../media/image4.png"/><Relationship Id="rId5" Type="http://schemas.openxmlformats.org/officeDocument/2006/relationships/image" Target="../media/image140.png"/><Relationship Id="rId10" Type="http://schemas.openxmlformats.org/officeDocument/2006/relationships/image" Target="../media/image143.png"/><Relationship Id="rId4" Type="http://schemas.openxmlformats.org/officeDocument/2006/relationships/image" Target="../media/image139.emf"/><Relationship Id="rId9" Type="http://schemas.openxmlformats.org/officeDocument/2006/relationships/image" Target="../media/image14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svg"/><Relationship Id="rId13" Type="http://schemas.openxmlformats.org/officeDocument/2006/relationships/image" Target="../media/image151.png"/><Relationship Id="rId18" Type="http://schemas.openxmlformats.org/officeDocument/2006/relationships/image" Target="../media/image156.png"/><Relationship Id="rId3" Type="http://schemas.openxmlformats.org/officeDocument/2006/relationships/notesSlide" Target="../notesSlides/notesSlide16.xml"/><Relationship Id="rId21" Type="http://schemas.openxmlformats.org/officeDocument/2006/relationships/image" Target="../media/image159.svg"/><Relationship Id="rId7" Type="http://schemas.openxmlformats.org/officeDocument/2006/relationships/image" Target="../media/image145.png"/><Relationship Id="rId12" Type="http://schemas.openxmlformats.org/officeDocument/2006/relationships/image" Target="../media/image150.png"/><Relationship Id="rId17" Type="http://schemas.openxmlformats.org/officeDocument/2006/relationships/image" Target="../media/image155.png"/><Relationship Id="rId2" Type="http://schemas.openxmlformats.org/officeDocument/2006/relationships/slideLayout" Target="../slideLayouts/slideLayout658.xml"/><Relationship Id="rId16" Type="http://schemas.openxmlformats.org/officeDocument/2006/relationships/image" Target="../media/image154.png"/><Relationship Id="rId20" Type="http://schemas.openxmlformats.org/officeDocument/2006/relationships/image" Target="../media/image158.png"/><Relationship Id="rId1" Type="http://schemas.openxmlformats.org/officeDocument/2006/relationships/tags" Target="../tags/tag34.xml"/><Relationship Id="rId6" Type="http://schemas.openxmlformats.org/officeDocument/2006/relationships/image" Target="../media/image144.png"/><Relationship Id="rId11" Type="http://schemas.openxmlformats.org/officeDocument/2006/relationships/image" Target="../media/image149.png"/><Relationship Id="rId5" Type="http://schemas.openxmlformats.org/officeDocument/2006/relationships/image" Target="../media/image42.emf"/><Relationship Id="rId15" Type="http://schemas.openxmlformats.org/officeDocument/2006/relationships/image" Target="../media/image153.png"/><Relationship Id="rId10" Type="http://schemas.openxmlformats.org/officeDocument/2006/relationships/image" Target="../media/image148.png"/><Relationship Id="rId19" Type="http://schemas.openxmlformats.org/officeDocument/2006/relationships/image" Target="../media/image157.sv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47.jpeg"/><Relationship Id="rId14" Type="http://schemas.openxmlformats.org/officeDocument/2006/relationships/image" Target="../media/image15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2.jpe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17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Relationship Id="rId9" Type="http://schemas.openxmlformats.org/officeDocument/2006/relationships/image" Target="../media/image63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png"/><Relationship Id="rId13" Type="http://schemas.openxmlformats.org/officeDocument/2006/relationships/image" Target="../media/image169.png"/><Relationship Id="rId18" Type="http://schemas.openxmlformats.org/officeDocument/2006/relationships/image" Target="../media/image5.svg"/><Relationship Id="rId3" Type="http://schemas.openxmlformats.org/officeDocument/2006/relationships/image" Target="../media/image161.png"/><Relationship Id="rId7" Type="http://schemas.openxmlformats.org/officeDocument/2006/relationships/image" Target="../media/image165.png"/><Relationship Id="rId12" Type="http://schemas.openxmlformats.org/officeDocument/2006/relationships/image" Target="../media/image157.svg"/><Relationship Id="rId17" Type="http://schemas.openxmlformats.org/officeDocument/2006/relationships/image" Target="../media/image4.png"/><Relationship Id="rId2" Type="http://schemas.openxmlformats.org/officeDocument/2006/relationships/image" Target="../media/image160.png"/><Relationship Id="rId16" Type="http://schemas.openxmlformats.org/officeDocument/2006/relationships/image" Target="../media/image170.png"/><Relationship Id="rId20" Type="http://schemas.openxmlformats.org/officeDocument/2006/relationships/image" Target="../media/image155.png"/><Relationship Id="rId1" Type="http://schemas.openxmlformats.org/officeDocument/2006/relationships/slideLayout" Target="../slideLayouts/slideLayout935.xml"/><Relationship Id="rId6" Type="http://schemas.openxmlformats.org/officeDocument/2006/relationships/image" Target="../media/image164.svg"/><Relationship Id="rId11" Type="http://schemas.openxmlformats.org/officeDocument/2006/relationships/image" Target="../media/image156.png"/><Relationship Id="rId5" Type="http://schemas.openxmlformats.org/officeDocument/2006/relationships/image" Target="../media/image163.png"/><Relationship Id="rId15" Type="http://schemas.openxmlformats.org/officeDocument/2006/relationships/image" Target="../media/image159.svg"/><Relationship Id="rId10" Type="http://schemas.openxmlformats.org/officeDocument/2006/relationships/image" Target="../media/image168.png"/><Relationship Id="rId19" Type="http://schemas.openxmlformats.org/officeDocument/2006/relationships/image" Target="../media/image154.png"/><Relationship Id="rId4" Type="http://schemas.openxmlformats.org/officeDocument/2006/relationships/image" Target="../media/image162.png"/><Relationship Id="rId9" Type="http://schemas.openxmlformats.org/officeDocument/2006/relationships/image" Target="../media/image167.png"/><Relationship Id="rId14" Type="http://schemas.openxmlformats.org/officeDocument/2006/relationships/image" Target="../media/image15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iemens.com/cs-cz/products/desigo/" TargetMode="External"/><Relationship Id="rId3" Type="http://schemas.openxmlformats.org/officeDocument/2006/relationships/image" Target="../media/image171.png"/><Relationship Id="rId7" Type="http://schemas.openxmlformats.org/officeDocument/2006/relationships/image" Target="../media/image17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24.xml"/><Relationship Id="rId6" Type="http://schemas.openxmlformats.org/officeDocument/2006/relationships/hyperlink" Target="https://www.siemens.com/cs-cz/products/building-x/" TargetMode="External"/><Relationship Id="rId5" Type="http://schemas.openxmlformats.org/officeDocument/2006/relationships/image" Target="../media/image172.png"/><Relationship Id="rId4" Type="http://schemas.openxmlformats.org/officeDocument/2006/relationships/hyperlink" Target="https://www.siemens.com/cs-cz/products/building-services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6.jpe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18.xml"/><Relationship Id="rId6" Type="http://schemas.openxmlformats.org/officeDocument/2006/relationships/image" Target="../media/image105.jpeg"/><Relationship Id="rId5" Type="http://schemas.openxmlformats.org/officeDocument/2006/relationships/image" Target="../media/image104.jpeg"/><Relationship Id="rId4" Type="http://schemas.openxmlformats.org/officeDocument/2006/relationships/image" Target="../media/image103.jpeg"/><Relationship Id="rId9" Type="http://schemas.openxmlformats.org/officeDocument/2006/relationships/image" Target="../media/image6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88.xml"/><Relationship Id="rId1" Type="http://schemas.openxmlformats.org/officeDocument/2006/relationships/tags" Target="../tags/tag19.xml"/><Relationship Id="rId4" Type="http://schemas.openxmlformats.org/officeDocument/2006/relationships/image" Target="../media/image10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1.jpe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0.xml"/><Relationship Id="rId6" Type="http://schemas.openxmlformats.org/officeDocument/2006/relationships/image" Target="../media/image110.jpeg"/><Relationship Id="rId5" Type="http://schemas.openxmlformats.org/officeDocument/2006/relationships/image" Target="../media/image109.jpeg"/><Relationship Id="rId4" Type="http://schemas.openxmlformats.org/officeDocument/2006/relationships/image" Target="../media/image108.jpeg"/><Relationship Id="rId9" Type="http://schemas.openxmlformats.org/officeDocument/2006/relationships/image" Target="../media/image6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660.xml"/><Relationship Id="rId1" Type="http://schemas.openxmlformats.org/officeDocument/2006/relationships/tags" Target="../tags/tag21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6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15.pn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2.xml"/><Relationship Id="rId6" Type="http://schemas.openxmlformats.org/officeDocument/2006/relationships/image" Target="../media/image114.png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5.pn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3.xml"/><Relationship Id="rId6" Type="http://schemas.openxmlformats.org/officeDocument/2006/relationships/image" Target="../media/image114.png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8.png"/><Relationship Id="rId12" Type="http://schemas.openxmlformats.org/officeDocument/2006/relationships/image" Target="../media/image123.png"/><Relationship Id="rId2" Type="http://schemas.openxmlformats.org/officeDocument/2006/relationships/slideLayout" Target="../slideLayouts/slideLayout658.xml"/><Relationship Id="rId1" Type="http://schemas.openxmlformats.org/officeDocument/2006/relationships/tags" Target="../tags/tag24.xml"/><Relationship Id="rId6" Type="http://schemas.openxmlformats.org/officeDocument/2006/relationships/image" Target="../media/image84.emf"/><Relationship Id="rId11" Type="http://schemas.openxmlformats.org/officeDocument/2006/relationships/image" Target="../media/image122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21.png"/><Relationship Id="rId4" Type="http://schemas.openxmlformats.org/officeDocument/2006/relationships/image" Target="../media/image117.png"/><Relationship Id="rId9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ABF8ED-9DD1-C1DF-D28E-07C6F9CE5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ABF8ED-9DD1-C1DF-D28E-07C6F9CE5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D80CFAC-5BE7-C7B7-1C39-DFC0CB701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2337793"/>
            <a:ext cx="6074376" cy="1846659"/>
          </a:xfrm>
        </p:spPr>
        <p:txBody>
          <a:bodyPr vert="horz"/>
          <a:lstStyle/>
          <a:p>
            <a:r>
              <a:rPr lang="cs-CZ" b="1" dirty="0">
                <a:solidFill>
                  <a:srgbClr val="00FFB9"/>
                </a:solidFill>
              </a:rPr>
              <a:t>Škola a stavebnictví 4.0</a:t>
            </a:r>
            <a:endParaRPr lang="en-US" b="1" dirty="0">
              <a:solidFill>
                <a:srgbClr val="00FFB9"/>
              </a:solidFill>
            </a:endParaRP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94FEA07E-4E4F-56FC-B81B-586D22F64C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4" y="4184453"/>
            <a:ext cx="5009922" cy="1622622"/>
          </a:xfrm>
        </p:spPr>
        <p:txBody>
          <a:bodyPr/>
          <a:lstStyle/>
          <a:p>
            <a:r>
              <a:rPr lang="cs-CZ" sz="2000" dirty="0"/>
              <a:t>Digitální a datově řízený provoz, </a:t>
            </a:r>
          </a:p>
          <a:p>
            <a:r>
              <a:rPr lang="cs-CZ" sz="2000" dirty="0"/>
              <a:t>cesta k autonomním budovám</a:t>
            </a:r>
            <a:endParaRPr lang="en-US" sz="2000" dirty="0"/>
          </a:p>
        </p:txBody>
      </p:sp>
      <p:pic>
        <p:nvPicPr>
          <p:cNvPr id="2" name="Picture 6" descr="A person looking at a tree&#10;&#10;Description automatically generated">
            <a:extLst>
              <a:ext uri="{FF2B5EF4-FFF2-40B4-BE49-F238E27FC236}">
                <a16:creationId xmlns:a16="http://schemas.microsoft.com/office/drawing/2014/main" id="{EA939370-265D-F18F-18BF-2DE43E2168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81750" y="0"/>
            <a:ext cx="5810250" cy="594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2943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DBC6C8-3D2A-EC2E-3B58-730EF4E99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D04252DE-7F06-C25E-5D8F-EA9A1FC8FE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565" y="123811"/>
            <a:ext cx="5430913" cy="5261857"/>
          </a:xfrm>
          <a:prstGeom prst="rect">
            <a:avLst/>
          </a:prstGeom>
        </p:spPr>
      </p:pic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C2E434DD-8D0E-7FD3-7055-A0B02955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12" imgH="514" progId="TCLayout.ActiveDocument.1">
                  <p:embed/>
                </p:oleObj>
              </mc:Choice>
              <mc:Fallback>
                <p:oleObj name="think-cell Slide" r:id="rId5" imgW="512" imgH="51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E434DD-8D0E-7FD3-7055-A0B02955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A429EB-ED6A-387B-403A-8E644ACDE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66B8EF10-42F3-4443-1E8B-8F8BBC0B972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13000"/>
          </a:blip>
          <a:stretch>
            <a:fillRect/>
          </a:stretch>
        </p:blipFill>
        <p:spPr>
          <a:xfrm>
            <a:off x="6096000" y="201819"/>
            <a:ext cx="5883150" cy="2552921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CF8AF920-F6BB-50F8-6DA5-9CCF208A2EE1}"/>
              </a:ext>
            </a:extLst>
          </p:cNvPr>
          <p:cNvSpPr/>
          <p:nvPr/>
        </p:nvSpPr>
        <p:spPr>
          <a:xfrm>
            <a:off x="239012" y="4878706"/>
            <a:ext cx="5737860" cy="1129284"/>
          </a:xfrm>
          <a:prstGeom prst="rect">
            <a:avLst/>
          </a:prstGeom>
          <a:solidFill>
            <a:srgbClr val="000028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99DCEA7B-8472-9DB7-D88D-34DD356B4C23}"/>
              </a:ext>
            </a:extLst>
          </p:cNvPr>
          <p:cNvSpPr/>
          <p:nvPr/>
        </p:nvSpPr>
        <p:spPr>
          <a:xfrm>
            <a:off x="266190" y="194083"/>
            <a:ext cx="5737860" cy="983821"/>
          </a:xfrm>
          <a:prstGeom prst="rect">
            <a:avLst/>
          </a:prstGeom>
          <a:solidFill>
            <a:srgbClr val="00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06E8B2B-6FE5-589F-39C8-36DEE3E2FF0C}"/>
              </a:ext>
            </a:extLst>
          </p:cNvPr>
          <p:cNvSpPr/>
          <p:nvPr/>
        </p:nvSpPr>
        <p:spPr>
          <a:xfrm>
            <a:off x="353565" y="847834"/>
            <a:ext cx="5508755" cy="952392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accent2">
                <a:lumMod val="40000"/>
                <a:lumOff val="60000"/>
                <a:alpha val="8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F3F2E250-0DD8-3AFC-643D-4836A0855BC4}"/>
              </a:ext>
            </a:extLst>
          </p:cNvPr>
          <p:cNvSpPr/>
          <p:nvPr/>
        </p:nvSpPr>
        <p:spPr>
          <a:xfrm>
            <a:off x="285495" y="816405"/>
            <a:ext cx="5665215" cy="3533857"/>
          </a:xfrm>
          <a:prstGeom prst="rect">
            <a:avLst/>
          </a:prstGeom>
          <a:solidFill>
            <a:srgbClr val="000028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0C1F7C33-EF2A-601B-358A-CB8B6ABD724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3000"/>
          </a:blip>
          <a:stretch>
            <a:fillRect/>
          </a:stretch>
        </p:blipFill>
        <p:spPr>
          <a:xfrm>
            <a:off x="6096000" y="1029714"/>
            <a:ext cx="5883150" cy="2133655"/>
          </a:xfrm>
          <a:prstGeom prst="rect">
            <a:avLst/>
          </a:prstGeom>
        </p:spPr>
      </p:pic>
      <p:pic>
        <p:nvPicPr>
          <p:cNvPr id="10" name="Grafik 10" descr="Ein Bild, das Grafiken, Symbol, Kreis, Grafikdesign enthält.&#10;&#10;Automatisch generierte Beschreibung">
            <a:extLst>
              <a:ext uri="{FF2B5EF4-FFF2-40B4-BE49-F238E27FC236}">
                <a16:creationId xmlns:a16="http://schemas.microsoft.com/office/drawing/2014/main" id="{3E5D9C15-A4F0-8357-A866-40DD261F644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565" y="383221"/>
            <a:ext cx="685736" cy="685736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615FF430-03B0-3B4E-BB82-8A9D779DE79A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13000"/>
          </a:blip>
          <a:stretch>
            <a:fillRect/>
          </a:stretch>
        </p:blipFill>
        <p:spPr>
          <a:xfrm>
            <a:off x="6091425" y="1542749"/>
            <a:ext cx="5883150" cy="2039886"/>
          </a:xfrm>
          <a:prstGeom prst="rect">
            <a:avLst/>
          </a:prstGeom>
        </p:spPr>
      </p:pic>
      <p:sp>
        <p:nvSpPr>
          <p:cNvPr id="12" name="Titel 4">
            <a:extLst>
              <a:ext uri="{FF2B5EF4-FFF2-40B4-BE49-F238E27FC236}">
                <a16:creationId xmlns:a16="http://schemas.microsoft.com/office/drawing/2014/main" id="{F4492450-EDFE-6C5F-52DD-404CC1409883}"/>
              </a:ext>
            </a:extLst>
          </p:cNvPr>
          <p:cNvSpPr txBox="1">
            <a:spLocks/>
          </p:cNvSpPr>
          <p:nvPr/>
        </p:nvSpPr>
        <p:spPr bwMode="black">
          <a:xfrm>
            <a:off x="1185079" y="379116"/>
            <a:ext cx="4482081" cy="41508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Data </a:t>
            </a:r>
            <a:r>
              <a:rPr kumimoji="0" lang="cs-CZ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Visualizer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 WIDGE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0">
                <a:solidFill>
                  <a:schemeClr val="tx1"/>
                </a:solidFill>
                <a:latin typeface="Arial"/>
                <a:sym typeface="Arial"/>
              </a:rPr>
              <a:t>Rule widget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2944E0B6-AC0E-D7F9-31B3-58DE2BAA62F1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13000"/>
          </a:blip>
          <a:stretch>
            <a:fillRect/>
          </a:stretch>
        </p:blipFill>
        <p:spPr>
          <a:xfrm>
            <a:off x="6093807" y="2858399"/>
            <a:ext cx="5880768" cy="2456851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9FA2FC11-C795-307B-9429-ED9B3EF6550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91425" y="3305326"/>
            <a:ext cx="5887725" cy="2598645"/>
          </a:xfrm>
          <a:prstGeom prst="rect">
            <a:avLst/>
          </a:prstGeom>
        </p:spPr>
      </p:pic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84B92684-ACD4-6AF9-8189-74E9C38E5D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0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585625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6C77DD-63AC-3222-5213-F90E4F0595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507F13E8-0377-5E66-55EF-168D541C4D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4" progId="TCLayout.ActiveDocument.1">
                  <p:embed/>
                </p:oleObj>
              </mc:Choice>
              <mc:Fallback>
                <p:oleObj name="think-cell Slide" r:id="rId4" imgW="512" imgH="51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7F13E8-0377-5E66-55EF-168D541C4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EAD491-35F1-1763-70A8-4308FC71BF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DE5C894-2B13-0F12-307F-C671FB8F89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0093" y="256928"/>
            <a:ext cx="10806691" cy="6053871"/>
          </a:xfrm>
          <a:prstGeom prst="rect">
            <a:avLst/>
          </a:prstGeom>
        </p:spPr>
      </p:pic>
      <p:sp>
        <p:nvSpPr>
          <p:cNvPr id="2" name="Rámeček 1">
            <a:extLst>
              <a:ext uri="{FF2B5EF4-FFF2-40B4-BE49-F238E27FC236}">
                <a16:creationId xmlns:a16="http://schemas.microsoft.com/office/drawing/2014/main" id="{6CD02949-7452-1221-4919-44E29F992510}"/>
              </a:ext>
            </a:extLst>
          </p:cNvPr>
          <p:cNvSpPr/>
          <p:nvPr/>
        </p:nvSpPr>
        <p:spPr>
          <a:xfrm>
            <a:off x="863282" y="1871980"/>
            <a:ext cx="3571558" cy="871220"/>
          </a:xfrm>
          <a:prstGeom prst="frame">
            <a:avLst>
              <a:gd name="adj1" fmla="val 3065"/>
            </a:avLst>
          </a:prstGeom>
          <a:solidFill>
            <a:srgbClr val="F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>
              <a:solidFill>
                <a:schemeClr val="tx1"/>
              </a:solidFill>
            </a:endParaRPr>
          </a:p>
        </p:txBody>
      </p:sp>
      <p:sp>
        <p:nvSpPr>
          <p:cNvPr id="4" name="Rámeček 3">
            <a:extLst>
              <a:ext uri="{FF2B5EF4-FFF2-40B4-BE49-F238E27FC236}">
                <a16:creationId xmlns:a16="http://schemas.microsoft.com/office/drawing/2014/main" id="{0AC0AF14-B70C-29CA-972F-9E0C6F58297E}"/>
              </a:ext>
            </a:extLst>
          </p:cNvPr>
          <p:cNvSpPr/>
          <p:nvPr/>
        </p:nvSpPr>
        <p:spPr>
          <a:xfrm>
            <a:off x="4520881" y="1871980"/>
            <a:ext cx="6921025" cy="2082800"/>
          </a:xfrm>
          <a:prstGeom prst="frame">
            <a:avLst>
              <a:gd name="adj1" fmla="val 1236"/>
            </a:avLst>
          </a:prstGeom>
          <a:solidFill>
            <a:srgbClr val="F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>
              <a:solidFill>
                <a:schemeClr val="tx1"/>
              </a:solidFill>
            </a:endParaRPr>
          </a:p>
        </p:txBody>
      </p:sp>
      <p:sp>
        <p:nvSpPr>
          <p:cNvPr id="5" name="Rámeček 4">
            <a:extLst>
              <a:ext uri="{FF2B5EF4-FFF2-40B4-BE49-F238E27FC236}">
                <a16:creationId xmlns:a16="http://schemas.microsoft.com/office/drawing/2014/main" id="{19497569-93A9-CC4A-233B-52D778596756}"/>
              </a:ext>
            </a:extLst>
          </p:cNvPr>
          <p:cNvSpPr/>
          <p:nvPr/>
        </p:nvSpPr>
        <p:spPr>
          <a:xfrm>
            <a:off x="4635759" y="2743200"/>
            <a:ext cx="2039361" cy="487680"/>
          </a:xfrm>
          <a:prstGeom prst="frame">
            <a:avLst>
              <a:gd name="adj1" fmla="val 4727"/>
            </a:avLst>
          </a:prstGeom>
          <a:solidFill>
            <a:srgbClr val="F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>
              <a:solidFill>
                <a:schemeClr val="tx1"/>
              </a:solidFill>
            </a:endParaRP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51E2CB6F-CDE2-05B1-468C-EB0497D5B4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1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0798215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2E1684-E2E6-D97C-DD27-8BB98755CD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2D146EDE-0A70-BFCF-E517-1E9C2760E1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565" y="123811"/>
            <a:ext cx="5430913" cy="5261857"/>
          </a:xfrm>
          <a:prstGeom prst="rect">
            <a:avLst/>
          </a:prstGeom>
        </p:spPr>
      </p:pic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1D132950-A583-BA3C-3D23-B72791F503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12" imgH="514" progId="TCLayout.ActiveDocument.1">
                  <p:embed/>
                </p:oleObj>
              </mc:Choice>
              <mc:Fallback>
                <p:oleObj name="think-cell Slide" r:id="rId5" imgW="512" imgH="51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32950-A583-BA3C-3D23-B72791F50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2E6C3802-53CF-A93D-461A-F97F3201A704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13000"/>
          </a:blip>
          <a:stretch>
            <a:fillRect/>
          </a:stretch>
        </p:blipFill>
        <p:spPr>
          <a:xfrm>
            <a:off x="6096000" y="201819"/>
            <a:ext cx="5883150" cy="2552921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76741CD5-0D41-E7D4-6545-1EE3A30C0416}"/>
              </a:ext>
            </a:extLst>
          </p:cNvPr>
          <p:cNvSpPr/>
          <p:nvPr/>
        </p:nvSpPr>
        <p:spPr>
          <a:xfrm>
            <a:off x="239012" y="5385668"/>
            <a:ext cx="5737860" cy="622321"/>
          </a:xfrm>
          <a:prstGeom prst="rect">
            <a:avLst/>
          </a:prstGeom>
          <a:solidFill>
            <a:srgbClr val="000028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EE264B0-0122-8F72-F5F2-EDE789FA10E5}"/>
              </a:ext>
            </a:extLst>
          </p:cNvPr>
          <p:cNvSpPr/>
          <p:nvPr/>
        </p:nvSpPr>
        <p:spPr>
          <a:xfrm>
            <a:off x="266190" y="194083"/>
            <a:ext cx="5737860" cy="983821"/>
          </a:xfrm>
          <a:prstGeom prst="rect">
            <a:avLst/>
          </a:prstGeom>
          <a:solidFill>
            <a:srgbClr val="00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2E003E62-4171-876C-7D02-2626B30C217E}"/>
              </a:ext>
            </a:extLst>
          </p:cNvPr>
          <p:cNvSpPr/>
          <p:nvPr/>
        </p:nvSpPr>
        <p:spPr>
          <a:xfrm>
            <a:off x="353565" y="847834"/>
            <a:ext cx="5508755" cy="952392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accent2">
                <a:lumMod val="40000"/>
                <a:lumOff val="60000"/>
                <a:alpha val="8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7BDEF41-AEC1-AD10-11BE-534458C00B9B}"/>
              </a:ext>
            </a:extLst>
          </p:cNvPr>
          <p:cNvSpPr/>
          <p:nvPr/>
        </p:nvSpPr>
        <p:spPr>
          <a:xfrm>
            <a:off x="285495" y="816405"/>
            <a:ext cx="5665215" cy="4045155"/>
          </a:xfrm>
          <a:prstGeom prst="rect">
            <a:avLst/>
          </a:prstGeom>
          <a:solidFill>
            <a:srgbClr val="000028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F6EA5B0-C846-2258-15CB-06B0C53F12A5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3000"/>
          </a:blip>
          <a:stretch>
            <a:fillRect/>
          </a:stretch>
        </p:blipFill>
        <p:spPr>
          <a:xfrm>
            <a:off x="6096000" y="1029714"/>
            <a:ext cx="5883150" cy="2133655"/>
          </a:xfrm>
          <a:prstGeom prst="rect">
            <a:avLst/>
          </a:prstGeom>
        </p:spPr>
      </p:pic>
      <p:pic>
        <p:nvPicPr>
          <p:cNvPr id="10" name="Grafik 10" descr="Ein Bild, das Grafiken, Symbol, Kreis, Grafikdesign enthält.&#10;&#10;Automatisch generierte Beschreibung">
            <a:extLst>
              <a:ext uri="{FF2B5EF4-FFF2-40B4-BE49-F238E27FC236}">
                <a16:creationId xmlns:a16="http://schemas.microsoft.com/office/drawing/2014/main" id="{957CFFFB-F661-DD7E-FEC7-CBE5F892947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565" y="383221"/>
            <a:ext cx="685736" cy="685736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A7C072B6-EA23-AEE8-D53B-E635233FADA7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13000"/>
          </a:blip>
          <a:stretch>
            <a:fillRect/>
          </a:stretch>
        </p:blipFill>
        <p:spPr>
          <a:xfrm>
            <a:off x="6091425" y="1542749"/>
            <a:ext cx="5883150" cy="2039886"/>
          </a:xfrm>
          <a:prstGeom prst="rect">
            <a:avLst/>
          </a:prstGeom>
        </p:spPr>
      </p:pic>
      <p:sp>
        <p:nvSpPr>
          <p:cNvPr id="12" name="Titel 4">
            <a:extLst>
              <a:ext uri="{FF2B5EF4-FFF2-40B4-BE49-F238E27FC236}">
                <a16:creationId xmlns:a16="http://schemas.microsoft.com/office/drawing/2014/main" id="{21FB377C-5560-76DF-820B-F3EA75FCCFE5}"/>
              </a:ext>
            </a:extLst>
          </p:cNvPr>
          <p:cNvSpPr txBox="1">
            <a:spLocks/>
          </p:cNvSpPr>
          <p:nvPr/>
        </p:nvSpPr>
        <p:spPr bwMode="black">
          <a:xfrm>
            <a:off x="1185079" y="379116"/>
            <a:ext cx="4482081" cy="41508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Data </a:t>
            </a:r>
            <a:r>
              <a:rPr kumimoji="0" lang="cs-CZ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Visualizer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 WIDGE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0" err="1">
                <a:solidFill>
                  <a:schemeClr val="tx1"/>
                </a:solidFill>
                <a:latin typeface="Arial"/>
                <a:sym typeface="Arial"/>
              </a:rPr>
              <a:t>Analyzer</a:t>
            </a:r>
            <a:r>
              <a:rPr lang="cs-CZ" sz="1400" b="0">
                <a:solidFill>
                  <a:schemeClr val="tx1"/>
                </a:solidFill>
                <a:latin typeface="Arial"/>
                <a:sym typeface="Arial"/>
              </a:rPr>
              <a:t> widget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AEE17C83-9F2A-A1A3-0E17-9950A2725FBE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13000"/>
          </a:blip>
          <a:stretch>
            <a:fillRect/>
          </a:stretch>
        </p:blipFill>
        <p:spPr>
          <a:xfrm>
            <a:off x="6093807" y="2858399"/>
            <a:ext cx="5880768" cy="2456851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D92B3F12-0A73-FD34-3BCB-91587786AC7F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13000"/>
          </a:blip>
          <a:stretch>
            <a:fillRect/>
          </a:stretch>
        </p:blipFill>
        <p:spPr>
          <a:xfrm>
            <a:off x="6091425" y="3305326"/>
            <a:ext cx="5887725" cy="2598645"/>
          </a:xfrm>
          <a:prstGeom prst="rect">
            <a:avLst/>
          </a:prstGeom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DA074A10-24E2-04A3-E1DC-41B6B5AF543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93807" y="3885446"/>
            <a:ext cx="5887725" cy="2345017"/>
          </a:xfrm>
          <a:prstGeom prst="rect">
            <a:avLst/>
          </a:prstGeom>
        </p:spPr>
      </p:pic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26C3899D-2290-FAA1-64D6-0AC22F7E41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71DD14B-B68C-40F8-A251-D4C1009DDD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2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608727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DA06CC-1553-C097-D278-B2808489D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AE037764-AF03-BCFC-0892-A4956C4E34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4" progId="TCLayout.ActiveDocument.1">
                  <p:embed/>
                </p:oleObj>
              </mc:Choice>
              <mc:Fallback>
                <p:oleObj name="think-cell Slide" r:id="rId4" imgW="512" imgH="51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37764-AF03-BCFC-0892-A4956C4E3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Obrázek 13">
            <a:extLst>
              <a:ext uri="{FF2B5EF4-FFF2-40B4-BE49-F238E27FC236}">
                <a16:creationId xmlns:a16="http://schemas.microsoft.com/office/drawing/2014/main" id="{768668E2-96B8-919A-00EF-27104BDC68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9161" y="147881"/>
            <a:ext cx="10672277" cy="6072494"/>
          </a:xfrm>
          <a:prstGeom prst="rect">
            <a:avLst/>
          </a:prstGeom>
        </p:spPr>
      </p:pic>
      <p:sp>
        <p:nvSpPr>
          <p:cNvPr id="2" name="Rámeček 1">
            <a:extLst>
              <a:ext uri="{FF2B5EF4-FFF2-40B4-BE49-F238E27FC236}">
                <a16:creationId xmlns:a16="http://schemas.microsoft.com/office/drawing/2014/main" id="{9BB56C08-DD81-EBA0-1595-3935E2623B87}"/>
              </a:ext>
            </a:extLst>
          </p:cNvPr>
          <p:cNvSpPr/>
          <p:nvPr/>
        </p:nvSpPr>
        <p:spPr>
          <a:xfrm>
            <a:off x="829161" y="392906"/>
            <a:ext cx="3035703" cy="201454"/>
          </a:xfrm>
          <a:prstGeom prst="frame">
            <a:avLst>
              <a:gd name="adj1" fmla="val 5265"/>
            </a:avLst>
          </a:prstGeom>
          <a:solidFill>
            <a:srgbClr val="F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ámeček 5">
            <a:extLst>
              <a:ext uri="{FF2B5EF4-FFF2-40B4-BE49-F238E27FC236}">
                <a16:creationId xmlns:a16="http://schemas.microsoft.com/office/drawing/2014/main" id="{3D516114-3813-A720-BAD3-08F10DB3D922}"/>
              </a:ext>
            </a:extLst>
          </p:cNvPr>
          <p:cNvSpPr/>
          <p:nvPr/>
        </p:nvSpPr>
        <p:spPr>
          <a:xfrm>
            <a:off x="874395" y="1801368"/>
            <a:ext cx="5221605" cy="871727"/>
          </a:xfrm>
          <a:prstGeom prst="frame">
            <a:avLst>
              <a:gd name="adj1" fmla="val 1980"/>
            </a:avLst>
          </a:prstGeom>
          <a:solidFill>
            <a:srgbClr val="F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>
              <a:solidFill>
                <a:schemeClr val="tx1"/>
              </a:solidFill>
            </a:endParaRPr>
          </a:p>
        </p:txBody>
      </p:sp>
      <p:sp>
        <p:nvSpPr>
          <p:cNvPr id="7" name="Rámeček 6">
            <a:extLst>
              <a:ext uri="{FF2B5EF4-FFF2-40B4-BE49-F238E27FC236}">
                <a16:creationId xmlns:a16="http://schemas.microsoft.com/office/drawing/2014/main" id="{7A79B75A-6942-C74B-00D5-6ED0529C0C77}"/>
              </a:ext>
            </a:extLst>
          </p:cNvPr>
          <p:cNvSpPr/>
          <p:nvPr/>
        </p:nvSpPr>
        <p:spPr>
          <a:xfrm>
            <a:off x="874395" y="2763520"/>
            <a:ext cx="5221605" cy="1887728"/>
          </a:xfrm>
          <a:prstGeom prst="frame">
            <a:avLst>
              <a:gd name="adj1" fmla="val 986"/>
            </a:avLst>
          </a:prstGeom>
          <a:solidFill>
            <a:srgbClr val="F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>
              <a:solidFill>
                <a:schemeClr val="tx1"/>
              </a:solidFill>
            </a:endParaRPr>
          </a:p>
        </p:txBody>
      </p:sp>
      <p:sp>
        <p:nvSpPr>
          <p:cNvPr id="8" name="Rámeček 7">
            <a:extLst>
              <a:ext uri="{FF2B5EF4-FFF2-40B4-BE49-F238E27FC236}">
                <a16:creationId xmlns:a16="http://schemas.microsoft.com/office/drawing/2014/main" id="{201EC9AA-A5C6-C7BC-18CA-B7931695BFF8}"/>
              </a:ext>
            </a:extLst>
          </p:cNvPr>
          <p:cNvSpPr/>
          <p:nvPr/>
        </p:nvSpPr>
        <p:spPr>
          <a:xfrm>
            <a:off x="6187916" y="685799"/>
            <a:ext cx="5221605" cy="5479257"/>
          </a:xfrm>
          <a:prstGeom prst="frame">
            <a:avLst>
              <a:gd name="adj1" fmla="val 329"/>
            </a:avLst>
          </a:prstGeom>
          <a:solidFill>
            <a:srgbClr val="F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>
              <a:solidFill>
                <a:schemeClr val="tx1"/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25E06A7-8872-99B5-A9A3-945A5F8F16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06F41482-9928-E2CE-98D5-5141A2E327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3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232678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C557E7-437A-8868-3616-0BFCA3C3C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F2CF99CD-25FC-1CAC-70DC-5AED9DD062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4" progId="TCLayout.ActiveDocument.1">
                  <p:embed/>
                </p:oleObj>
              </mc:Choice>
              <mc:Fallback>
                <p:oleObj name="think-cell Slide" r:id="rId4" imgW="512" imgH="51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F99CD-25FC-1CAC-70DC-5AED9DD06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0B234772-26CA-BB2B-37FF-A85B42B06A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6929" y="400051"/>
            <a:ext cx="10458141" cy="5834114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DCF96A3-FF42-189B-64C7-FAABD032AB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F55D86F5-1422-F8CD-EE75-E6E55BCD46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4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3073200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AD8A3D-92A6-860A-4B49-9020C7B47D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6D9124B0-9AA7-789F-2EF1-47FFB37BC2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4" progId="TCLayout.ActiveDocument.1">
                  <p:embed/>
                </p:oleObj>
              </mc:Choice>
              <mc:Fallback>
                <p:oleObj name="think-cell Slide" r:id="rId4" imgW="512" imgH="51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9124B0-9AA7-789F-2EF1-47FFB37BC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8">
            <a:extLst>
              <a:ext uri="{FF2B5EF4-FFF2-40B4-BE49-F238E27FC236}">
                <a16:creationId xmlns:a16="http://schemas.microsoft.com/office/drawing/2014/main" id="{C80B7A39-BCD2-0921-ED18-1FC19A4E15EA}"/>
              </a:ext>
            </a:extLst>
          </p:cNvPr>
          <p:cNvSpPr/>
          <p:nvPr/>
        </p:nvSpPr>
        <p:spPr bwMode="auto">
          <a:xfrm>
            <a:off x="2718104" y="2992695"/>
            <a:ext cx="4913139" cy="468674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4" name="Gruppieren 13">
            <a:extLst>
              <a:ext uri="{FF2B5EF4-FFF2-40B4-BE49-F238E27FC236}">
                <a16:creationId xmlns:a16="http://schemas.microsoft.com/office/drawing/2014/main" id="{F41AF265-F6B9-F5BF-0BEF-762AAB2A5C88}"/>
              </a:ext>
            </a:extLst>
          </p:cNvPr>
          <p:cNvGrpSpPr/>
          <p:nvPr/>
        </p:nvGrpSpPr>
        <p:grpSpPr>
          <a:xfrm>
            <a:off x="2718105" y="1930840"/>
            <a:ext cx="5400600" cy="2753080"/>
            <a:chOff x="4208055" y="99856"/>
            <a:chExt cx="6620178" cy="2753080"/>
          </a:xfrm>
        </p:grpSpPr>
        <p:cxnSp>
          <p:nvCxnSpPr>
            <p:cNvPr id="5" name="Gerade Verbindung mit Pfeil 10">
              <a:extLst>
                <a:ext uri="{FF2B5EF4-FFF2-40B4-BE49-F238E27FC236}">
                  <a16:creationId xmlns:a16="http://schemas.microsoft.com/office/drawing/2014/main" id="{3453115A-09F3-A05A-12E2-77D2574CD991}"/>
                </a:ext>
              </a:extLst>
            </p:cNvPr>
            <p:cNvCxnSpPr/>
            <p:nvPr/>
          </p:nvCxnSpPr>
          <p:spPr bwMode="auto">
            <a:xfrm>
              <a:off x="4208055" y="2708920"/>
              <a:ext cx="6620178" cy="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mit Pfeil 12">
              <a:extLst>
                <a:ext uri="{FF2B5EF4-FFF2-40B4-BE49-F238E27FC236}">
                  <a16:creationId xmlns:a16="http://schemas.microsoft.com/office/drawing/2014/main" id="{06A7BCA6-6CDD-7183-BBD9-EC6351F7C3FE}"/>
                </a:ext>
              </a:extLst>
            </p:cNvPr>
            <p:cNvCxnSpPr/>
            <p:nvPr/>
          </p:nvCxnSpPr>
          <p:spPr bwMode="auto">
            <a:xfrm flipV="1">
              <a:off x="6243192" y="99856"/>
              <a:ext cx="0" cy="275308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" name="Freihandform: Form 14">
            <a:extLst>
              <a:ext uri="{FF2B5EF4-FFF2-40B4-BE49-F238E27FC236}">
                <a16:creationId xmlns:a16="http://schemas.microsoft.com/office/drawing/2014/main" id="{46037E93-D3E1-A711-E7E0-26188CB721E5}"/>
              </a:ext>
            </a:extLst>
          </p:cNvPr>
          <p:cNvSpPr/>
          <p:nvPr/>
        </p:nvSpPr>
        <p:spPr bwMode="auto">
          <a:xfrm>
            <a:off x="2982393" y="2995121"/>
            <a:ext cx="4632256" cy="462271"/>
          </a:xfrm>
          <a:custGeom>
            <a:avLst/>
            <a:gdLst>
              <a:gd name="connsiteX0" fmla="*/ 0 w 3657600"/>
              <a:gd name="connsiteY0" fmla="*/ 468674 h 468674"/>
              <a:gd name="connsiteX1" fmla="*/ 184826 w 3657600"/>
              <a:gd name="connsiteY1" fmla="*/ 283848 h 468674"/>
              <a:gd name="connsiteX2" fmla="*/ 466928 w 3657600"/>
              <a:gd name="connsiteY2" fmla="*/ 157389 h 468674"/>
              <a:gd name="connsiteX3" fmla="*/ 885217 w 3657600"/>
              <a:gd name="connsiteY3" fmla="*/ 147661 h 468674"/>
              <a:gd name="connsiteX4" fmla="*/ 1196502 w 3657600"/>
              <a:gd name="connsiteY4" fmla="*/ 283848 h 468674"/>
              <a:gd name="connsiteX5" fmla="*/ 1741251 w 3657600"/>
              <a:gd name="connsiteY5" fmla="*/ 186572 h 468674"/>
              <a:gd name="connsiteX6" fmla="*/ 2305455 w 3657600"/>
              <a:gd name="connsiteY6" fmla="*/ 1746 h 468674"/>
              <a:gd name="connsiteX7" fmla="*/ 2918298 w 3657600"/>
              <a:gd name="connsiteY7" fmla="*/ 108751 h 468674"/>
              <a:gd name="connsiteX8" fmla="*/ 3657600 w 3657600"/>
              <a:gd name="connsiteY8" fmla="*/ 351942 h 468674"/>
              <a:gd name="connsiteX0" fmla="*/ 0 w 3663462"/>
              <a:gd name="connsiteY0" fmla="*/ 386612 h 386612"/>
              <a:gd name="connsiteX1" fmla="*/ 190688 w 3663462"/>
              <a:gd name="connsiteY1" fmla="*/ 283848 h 386612"/>
              <a:gd name="connsiteX2" fmla="*/ 472790 w 3663462"/>
              <a:gd name="connsiteY2" fmla="*/ 157389 h 386612"/>
              <a:gd name="connsiteX3" fmla="*/ 891079 w 3663462"/>
              <a:gd name="connsiteY3" fmla="*/ 147661 h 386612"/>
              <a:gd name="connsiteX4" fmla="*/ 1202364 w 3663462"/>
              <a:gd name="connsiteY4" fmla="*/ 283848 h 386612"/>
              <a:gd name="connsiteX5" fmla="*/ 1747113 w 3663462"/>
              <a:gd name="connsiteY5" fmla="*/ 186572 h 386612"/>
              <a:gd name="connsiteX6" fmla="*/ 2311317 w 3663462"/>
              <a:gd name="connsiteY6" fmla="*/ 1746 h 386612"/>
              <a:gd name="connsiteX7" fmla="*/ 2924160 w 3663462"/>
              <a:gd name="connsiteY7" fmla="*/ 108751 h 386612"/>
              <a:gd name="connsiteX8" fmla="*/ 3663462 w 3663462"/>
              <a:gd name="connsiteY8" fmla="*/ 351942 h 386612"/>
              <a:gd name="connsiteX0" fmla="*/ 0 w 3663462"/>
              <a:gd name="connsiteY0" fmla="*/ 386612 h 386612"/>
              <a:gd name="connsiteX1" fmla="*/ 190688 w 3663462"/>
              <a:gd name="connsiteY1" fmla="*/ 283848 h 386612"/>
              <a:gd name="connsiteX2" fmla="*/ 472790 w 3663462"/>
              <a:gd name="connsiteY2" fmla="*/ 157389 h 386612"/>
              <a:gd name="connsiteX3" fmla="*/ 878271 w 3663462"/>
              <a:gd name="connsiteY3" fmla="*/ 187736 h 386612"/>
              <a:gd name="connsiteX4" fmla="*/ 1202364 w 3663462"/>
              <a:gd name="connsiteY4" fmla="*/ 283848 h 386612"/>
              <a:gd name="connsiteX5" fmla="*/ 1747113 w 3663462"/>
              <a:gd name="connsiteY5" fmla="*/ 186572 h 386612"/>
              <a:gd name="connsiteX6" fmla="*/ 2311317 w 3663462"/>
              <a:gd name="connsiteY6" fmla="*/ 1746 h 386612"/>
              <a:gd name="connsiteX7" fmla="*/ 2924160 w 3663462"/>
              <a:gd name="connsiteY7" fmla="*/ 108751 h 386612"/>
              <a:gd name="connsiteX8" fmla="*/ 3663462 w 3663462"/>
              <a:gd name="connsiteY8" fmla="*/ 351942 h 386612"/>
              <a:gd name="connsiteX0" fmla="*/ 0 w 3663462"/>
              <a:gd name="connsiteY0" fmla="*/ 386612 h 386612"/>
              <a:gd name="connsiteX1" fmla="*/ 190688 w 3663462"/>
              <a:gd name="connsiteY1" fmla="*/ 283848 h 386612"/>
              <a:gd name="connsiteX2" fmla="*/ 466386 w 3663462"/>
              <a:gd name="connsiteY2" fmla="*/ 186014 h 386612"/>
              <a:gd name="connsiteX3" fmla="*/ 878271 w 3663462"/>
              <a:gd name="connsiteY3" fmla="*/ 187736 h 386612"/>
              <a:gd name="connsiteX4" fmla="*/ 1202364 w 3663462"/>
              <a:gd name="connsiteY4" fmla="*/ 283848 h 386612"/>
              <a:gd name="connsiteX5" fmla="*/ 1747113 w 3663462"/>
              <a:gd name="connsiteY5" fmla="*/ 186572 h 386612"/>
              <a:gd name="connsiteX6" fmla="*/ 2311317 w 3663462"/>
              <a:gd name="connsiteY6" fmla="*/ 1746 h 386612"/>
              <a:gd name="connsiteX7" fmla="*/ 2924160 w 3663462"/>
              <a:gd name="connsiteY7" fmla="*/ 108751 h 386612"/>
              <a:gd name="connsiteX8" fmla="*/ 3663462 w 3663462"/>
              <a:gd name="connsiteY8" fmla="*/ 351942 h 386612"/>
              <a:gd name="connsiteX0" fmla="*/ 0 w 3625038"/>
              <a:gd name="connsiteY0" fmla="*/ 386612 h 386612"/>
              <a:gd name="connsiteX1" fmla="*/ 190688 w 3625038"/>
              <a:gd name="connsiteY1" fmla="*/ 283848 h 386612"/>
              <a:gd name="connsiteX2" fmla="*/ 466386 w 3625038"/>
              <a:gd name="connsiteY2" fmla="*/ 186014 h 386612"/>
              <a:gd name="connsiteX3" fmla="*/ 878271 w 3625038"/>
              <a:gd name="connsiteY3" fmla="*/ 187736 h 386612"/>
              <a:gd name="connsiteX4" fmla="*/ 1202364 w 3625038"/>
              <a:gd name="connsiteY4" fmla="*/ 283848 h 386612"/>
              <a:gd name="connsiteX5" fmla="*/ 1747113 w 3625038"/>
              <a:gd name="connsiteY5" fmla="*/ 186572 h 386612"/>
              <a:gd name="connsiteX6" fmla="*/ 2311317 w 3625038"/>
              <a:gd name="connsiteY6" fmla="*/ 1746 h 386612"/>
              <a:gd name="connsiteX7" fmla="*/ 2924160 w 3625038"/>
              <a:gd name="connsiteY7" fmla="*/ 108751 h 386612"/>
              <a:gd name="connsiteX8" fmla="*/ 3625038 w 3625038"/>
              <a:gd name="connsiteY8" fmla="*/ 266066 h 386612"/>
              <a:gd name="connsiteX0" fmla="*/ 0 w 3625038"/>
              <a:gd name="connsiteY0" fmla="*/ 386612 h 386612"/>
              <a:gd name="connsiteX1" fmla="*/ 190688 w 3625038"/>
              <a:gd name="connsiteY1" fmla="*/ 283848 h 386612"/>
              <a:gd name="connsiteX2" fmla="*/ 466386 w 3625038"/>
              <a:gd name="connsiteY2" fmla="*/ 186014 h 386612"/>
              <a:gd name="connsiteX3" fmla="*/ 878271 w 3625038"/>
              <a:gd name="connsiteY3" fmla="*/ 187736 h 386612"/>
              <a:gd name="connsiteX4" fmla="*/ 1202364 w 3625038"/>
              <a:gd name="connsiteY4" fmla="*/ 283848 h 386612"/>
              <a:gd name="connsiteX5" fmla="*/ 1747113 w 3625038"/>
              <a:gd name="connsiteY5" fmla="*/ 186572 h 386612"/>
              <a:gd name="connsiteX6" fmla="*/ 2311317 w 3625038"/>
              <a:gd name="connsiteY6" fmla="*/ 1746 h 386612"/>
              <a:gd name="connsiteX7" fmla="*/ 2924160 w 3625038"/>
              <a:gd name="connsiteY7" fmla="*/ 108751 h 386612"/>
              <a:gd name="connsiteX8" fmla="*/ 3625038 w 3625038"/>
              <a:gd name="connsiteY8" fmla="*/ 266066 h 386612"/>
              <a:gd name="connsiteX0" fmla="*/ 0 w 3695481"/>
              <a:gd name="connsiteY0" fmla="*/ 357987 h 357987"/>
              <a:gd name="connsiteX1" fmla="*/ 261131 w 3695481"/>
              <a:gd name="connsiteY1" fmla="*/ 283848 h 357987"/>
              <a:gd name="connsiteX2" fmla="*/ 536829 w 3695481"/>
              <a:gd name="connsiteY2" fmla="*/ 186014 h 357987"/>
              <a:gd name="connsiteX3" fmla="*/ 948714 w 3695481"/>
              <a:gd name="connsiteY3" fmla="*/ 187736 h 357987"/>
              <a:gd name="connsiteX4" fmla="*/ 1272807 w 3695481"/>
              <a:gd name="connsiteY4" fmla="*/ 283848 h 357987"/>
              <a:gd name="connsiteX5" fmla="*/ 1817556 w 3695481"/>
              <a:gd name="connsiteY5" fmla="*/ 186572 h 357987"/>
              <a:gd name="connsiteX6" fmla="*/ 2381760 w 3695481"/>
              <a:gd name="connsiteY6" fmla="*/ 1746 h 357987"/>
              <a:gd name="connsiteX7" fmla="*/ 2994603 w 3695481"/>
              <a:gd name="connsiteY7" fmla="*/ 108751 h 357987"/>
              <a:gd name="connsiteX8" fmla="*/ 3695481 w 3695481"/>
              <a:gd name="connsiteY8" fmla="*/ 266066 h 357987"/>
              <a:gd name="connsiteX0" fmla="*/ 0 w 3708289"/>
              <a:gd name="connsiteY0" fmla="*/ 323637 h 323637"/>
              <a:gd name="connsiteX1" fmla="*/ 273939 w 3708289"/>
              <a:gd name="connsiteY1" fmla="*/ 283848 h 323637"/>
              <a:gd name="connsiteX2" fmla="*/ 549637 w 3708289"/>
              <a:gd name="connsiteY2" fmla="*/ 186014 h 323637"/>
              <a:gd name="connsiteX3" fmla="*/ 961522 w 3708289"/>
              <a:gd name="connsiteY3" fmla="*/ 187736 h 323637"/>
              <a:gd name="connsiteX4" fmla="*/ 1285615 w 3708289"/>
              <a:gd name="connsiteY4" fmla="*/ 283848 h 323637"/>
              <a:gd name="connsiteX5" fmla="*/ 1830364 w 3708289"/>
              <a:gd name="connsiteY5" fmla="*/ 186572 h 323637"/>
              <a:gd name="connsiteX6" fmla="*/ 2394568 w 3708289"/>
              <a:gd name="connsiteY6" fmla="*/ 1746 h 323637"/>
              <a:gd name="connsiteX7" fmla="*/ 3007411 w 3708289"/>
              <a:gd name="connsiteY7" fmla="*/ 108751 h 323637"/>
              <a:gd name="connsiteX8" fmla="*/ 3708289 w 3708289"/>
              <a:gd name="connsiteY8" fmla="*/ 266066 h 323637"/>
              <a:gd name="connsiteX0" fmla="*/ 0 w 3708289"/>
              <a:gd name="connsiteY0" fmla="*/ 323637 h 327034"/>
              <a:gd name="connsiteX1" fmla="*/ 273939 w 3708289"/>
              <a:gd name="connsiteY1" fmla="*/ 283848 h 327034"/>
              <a:gd name="connsiteX2" fmla="*/ 549637 w 3708289"/>
              <a:gd name="connsiteY2" fmla="*/ 186014 h 327034"/>
              <a:gd name="connsiteX3" fmla="*/ 961522 w 3708289"/>
              <a:gd name="connsiteY3" fmla="*/ 187736 h 327034"/>
              <a:gd name="connsiteX4" fmla="*/ 1285615 w 3708289"/>
              <a:gd name="connsiteY4" fmla="*/ 283848 h 327034"/>
              <a:gd name="connsiteX5" fmla="*/ 1830364 w 3708289"/>
              <a:gd name="connsiteY5" fmla="*/ 186572 h 327034"/>
              <a:gd name="connsiteX6" fmla="*/ 2394568 w 3708289"/>
              <a:gd name="connsiteY6" fmla="*/ 1746 h 327034"/>
              <a:gd name="connsiteX7" fmla="*/ 3007411 w 3708289"/>
              <a:gd name="connsiteY7" fmla="*/ 108751 h 327034"/>
              <a:gd name="connsiteX8" fmla="*/ 3708289 w 3708289"/>
              <a:gd name="connsiteY8" fmla="*/ 266066 h 327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08289" h="327034">
                <a:moveTo>
                  <a:pt x="0" y="323637"/>
                </a:moveTo>
                <a:cubicBezTo>
                  <a:pt x="66310" y="337315"/>
                  <a:pt x="182333" y="306785"/>
                  <a:pt x="273939" y="283848"/>
                </a:cubicBezTo>
                <a:cubicBezTo>
                  <a:pt x="365545" y="260911"/>
                  <a:pt x="435040" y="202033"/>
                  <a:pt x="549637" y="186014"/>
                </a:cubicBezTo>
                <a:cubicBezTo>
                  <a:pt x="664234" y="169995"/>
                  <a:pt x="838859" y="171430"/>
                  <a:pt x="961522" y="187736"/>
                </a:cubicBezTo>
                <a:cubicBezTo>
                  <a:pt x="1084185" y="204042"/>
                  <a:pt x="1140808" y="284042"/>
                  <a:pt x="1285615" y="283848"/>
                </a:cubicBezTo>
                <a:cubicBezTo>
                  <a:pt x="1430422" y="283654"/>
                  <a:pt x="1645538" y="233589"/>
                  <a:pt x="1830364" y="186572"/>
                </a:cubicBezTo>
                <a:cubicBezTo>
                  <a:pt x="2015190" y="139555"/>
                  <a:pt x="2198393" y="14716"/>
                  <a:pt x="2394568" y="1746"/>
                </a:cubicBezTo>
                <a:cubicBezTo>
                  <a:pt x="2590743" y="-11224"/>
                  <a:pt x="2782054" y="50385"/>
                  <a:pt x="3007411" y="108751"/>
                </a:cubicBezTo>
                <a:cubicBezTo>
                  <a:pt x="3232768" y="167117"/>
                  <a:pt x="3438509" y="230903"/>
                  <a:pt x="3708289" y="266066"/>
                </a:cubicBezTo>
              </a:path>
            </a:pathLst>
          </a:custGeom>
          <a:noFill/>
          <a:ln w="28575">
            <a:solidFill>
              <a:srgbClr val="EB780A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0"/>
              <a:cs typeface="+mn-cs"/>
            </a:endParaRPr>
          </a:p>
        </p:txBody>
      </p:sp>
      <p:sp>
        <p:nvSpPr>
          <p:cNvPr id="8" name="Geschweifte Klammer links 21">
            <a:extLst>
              <a:ext uri="{FF2B5EF4-FFF2-40B4-BE49-F238E27FC236}">
                <a16:creationId xmlns:a16="http://schemas.microsoft.com/office/drawing/2014/main" id="{21C3C837-8D40-DF19-442C-E5FA827C73C7}"/>
              </a:ext>
            </a:extLst>
          </p:cNvPr>
          <p:cNvSpPr/>
          <p:nvPr/>
        </p:nvSpPr>
        <p:spPr bwMode="auto">
          <a:xfrm>
            <a:off x="2445237" y="2981570"/>
            <a:ext cx="134258" cy="475822"/>
          </a:xfrm>
          <a:prstGeom prst="leftBrac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srgbClr val="00D7A0"/>
              </a:solidFill>
              <a:effectLst/>
              <a:uLnTx/>
              <a:uFillTx/>
              <a:latin typeface="Arial" charset="0"/>
              <a:ea typeface="ヒラギノ角ゴ Pro W3" charset="0"/>
              <a:cs typeface="+mn-cs"/>
            </a:endParaRPr>
          </a:p>
        </p:txBody>
      </p:sp>
      <p:sp>
        <p:nvSpPr>
          <p:cNvPr id="9" name="Textfeld 25">
            <a:extLst>
              <a:ext uri="{FF2B5EF4-FFF2-40B4-BE49-F238E27FC236}">
                <a16:creationId xmlns:a16="http://schemas.microsoft.com/office/drawing/2014/main" id="{19409038-38CC-1F0A-D448-D04449BF96AE}"/>
              </a:ext>
            </a:extLst>
          </p:cNvPr>
          <p:cNvSpPr txBox="1"/>
          <p:nvPr/>
        </p:nvSpPr>
        <p:spPr>
          <a:xfrm>
            <a:off x="8046943" y="4678003"/>
            <a:ext cx="88112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ČAS</a:t>
            </a:r>
            <a:endParaRPr kumimoji="0" lang="de-DE" sz="1200" b="0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Rechteck 52">
            <a:extLst>
              <a:ext uri="{FF2B5EF4-FFF2-40B4-BE49-F238E27FC236}">
                <a16:creationId xmlns:a16="http://schemas.microsoft.com/office/drawing/2014/main" id="{1E8E37BF-E1EE-E87A-9FDB-1048887AC741}"/>
              </a:ext>
            </a:extLst>
          </p:cNvPr>
          <p:cNvSpPr/>
          <p:nvPr/>
        </p:nvSpPr>
        <p:spPr>
          <a:xfrm>
            <a:off x="2718104" y="3805082"/>
            <a:ext cx="2033011" cy="310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ěření + Regulace</a:t>
            </a:r>
          </a:p>
        </p:txBody>
      </p:sp>
      <p:sp>
        <p:nvSpPr>
          <p:cNvPr id="11" name="Rechteck 53">
            <a:extLst>
              <a:ext uri="{FF2B5EF4-FFF2-40B4-BE49-F238E27FC236}">
                <a16:creationId xmlns:a16="http://schemas.microsoft.com/office/drawing/2014/main" id="{9666FD0F-AAB7-9275-027C-3F9688FB805F}"/>
              </a:ext>
            </a:extLst>
          </p:cNvPr>
          <p:cNvSpPr/>
          <p:nvPr/>
        </p:nvSpPr>
        <p:spPr>
          <a:xfrm>
            <a:off x="5595247" y="3799924"/>
            <a:ext cx="941283" cy="310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edikc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extfeld 62">
            <a:extLst>
              <a:ext uri="{FF2B5EF4-FFF2-40B4-BE49-F238E27FC236}">
                <a16:creationId xmlns:a16="http://schemas.microsoft.com/office/drawing/2014/main" id="{E2ED29B7-3715-949F-F11B-8DD9C78E8373}"/>
              </a:ext>
            </a:extLst>
          </p:cNvPr>
          <p:cNvSpPr txBox="1"/>
          <p:nvPr/>
        </p:nvSpPr>
        <p:spPr>
          <a:xfrm>
            <a:off x="4579180" y="2139431"/>
            <a:ext cx="1349382" cy="1723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BUDOUCNOST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feld 63">
            <a:extLst>
              <a:ext uri="{FF2B5EF4-FFF2-40B4-BE49-F238E27FC236}">
                <a16:creationId xmlns:a16="http://schemas.microsoft.com/office/drawing/2014/main" id="{20D6E2CD-A9BE-ABF6-F37E-D803C015D058}"/>
              </a:ext>
            </a:extLst>
          </p:cNvPr>
          <p:cNvSpPr txBox="1"/>
          <p:nvPr/>
        </p:nvSpPr>
        <p:spPr>
          <a:xfrm>
            <a:off x="3291506" y="2137070"/>
            <a:ext cx="1164732" cy="680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INULOST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4" name="Gerader Verbinder 189465">
            <a:extLst>
              <a:ext uri="{FF2B5EF4-FFF2-40B4-BE49-F238E27FC236}">
                <a16:creationId xmlns:a16="http://schemas.microsoft.com/office/drawing/2014/main" id="{F90CC5E4-3E71-0E6E-13D3-946CD752F488}"/>
              </a:ext>
            </a:extLst>
          </p:cNvPr>
          <p:cNvCxnSpPr>
            <a:cxnSpLocks/>
          </p:cNvCxnSpPr>
          <p:nvPr/>
        </p:nvCxnSpPr>
        <p:spPr bwMode="auto">
          <a:xfrm>
            <a:off x="4739660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r Verbinder 66">
            <a:extLst>
              <a:ext uri="{FF2B5EF4-FFF2-40B4-BE49-F238E27FC236}">
                <a16:creationId xmlns:a16="http://schemas.microsoft.com/office/drawing/2014/main" id="{0670AC59-611B-655A-BBD2-0F88296D903E}"/>
              </a:ext>
            </a:extLst>
          </p:cNvPr>
          <p:cNvCxnSpPr>
            <a:cxnSpLocks/>
          </p:cNvCxnSpPr>
          <p:nvPr/>
        </p:nvCxnSpPr>
        <p:spPr bwMode="auto">
          <a:xfrm>
            <a:off x="5099034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r Verbinder 67">
            <a:extLst>
              <a:ext uri="{FF2B5EF4-FFF2-40B4-BE49-F238E27FC236}">
                <a16:creationId xmlns:a16="http://schemas.microsoft.com/office/drawing/2014/main" id="{7E1F1EA1-413A-9069-9DD2-12B90B285822}"/>
              </a:ext>
            </a:extLst>
          </p:cNvPr>
          <p:cNvCxnSpPr>
            <a:cxnSpLocks/>
          </p:cNvCxnSpPr>
          <p:nvPr/>
        </p:nvCxnSpPr>
        <p:spPr bwMode="auto">
          <a:xfrm>
            <a:off x="5458408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r Verbinder 69">
            <a:extLst>
              <a:ext uri="{FF2B5EF4-FFF2-40B4-BE49-F238E27FC236}">
                <a16:creationId xmlns:a16="http://schemas.microsoft.com/office/drawing/2014/main" id="{9AAE9426-D5BE-C365-5FAE-D32341260072}"/>
              </a:ext>
            </a:extLst>
          </p:cNvPr>
          <p:cNvCxnSpPr>
            <a:cxnSpLocks/>
          </p:cNvCxnSpPr>
          <p:nvPr/>
        </p:nvCxnSpPr>
        <p:spPr bwMode="auto">
          <a:xfrm>
            <a:off x="5817782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r Verbinder 70">
            <a:extLst>
              <a:ext uri="{FF2B5EF4-FFF2-40B4-BE49-F238E27FC236}">
                <a16:creationId xmlns:a16="http://schemas.microsoft.com/office/drawing/2014/main" id="{E0A21F34-9518-9135-6678-F3FFC240D013}"/>
              </a:ext>
            </a:extLst>
          </p:cNvPr>
          <p:cNvCxnSpPr>
            <a:cxnSpLocks/>
          </p:cNvCxnSpPr>
          <p:nvPr/>
        </p:nvCxnSpPr>
        <p:spPr bwMode="auto">
          <a:xfrm>
            <a:off x="6177156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71">
            <a:extLst>
              <a:ext uri="{FF2B5EF4-FFF2-40B4-BE49-F238E27FC236}">
                <a16:creationId xmlns:a16="http://schemas.microsoft.com/office/drawing/2014/main" id="{4587F972-CA56-5EA9-9E04-49C2EAF8C9FB}"/>
              </a:ext>
            </a:extLst>
          </p:cNvPr>
          <p:cNvCxnSpPr>
            <a:cxnSpLocks/>
          </p:cNvCxnSpPr>
          <p:nvPr/>
        </p:nvCxnSpPr>
        <p:spPr bwMode="auto">
          <a:xfrm>
            <a:off x="6536530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r Verbinder 72">
            <a:extLst>
              <a:ext uri="{FF2B5EF4-FFF2-40B4-BE49-F238E27FC236}">
                <a16:creationId xmlns:a16="http://schemas.microsoft.com/office/drawing/2014/main" id="{F1A93C81-90CD-DB21-EB67-0E18260F7A5B}"/>
              </a:ext>
            </a:extLst>
          </p:cNvPr>
          <p:cNvCxnSpPr>
            <a:cxnSpLocks/>
          </p:cNvCxnSpPr>
          <p:nvPr/>
        </p:nvCxnSpPr>
        <p:spPr bwMode="auto">
          <a:xfrm>
            <a:off x="6895904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r Verbinder 73">
            <a:extLst>
              <a:ext uri="{FF2B5EF4-FFF2-40B4-BE49-F238E27FC236}">
                <a16:creationId xmlns:a16="http://schemas.microsoft.com/office/drawing/2014/main" id="{3D430257-9181-8B49-36DA-C7448A47437A}"/>
              </a:ext>
            </a:extLst>
          </p:cNvPr>
          <p:cNvCxnSpPr>
            <a:cxnSpLocks/>
          </p:cNvCxnSpPr>
          <p:nvPr/>
        </p:nvCxnSpPr>
        <p:spPr bwMode="auto">
          <a:xfrm>
            <a:off x="7255278" y="4449870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r Verbinder 74">
            <a:extLst>
              <a:ext uri="{FF2B5EF4-FFF2-40B4-BE49-F238E27FC236}">
                <a16:creationId xmlns:a16="http://schemas.microsoft.com/office/drawing/2014/main" id="{863E36C2-5771-C2C5-B828-76B988B4DCDB}"/>
              </a:ext>
            </a:extLst>
          </p:cNvPr>
          <p:cNvCxnSpPr>
            <a:cxnSpLocks/>
          </p:cNvCxnSpPr>
          <p:nvPr/>
        </p:nvCxnSpPr>
        <p:spPr bwMode="auto">
          <a:xfrm>
            <a:off x="7614649" y="4454838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r Verbinder 87">
            <a:extLst>
              <a:ext uri="{FF2B5EF4-FFF2-40B4-BE49-F238E27FC236}">
                <a16:creationId xmlns:a16="http://schemas.microsoft.com/office/drawing/2014/main" id="{6593F1B8-5EBB-554A-2315-620ACA4667AE}"/>
              </a:ext>
            </a:extLst>
          </p:cNvPr>
          <p:cNvCxnSpPr>
            <a:cxnSpLocks/>
          </p:cNvCxnSpPr>
          <p:nvPr/>
        </p:nvCxnSpPr>
        <p:spPr bwMode="auto">
          <a:xfrm>
            <a:off x="2932131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r Verbinder 88">
            <a:extLst>
              <a:ext uri="{FF2B5EF4-FFF2-40B4-BE49-F238E27FC236}">
                <a16:creationId xmlns:a16="http://schemas.microsoft.com/office/drawing/2014/main" id="{6D7E888B-3694-7EE0-4D66-FCA475197E5D}"/>
              </a:ext>
            </a:extLst>
          </p:cNvPr>
          <p:cNvCxnSpPr>
            <a:cxnSpLocks/>
          </p:cNvCxnSpPr>
          <p:nvPr/>
        </p:nvCxnSpPr>
        <p:spPr bwMode="auto">
          <a:xfrm>
            <a:off x="3291505" y="4444566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r Verbinder 89">
            <a:extLst>
              <a:ext uri="{FF2B5EF4-FFF2-40B4-BE49-F238E27FC236}">
                <a16:creationId xmlns:a16="http://schemas.microsoft.com/office/drawing/2014/main" id="{1919474E-3677-09F3-5F60-19C42637C4B9}"/>
              </a:ext>
            </a:extLst>
          </p:cNvPr>
          <p:cNvCxnSpPr>
            <a:cxnSpLocks/>
          </p:cNvCxnSpPr>
          <p:nvPr/>
        </p:nvCxnSpPr>
        <p:spPr bwMode="auto">
          <a:xfrm>
            <a:off x="3650879" y="4449870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r Verbinder 90">
            <a:extLst>
              <a:ext uri="{FF2B5EF4-FFF2-40B4-BE49-F238E27FC236}">
                <a16:creationId xmlns:a16="http://schemas.microsoft.com/office/drawing/2014/main" id="{5A6D3C7E-3DBC-732F-44C5-7D3B259FB3DB}"/>
              </a:ext>
            </a:extLst>
          </p:cNvPr>
          <p:cNvCxnSpPr>
            <a:cxnSpLocks/>
          </p:cNvCxnSpPr>
          <p:nvPr/>
        </p:nvCxnSpPr>
        <p:spPr bwMode="auto">
          <a:xfrm>
            <a:off x="4010250" y="4454838"/>
            <a:ext cx="0" cy="1906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 Verbindung mit Pfeil 36">
            <a:extLst>
              <a:ext uri="{FF2B5EF4-FFF2-40B4-BE49-F238E27FC236}">
                <a16:creationId xmlns:a16="http://schemas.microsoft.com/office/drawing/2014/main" id="{120743BE-AF93-DE26-8E17-9C1BC913FC3C}"/>
              </a:ext>
            </a:extLst>
          </p:cNvPr>
          <p:cNvCxnSpPr>
            <a:cxnSpLocks/>
          </p:cNvCxnSpPr>
          <p:nvPr/>
        </p:nvCxnSpPr>
        <p:spPr bwMode="auto">
          <a:xfrm>
            <a:off x="4399577" y="5074456"/>
            <a:ext cx="3223795" cy="0"/>
          </a:xfrm>
          <a:prstGeom prst="straightConnector1">
            <a:avLst/>
          </a:prstGeom>
          <a:solidFill>
            <a:schemeClr val="tx2"/>
          </a:solidFill>
          <a:ln w="12700" cap="flat" cmpd="sng" algn="ctr">
            <a:solidFill>
              <a:schemeClr val="accent2"/>
            </a:solidFill>
            <a:prstDash val="solid"/>
            <a:round/>
            <a:headEnd type="triangle" w="med" len="lg"/>
            <a:tailEnd type="triangl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feld 38">
            <a:extLst>
              <a:ext uri="{FF2B5EF4-FFF2-40B4-BE49-F238E27FC236}">
                <a16:creationId xmlns:a16="http://schemas.microsoft.com/office/drawing/2014/main" id="{CDCBC3A6-EBDC-6CCE-7528-84988374192C}"/>
              </a:ext>
            </a:extLst>
          </p:cNvPr>
          <p:cNvSpPr txBox="1"/>
          <p:nvPr/>
        </p:nvSpPr>
        <p:spPr>
          <a:xfrm>
            <a:off x="5106153" y="5205639"/>
            <a:ext cx="2237847" cy="3069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edikční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horizo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6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hodi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D7A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9" name="Gruppieren 189490">
            <a:extLst>
              <a:ext uri="{FF2B5EF4-FFF2-40B4-BE49-F238E27FC236}">
                <a16:creationId xmlns:a16="http://schemas.microsoft.com/office/drawing/2014/main" id="{CAFAB2BB-29EC-D7EA-392B-755429EB89FE}"/>
              </a:ext>
            </a:extLst>
          </p:cNvPr>
          <p:cNvGrpSpPr/>
          <p:nvPr/>
        </p:nvGrpSpPr>
        <p:grpSpPr>
          <a:xfrm>
            <a:off x="4387888" y="3089538"/>
            <a:ext cx="3236448" cy="287863"/>
            <a:chOff x="4665522" y="4056228"/>
            <a:chExt cx="3236448" cy="287863"/>
          </a:xfrm>
        </p:grpSpPr>
        <p:cxnSp>
          <p:nvCxnSpPr>
            <p:cNvPr id="30" name="Verbinder: gewinkelt 42">
              <a:extLst>
                <a:ext uri="{FF2B5EF4-FFF2-40B4-BE49-F238E27FC236}">
                  <a16:creationId xmlns:a16="http://schemas.microsoft.com/office/drawing/2014/main" id="{92FF683A-2F4A-939C-2389-7EED59F03507}"/>
                </a:ext>
              </a:extLst>
            </p:cNvPr>
            <p:cNvCxnSpPr/>
            <p:nvPr/>
          </p:nvCxnSpPr>
          <p:spPr bwMode="auto">
            <a:xfrm flipV="1">
              <a:off x="4665522" y="4056228"/>
              <a:ext cx="715998" cy="263486"/>
            </a:xfrm>
            <a:prstGeom prst="bent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EF013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Verbinder: gewinkelt 48">
              <a:extLst>
                <a:ext uri="{FF2B5EF4-FFF2-40B4-BE49-F238E27FC236}">
                  <a16:creationId xmlns:a16="http://schemas.microsoft.com/office/drawing/2014/main" id="{6CE1BC20-B057-3C56-FD33-F54FCBCB2368}"/>
                </a:ext>
              </a:extLst>
            </p:cNvPr>
            <p:cNvCxnSpPr/>
            <p:nvPr/>
          </p:nvCxnSpPr>
          <p:spPr bwMode="auto">
            <a:xfrm>
              <a:off x="5348828" y="4056392"/>
              <a:ext cx="678339" cy="189192"/>
            </a:xfrm>
            <a:prstGeom prst="bent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EF013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Verbinder: gewinkelt 50">
              <a:extLst>
                <a:ext uri="{FF2B5EF4-FFF2-40B4-BE49-F238E27FC236}">
                  <a16:creationId xmlns:a16="http://schemas.microsoft.com/office/drawing/2014/main" id="{7289573C-AAA5-EFD3-6A65-6446B0866100}"/>
                </a:ext>
              </a:extLst>
            </p:cNvPr>
            <p:cNvCxnSpPr/>
            <p:nvPr/>
          </p:nvCxnSpPr>
          <p:spPr bwMode="auto">
            <a:xfrm flipV="1">
              <a:off x="6017015" y="4116271"/>
              <a:ext cx="434715" cy="129836"/>
            </a:xfrm>
            <a:prstGeom prst="bentConnector3">
              <a:avLst>
                <a:gd name="adj1" fmla="val 18590"/>
              </a:avLst>
            </a:prstGeom>
            <a:solidFill>
              <a:schemeClr val="tx2"/>
            </a:solidFill>
            <a:ln w="28575" cap="flat" cmpd="sng" algn="ctr">
              <a:solidFill>
                <a:srgbClr val="EF013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Verbinder: gewinkelt 80">
              <a:extLst>
                <a:ext uri="{FF2B5EF4-FFF2-40B4-BE49-F238E27FC236}">
                  <a16:creationId xmlns:a16="http://schemas.microsoft.com/office/drawing/2014/main" id="{F12FFB86-F0D3-68BC-8B61-BBD1BC769327}"/>
                </a:ext>
              </a:extLst>
            </p:cNvPr>
            <p:cNvCxnSpPr/>
            <p:nvPr/>
          </p:nvCxnSpPr>
          <p:spPr bwMode="auto">
            <a:xfrm>
              <a:off x="6272042" y="4116269"/>
              <a:ext cx="522001" cy="227822"/>
            </a:xfrm>
            <a:prstGeom prst="bent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EF013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Verbinder: gewinkelt 189472">
              <a:extLst>
                <a:ext uri="{FF2B5EF4-FFF2-40B4-BE49-F238E27FC236}">
                  <a16:creationId xmlns:a16="http://schemas.microsoft.com/office/drawing/2014/main" id="{3307AD0A-ED00-E270-D8D0-86E0F25DC671}"/>
                </a:ext>
              </a:extLst>
            </p:cNvPr>
            <p:cNvCxnSpPr/>
            <p:nvPr/>
          </p:nvCxnSpPr>
          <p:spPr bwMode="auto">
            <a:xfrm flipV="1">
              <a:off x="6751667" y="4154731"/>
              <a:ext cx="788337" cy="189360"/>
            </a:xfrm>
            <a:prstGeom prst="bentConnector3">
              <a:avLst/>
            </a:prstGeom>
            <a:solidFill>
              <a:schemeClr val="tx2"/>
            </a:solidFill>
            <a:ln w="28575" cap="flat" cmpd="sng" algn="ctr">
              <a:solidFill>
                <a:srgbClr val="EF013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Verbinder: gewinkelt 189475">
              <a:extLst>
                <a:ext uri="{FF2B5EF4-FFF2-40B4-BE49-F238E27FC236}">
                  <a16:creationId xmlns:a16="http://schemas.microsoft.com/office/drawing/2014/main" id="{AE043EFC-6219-ED33-29CF-3CE89B34E2DD}"/>
                </a:ext>
              </a:extLst>
            </p:cNvPr>
            <p:cNvCxnSpPr/>
            <p:nvPr/>
          </p:nvCxnSpPr>
          <p:spPr bwMode="auto">
            <a:xfrm>
              <a:off x="7532912" y="4149707"/>
              <a:ext cx="369058" cy="103741"/>
            </a:xfrm>
            <a:prstGeom prst="bentConnector3">
              <a:avLst>
                <a:gd name="adj1" fmla="val 1197"/>
              </a:avLst>
            </a:prstGeom>
            <a:solidFill>
              <a:schemeClr val="tx2"/>
            </a:solidFill>
            <a:ln w="28575" cap="flat" cmpd="sng" algn="ctr">
              <a:solidFill>
                <a:srgbClr val="EF013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6" name="Rechteck 147">
            <a:extLst>
              <a:ext uri="{FF2B5EF4-FFF2-40B4-BE49-F238E27FC236}">
                <a16:creationId xmlns:a16="http://schemas.microsoft.com/office/drawing/2014/main" id="{43CA12BE-010C-2732-2221-D314ADE56FF4}"/>
              </a:ext>
            </a:extLst>
          </p:cNvPr>
          <p:cNvSpPr/>
          <p:nvPr/>
        </p:nvSpPr>
        <p:spPr>
          <a:xfrm>
            <a:off x="7930423" y="2883986"/>
            <a:ext cx="2661367" cy="310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EF0137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Žádaná teplota prostoru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EF0137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37" name="Gerader Verbinder 127">
            <a:extLst>
              <a:ext uri="{FF2B5EF4-FFF2-40B4-BE49-F238E27FC236}">
                <a16:creationId xmlns:a16="http://schemas.microsoft.com/office/drawing/2014/main" id="{47804965-C903-8E2C-243A-E009E1134D59}"/>
              </a:ext>
            </a:extLst>
          </p:cNvPr>
          <p:cNvCxnSpPr>
            <a:cxnSpLocks/>
          </p:cNvCxnSpPr>
          <p:nvPr/>
        </p:nvCxnSpPr>
        <p:spPr bwMode="auto">
          <a:xfrm flipV="1">
            <a:off x="7631253" y="3077707"/>
            <a:ext cx="328823" cy="17113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echteck 129">
            <a:extLst>
              <a:ext uri="{FF2B5EF4-FFF2-40B4-BE49-F238E27FC236}">
                <a16:creationId xmlns:a16="http://schemas.microsoft.com/office/drawing/2014/main" id="{0ECFB1BD-A972-BB4E-4807-EB77B2819486}"/>
              </a:ext>
            </a:extLst>
          </p:cNvPr>
          <p:cNvSpPr/>
          <p:nvPr/>
        </p:nvSpPr>
        <p:spPr>
          <a:xfrm>
            <a:off x="7912323" y="2385664"/>
            <a:ext cx="25159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>
                <a:solidFill>
                  <a:srgbClr val="C85A1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eplota prostoru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C85A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Geschweifte Klammer links 166">
            <a:extLst>
              <a:ext uri="{FF2B5EF4-FFF2-40B4-BE49-F238E27FC236}">
                <a16:creationId xmlns:a16="http://schemas.microsoft.com/office/drawing/2014/main" id="{6B4A60F9-ED92-FFD2-45A2-2F3F53F2774B}"/>
              </a:ext>
            </a:extLst>
          </p:cNvPr>
          <p:cNvSpPr/>
          <p:nvPr/>
        </p:nvSpPr>
        <p:spPr bwMode="auto">
          <a:xfrm rot="16200000" flipV="1">
            <a:off x="5977835" y="2132038"/>
            <a:ext cx="142659" cy="3105912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0"/>
              <a:cs typeface="+mn-cs"/>
            </a:endParaRPr>
          </a:p>
        </p:txBody>
      </p:sp>
      <p:sp>
        <p:nvSpPr>
          <p:cNvPr id="40" name="Geschweifte Klammer links 167">
            <a:extLst>
              <a:ext uri="{FF2B5EF4-FFF2-40B4-BE49-F238E27FC236}">
                <a16:creationId xmlns:a16="http://schemas.microsoft.com/office/drawing/2014/main" id="{D27E84CF-19FF-B660-B7E5-54E86D13C506}"/>
              </a:ext>
            </a:extLst>
          </p:cNvPr>
          <p:cNvSpPr/>
          <p:nvPr/>
        </p:nvSpPr>
        <p:spPr bwMode="auto">
          <a:xfrm rot="16200000" flipV="1">
            <a:off x="3580590" y="3121161"/>
            <a:ext cx="149278" cy="1141056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0"/>
              <a:cs typeface="+mn-cs"/>
            </a:endParaRPr>
          </a:p>
        </p:txBody>
      </p:sp>
      <p:cxnSp>
        <p:nvCxnSpPr>
          <p:cNvPr id="41" name="Gerader Verbinder 168">
            <a:extLst>
              <a:ext uri="{FF2B5EF4-FFF2-40B4-BE49-F238E27FC236}">
                <a16:creationId xmlns:a16="http://schemas.microsoft.com/office/drawing/2014/main" id="{9AF864D2-03F4-2A65-BD93-465BBAB454F4}"/>
              </a:ext>
            </a:extLst>
          </p:cNvPr>
          <p:cNvCxnSpPr>
            <a:cxnSpLocks/>
            <a:endCxn id="38" idx="1"/>
          </p:cNvCxnSpPr>
          <p:nvPr/>
        </p:nvCxnSpPr>
        <p:spPr bwMode="auto">
          <a:xfrm flipV="1">
            <a:off x="6704299" y="2539553"/>
            <a:ext cx="1208024" cy="5659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feld 173">
            <a:extLst>
              <a:ext uri="{FF2B5EF4-FFF2-40B4-BE49-F238E27FC236}">
                <a16:creationId xmlns:a16="http://schemas.microsoft.com/office/drawing/2014/main" id="{BCF7989C-1AE3-B8D1-CB03-EC15A9EF1673}"/>
              </a:ext>
            </a:extLst>
          </p:cNvPr>
          <p:cNvSpPr txBox="1"/>
          <p:nvPr/>
        </p:nvSpPr>
        <p:spPr>
          <a:xfrm>
            <a:off x="4321900" y="4678003"/>
            <a:ext cx="808981" cy="680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k</a:t>
            </a:r>
          </a:p>
        </p:txBody>
      </p:sp>
      <p:sp>
        <p:nvSpPr>
          <p:cNvPr id="43" name="Textfeld 174">
            <a:extLst>
              <a:ext uri="{FF2B5EF4-FFF2-40B4-BE49-F238E27FC236}">
                <a16:creationId xmlns:a16="http://schemas.microsoft.com/office/drawing/2014/main" id="{5E84F93F-6530-F355-03B2-B488B1185538}"/>
              </a:ext>
            </a:extLst>
          </p:cNvPr>
          <p:cNvSpPr txBox="1"/>
          <p:nvPr/>
        </p:nvSpPr>
        <p:spPr>
          <a:xfrm>
            <a:off x="4599399" y="4677452"/>
            <a:ext cx="808981" cy="680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k+1</a:t>
            </a:r>
          </a:p>
        </p:txBody>
      </p:sp>
      <p:sp>
        <p:nvSpPr>
          <p:cNvPr id="44" name="Textfeld 175">
            <a:extLst>
              <a:ext uri="{FF2B5EF4-FFF2-40B4-BE49-F238E27FC236}">
                <a16:creationId xmlns:a16="http://schemas.microsoft.com/office/drawing/2014/main" id="{F2C5D396-00C8-FA29-6982-AFF8BC8D7761}"/>
              </a:ext>
            </a:extLst>
          </p:cNvPr>
          <p:cNvSpPr txBox="1"/>
          <p:nvPr/>
        </p:nvSpPr>
        <p:spPr>
          <a:xfrm>
            <a:off x="4976485" y="4678003"/>
            <a:ext cx="808981" cy="4601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k+2</a:t>
            </a:r>
          </a:p>
        </p:txBody>
      </p:sp>
      <p:sp>
        <p:nvSpPr>
          <p:cNvPr id="45" name="Textfeld 176">
            <a:extLst>
              <a:ext uri="{FF2B5EF4-FFF2-40B4-BE49-F238E27FC236}">
                <a16:creationId xmlns:a16="http://schemas.microsoft.com/office/drawing/2014/main" id="{74BB031C-5DC9-667C-DB5E-CE6FCE8286A8}"/>
              </a:ext>
            </a:extLst>
          </p:cNvPr>
          <p:cNvSpPr txBox="1"/>
          <p:nvPr/>
        </p:nvSpPr>
        <p:spPr>
          <a:xfrm>
            <a:off x="7465658" y="4650953"/>
            <a:ext cx="331190" cy="26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k+N</a:t>
            </a:r>
          </a:p>
        </p:txBody>
      </p:sp>
      <p:sp>
        <p:nvSpPr>
          <p:cNvPr id="46" name="Textfeld 177">
            <a:extLst>
              <a:ext uri="{FF2B5EF4-FFF2-40B4-BE49-F238E27FC236}">
                <a16:creationId xmlns:a16="http://schemas.microsoft.com/office/drawing/2014/main" id="{D917439B-F606-F9D1-9BEF-601B1C800654}"/>
              </a:ext>
            </a:extLst>
          </p:cNvPr>
          <p:cNvSpPr txBox="1"/>
          <p:nvPr/>
        </p:nvSpPr>
        <p:spPr>
          <a:xfrm>
            <a:off x="5941257" y="4677452"/>
            <a:ext cx="331190" cy="26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…</a:t>
            </a:r>
          </a:p>
        </p:txBody>
      </p:sp>
      <p:sp>
        <p:nvSpPr>
          <p:cNvPr id="47" name="Textfeld 38">
            <a:extLst>
              <a:ext uri="{FF2B5EF4-FFF2-40B4-BE49-F238E27FC236}">
                <a16:creationId xmlns:a16="http://schemas.microsoft.com/office/drawing/2014/main" id="{FD6384D7-9278-1547-686B-988553B39961}"/>
              </a:ext>
            </a:extLst>
          </p:cNvPr>
          <p:cNvSpPr txBox="1"/>
          <p:nvPr/>
        </p:nvSpPr>
        <p:spPr>
          <a:xfrm>
            <a:off x="4425951" y="4248276"/>
            <a:ext cx="643743" cy="2511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5 min</a:t>
            </a:r>
          </a:p>
        </p:txBody>
      </p:sp>
      <p:sp>
        <p:nvSpPr>
          <p:cNvPr id="48" name="Freeform: Shape 54">
            <a:extLst>
              <a:ext uri="{FF2B5EF4-FFF2-40B4-BE49-F238E27FC236}">
                <a16:creationId xmlns:a16="http://schemas.microsoft.com/office/drawing/2014/main" id="{38720E6E-99E7-3016-3836-C4EC9C1F1E86}"/>
              </a:ext>
            </a:extLst>
          </p:cNvPr>
          <p:cNvSpPr/>
          <p:nvPr/>
        </p:nvSpPr>
        <p:spPr bwMode="auto">
          <a:xfrm>
            <a:off x="4387887" y="2150896"/>
            <a:ext cx="3214233" cy="712833"/>
          </a:xfrm>
          <a:custGeom>
            <a:avLst/>
            <a:gdLst>
              <a:gd name="connsiteX0" fmla="*/ 0 w 3078480"/>
              <a:gd name="connsiteY0" fmla="*/ 712833 h 712833"/>
              <a:gd name="connsiteX1" fmla="*/ 762000 w 3078480"/>
              <a:gd name="connsiteY1" fmla="*/ 296273 h 712833"/>
              <a:gd name="connsiteX2" fmla="*/ 1391920 w 3078480"/>
              <a:gd name="connsiteY2" fmla="*/ 499473 h 712833"/>
              <a:gd name="connsiteX3" fmla="*/ 2225040 w 3078480"/>
              <a:gd name="connsiteY3" fmla="*/ 1633 h 712833"/>
              <a:gd name="connsiteX4" fmla="*/ 2885440 w 3078480"/>
              <a:gd name="connsiteY4" fmla="*/ 336913 h 712833"/>
              <a:gd name="connsiteX5" fmla="*/ 3078480 w 3078480"/>
              <a:gd name="connsiteY5" fmla="*/ 265793 h 71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78480" h="712833">
                <a:moveTo>
                  <a:pt x="0" y="712833"/>
                </a:moveTo>
                <a:cubicBezTo>
                  <a:pt x="265006" y="522333"/>
                  <a:pt x="530013" y="331833"/>
                  <a:pt x="762000" y="296273"/>
                </a:cubicBezTo>
                <a:cubicBezTo>
                  <a:pt x="993987" y="260713"/>
                  <a:pt x="1148080" y="548580"/>
                  <a:pt x="1391920" y="499473"/>
                </a:cubicBezTo>
                <a:cubicBezTo>
                  <a:pt x="1635760" y="450366"/>
                  <a:pt x="1976120" y="28726"/>
                  <a:pt x="2225040" y="1633"/>
                </a:cubicBezTo>
                <a:cubicBezTo>
                  <a:pt x="2473960" y="-25460"/>
                  <a:pt x="2743200" y="292886"/>
                  <a:pt x="2885440" y="336913"/>
                </a:cubicBezTo>
                <a:cubicBezTo>
                  <a:pt x="3027680" y="380940"/>
                  <a:pt x="3041227" y="275953"/>
                  <a:pt x="3078480" y="265793"/>
                </a:cubicBezTo>
              </a:path>
            </a:pathLst>
          </a:custGeom>
          <a:ln w="28575">
            <a:solidFill>
              <a:srgbClr val="41AAC8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0"/>
              <a:cs typeface="+mn-cs"/>
            </a:endParaRPr>
          </a:p>
        </p:txBody>
      </p:sp>
      <p:sp>
        <p:nvSpPr>
          <p:cNvPr id="49" name="Rechteck 129">
            <a:extLst>
              <a:ext uri="{FF2B5EF4-FFF2-40B4-BE49-F238E27FC236}">
                <a16:creationId xmlns:a16="http://schemas.microsoft.com/office/drawing/2014/main" id="{93DCD57E-0B55-EB6A-A60A-DB0BA3F42F0A}"/>
              </a:ext>
            </a:extLst>
          </p:cNvPr>
          <p:cNvSpPr/>
          <p:nvPr/>
        </p:nvSpPr>
        <p:spPr>
          <a:xfrm>
            <a:off x="7908769" y="1797846"/>
            <a:ext cx="32142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387A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ředpověď počasí (obsazenos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2387AA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edikce chování prostoru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2387AA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50" name="Gerader Verbinder 127">
            <a:extLst>
              <a:ext uri="{FF2B5EF4-FFF2-40B4-BE49-F238E27FC236}">
                <a16:creationId xmlns:a16="http://schemas.microsoft.com/office/drawing/2014/main" id="{3BBF322D-BDC5-419A-BF0E-ABF20A712F3F}"/>
              </a:ext>
            </a:extLst>
          </p:cNvPr>
          <p:cNvCxnSpPr>
            <a:cxnSpLocks/>
          </p:cNvCxnSpPr>
          <p:nvPr/>
        </p:nvCxnSpPr>
        <p:spPr bwMode="auto">
          <a:xfrm flipV="1">
            <a:off x="7631243" y="2069288"/>
            <a:ext cx="309655" cy="29770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22">
            <a:extLst>
              <a:ext uri="{FF2B5EF4-FFF2-40B4-BE49-F238E27FC236}">
                <a16:creationId xmlns:a16="http://schemas.microsoft.com/office/drawing/2014/main" id="{A731E893-DF50-1D44-DD7D-DC7E55E86DDA}"/>
              </a:ext>
            </a:extLst>
          </p:cNvPr>
          <p:cNvSpPr txBox="1"/>
          <p:nvPr/>
        </p:nvSpPr>
        <p:spPr>
          <a:xfrm>
            <a:off x="1732310" y="3104124"/>
            <a:ext cx="808981" cy="680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Komfort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D7A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2" name="Titel 4">
            <a:extLst>
              <a:ext uri="{FF2B5EF4-FFF2-40B4-BE49-F238E27FC236}">
                <a16:creationId xmlns:a16="http://schemas.microsoft.com/office/drawing/2014/main" id="{EB2C86BA-EF1A-672B-C59F-A64EB921E953}"/>
              </a:ext>
            </a:extLst>
          </p:cNvPr>
          <p:cNvSpPr txBox="1">
            <a:spLocks/>
          </p:cNvSpPr>
          <p:nvPr/>
        </p:nvSpPr>
        <p:spPr bwMode="black">
          <a:xfrm>
            <a:off x="1185079" y="379116"/>
            <a:ext cx="4482081" cy="41508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Comfort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 AI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Prediktivní </a:t>
            </a:r>
            <a:r>
              <a:rPr lang="cs-CZ" sz="1400" b="0">
                <a:solidFill>
                  <a:schemeClr val="tx1"/>
                </a:solidFill>
                <a:latin typeface="Arial"/>
                <a:sym typeface="Arial"/>
              </a:rPr>
              <a:t>model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53" name="Grafik 10" descr="Ein Bild, das Grafiken, Symbol, Kreis, Grafikdesign enthält.&#10;&#10;Automatisch generierte Beschreibung">
            <a:extLst>
              <a:ext uri="{FF2B5EF4-FFF2-40B4-BE49-F238E27FC236}">
                <a16:creationId xmlns:a16="http://schemas.microsoft.com/office/drawing/2014/main" id="{A64C1D8B-95D9-6E26-97B8-19BF86B859A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565" y="383221"/>
            <a:ext cx="685736" cy="685736"/>
          </a:xfrm>
          <a:prstGeom prst="rect">
            <a:avLst/>
          </a:prstGeom>
        </p:spPr>
      </p:pic>
      <p:cxnSp>
        <p:nvCxnSpPr>
          <p:cNvPr id="68" name="Přímá spojnice 67">
            <a:extLst>
              <a:ext uri="{FF2B5EF4-FFF2-40B4-BE49-F238E27FC236}">
                <a16:creationId xmlns:a16="http://schemas.microsoft.com/office/drawing/2014/main" id="{0E98F40D-883B-D319-57D0-970DC5212C90}"/>
              </a:ext>
            </a:extLst>
          </p:cNvPr>
          <p:cNvCxnSpPr>
            <a:cxnSpLocks/>
            <a:stCxn id="2" idx="1"/>
          </p:cNvCxnSpPr>
          <p:nvPr/>
        </p:nvCxnSpPr>
        <p:spPr>
          <a:xfrm>
            <a:off x="2718104" y="3227032"/>
            <a:ext cx="1653190" cy="0"/>
          </a:xfrm>
          <a:prstGeom prst="line">
            <a:avLst/>
          </a:prstGeom>
          <a:ln w="19050">
            <a:solidFill>
              <a:srgbClr val="EF0137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147">
            <a:extLst>
              <a:ext uri="{FF2B5EF4-FFF2-40B4-BE49-F238E27FC236}">
                <a16:creationId xmlns:a16="http://schemas.microsoft.com/office/drawing/2014/main" id="{06D60456-4F36-4359-8435-2BDF896DEA9C}"/>
              </a:ext>
            </a:extLst>
          </p:cNvPr>
          <p:cNvSpPr/>
          <p:nvPr/>
        </p:nvSpPr>
        <p:spPr>
          <a:xfrm>
            <a:off x="1181682" y="2460570"/>
            <a:ext cx="2661367" cy="310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EF0137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Žádaná teplota prostoru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EF0137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72" name="Gerader Verbinder 127">
            <a:extLst>
              <a:ext uri="{FF2B5EF4-FFF2-40B4-BE49-F238E27FC236}">
                <a16:creationId xmlns:a16="http://schemas.microsoft.com/office/drawing/2014/main" id="{69FCEC41-6B6E-EFE8-ACC3-ADDE96A83916}"/>
              </a:ext>
            </a:extLst>
          </p:cNvPr>
          <p:cNvCxnSpPr>
            <a:cxnSpLocks/>
          </p:cNvCxnSpPr>
          <p:nvPr/>
        </p:nvCxnSpPr>
        <p:spPr bwMode="auto">
          <a:xfrm>
            <a:off x="3168564" y="2645371"/>
            <a:ext cx="254705" cy="5808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Footer Placeholder 2">
            <a:extLst>
              <a:ext uri="{FF2B5EF4-FFF2-40B4-BE49-F238E27FC236}">
                <a16:creationId xmlns:a16="http://schemas.microsoft.com/office/drawing/2014/main" id="{0F0E12DE-47AF-238C-8620-243A05CA33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DC6F362D-8249-15AA-747B-528C334EC0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5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00673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500"/>
                            </p:stCondLst>
                            <p:childTnLst>
                              <p:par>
                                <p:cTn id="1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  <p:bldP spid="9" grpId="0"/>
      <p:bldP spid="10" grpId="0"/>
      <p:bldP spid="11" grpId="0"/>
      <p:bldP spid="12" grpId="0"/>
      <p:bldP spid="13" grpId="0"/>
      <p:bldP spid="28" grpId="0"/>
      <p:bldP spid="36" grpId="0"/>
      <p:bldP spid="38" grpId="0"/>
      <p:bldP spid="39" grpId="0" animBg="1"/>
      <p:bldP spid="40" grpId="0" animBg="1"/>
      <p:bldP spid="42" grpId="0"/>
      <p:bldP spid="43" grpId="0"/>
      <p:bldP spid="44" grpId="0"/>
      <p:bldP spid="45" grpId="0"/>
      <p:bldP spid="47" grpId="0"/>
      <p:bldP spid="48" grpId="0" animBg="1"/>
      <p:bldP spid="49" grpId="0"/>
      <p:bldP spid="51" grpId="0"/>
      <p:bldP spid="7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B0A2C2-4EC4-77FB-F709-9013C86D5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DADBB32-C531-D395-A911-4B4137524B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9" imgH="642" progId="TCLayout.ActiveDocument.1">
                  <p:embed/>
                </p:oleObj>
              </mc:Choice>
              <mc:Fallback>
                <p:oleObj name="think-cell Foli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ADBB32-C531-D395-A911-4B4137524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6EF28441-E1D7-F4E6-0EA0-6287EC8E8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799"/>
            <a:ext cx="9863997" cy="928417"/>
          </a:xfrm>
        </p:spPr>
        <p:txBody>
          <a:bodyPr vert="horz"/>
          <a:lstStyle/>
          <a:p>
            <a:r>
              <a:rPr lang="en-US" dirty="0"/>
              <a:t>Smart Infrastructure I</a:t>
            </a:r>
            <a:r>
              <a:rPr lang="cs-CZ" dirty="0"/>
              <a:t> </a:t>
            </a:r>
            <a:r>
              <a:rPr lang="en-US" dirty="0"/>
              <a:t>Buildings</a:t>
            </a:r>
            <a:endParaRPr lang="en-US" dirty="0">
              <a:solidFill>
                <a:srgbClr val="00FFB9"/>
              </a:solidFill>
            </a:endParaRPr>
          </a:p>
        </p:txBody>
      </p:sp>
      <p:pic>
        <p:nvPicPr>
          <p:cNvPr id="65" name="Grafik 56">
            <a:extLst>
              <a:ext uri="{FF2B5EF4-FFF2-40B4-BE49-F238E27FC236}">
                <a16:creationId xmlns:a16="http://schemas.microsoft.com/office/drawing/2014/main" id="{18B9B395-EAB6-C1D8-1D77-F1CDB3527149}"/>
              </a:ext>
            </a:extLst>
          </p:cNvPr>
          <p:cNvPicPr>
            <a:picLocks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8544" y="1851148"/>
            <a:ext cx="4112284" cy="3436954"/>
          </a:xfrm>
          <a:custGeom>
            <a:avLst/>
            <a:gdLst>
              <a:gd name="connsiteX0" fmla="*/ 2669205 w 4992494"/>
              <a:gd name="connsiteY0" fmla="*/ 0 h 4172613"/>
              <a:gd name="connsiteX1" fmla="*/ 3073307 w 4992494"/>
              <a:gd name="connsiteY1" fmla="*/ 167374 h 4172613"/>
              <a:gd name="connsiteX2" fmla="*/ 4992494 w 4992494"/>
              <a:gd name="connsiteY2" fmla="*/ 2086274 h 4172613"/>
              <a:gd name="connsiteX3" fmla="*/ 3073307 w 4992494"/>
              <a:gd name="connsiteY3" fmla="*/ 4005438 h 4172613"/>
              <a:gd name="connsiteX4" fmla="*/ 2265103 w 4992494"/>
              <a:gd name="connsiteY4" fmla="*/ 4005438 h 4172613"/>
              <a:gd name="connsiteX5" fmla="*/ 2265103 w 4992494"/>
              <a:gd name="connsiteY5" fmla="*/ 3197355 h 4172613"/>
              <a:gd name="connsiteX6" fmla="*/ 3376350 w 4992494"/>
              <a:gd name="connsiteY6" fmla="*/ 2086274 h 4172613"/>
              <a:gd name="connsiteX7" fmla="*/ 2265103 w 4992494"/>
              <a:gd name="connsiteY7" fmla="*/ 975457 h 4172613"/>
              <a:gd name="connsiteX8" fmla="*/ 2265103 w 4992494"/>
              <a:gd name="connsiteY8" fmla="*/ 167374 h 4172613"/>
              <a:gd name="connsiteX9" fmla="*/ 2669205 w 4992494"/>
              <a:gd name="connsiteY9" fmla="*/ 0 h 4172613"/>
              <a:gd name="connsiteX10" fmla="*/ 571501 w 4992494"/>
              <a:gd name="connsiteY10" fmla="*/ 0 h 4172613"/>
              <a:gd name="connsiteX11" fmla="*/ 975603 w 4992494"/>
              <a:gd name="connsiteY11" fmla="*/ 167374 h 4172613"/>
              <a:gd name="connsiteX12" fmla="*/ 2894790 w 4992494"/>
              <a:gd name="connsiteY12" fmla="*/ 2086274 h 4172613"/>
              <a:gd name="connsiteX13" fmla="*/ 975603 w 4992494"/>
              <a:gd name="connsiteY13" fmla="*/ 4005438 h 4172613"/>
              <a:gd name="connsiteX14" fmla="*/ 167399 w 4992494"/>
              <a:gd name="connsiteY14" fmla="*/ 4005438 h 4172613"/>
              <a:gd name="connsiteX15" fmla="*/ 167399 w 4992494"/>
              <a:gd name="connsiteY15" fmla="*/ 3197355 h 4172613"/>
              <a:gd name="connsiteX16" fmla="*/ 1278646 w 4992494"/>
              <a:gd name="connsiteY16" fmla="*/ 2086274 h 4172613"/>
              <a:gd name="connsiteX17" fmla="*/ 167399 w 4992494"/>
              <a:gd name="connsiteY17" fmla="*/ 975457 h 4172613"/>
              <a:gd name="connsiteX18" fmla="*/ 167399 w 4992494"/>
              <a:gd name="connsiteY18" fmla="*/ 167374 h 4172613"/>
              <a:gd name="connsiteX19" fmla="*/ 571501 w 4992494"/>
              <a:gd name="connsiteY19" fmla="*/ 0 h 4172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992494" h="4172613">
                <a:moveTo>
                  <a:pt x="2669205" y="0"/>
                </a:moveTo>
                <a:cubicBezTo>
                  <a:pt x="2815457" y="0"/>
                  <a:pt x="2961708" y="55792"/>
                  <a:pt x="3073307" y="167374"/>
                </a:cubicBezTo>
                <a:lnTo>
                  <a:pt x="4992494" y="2086274"/>
                </a:lnTo>
                <a:lnTo>
                  <a:pt x="3073307" y="4005438"/>
                </a:lnTo>
                <a:cubicBezTo>
                  <a:pt x="2850109" y="4228339"/>
                  <a:pt x="2488301" y="4228339"/>
                  <a:pt x="2265103" y="4005438"/>
                </a:cubicBezTo>
                <a:cubicBezTo>
                  <a:pt x="2041905" y="3782273"/>
                  <a:pt x="2041905" y="3420520"/>
                  <a:pt x="2265103" y="3197355"/>
                </a:cubicBezTo>
                <a:lnTo>
                  <a:pt x="3376350" y="2086274"/>
                </a:lnTo>
                <a:lnTo>
                  <a:pt x="2265103" y="975457"/>
                </a:lnTo>
                <a:cubicBezTo>
                  <a:pt x="2041905" y="752292"/>
                  <a:pt x="2041905" y="390538"/>
                  <a:pt x="2265103" y="167374"/>
                </a:cubicBezTo>
                <a:cubicBezTo>
                  <a:pt x="2376702" y="55792"/>
                  <a:pt x="2522954" y="0"/>
                  <a:pt x="2669205" y="0"/>
                </a:cubicBezTo>
                <a:close/>
                <a:moveTo>
                  <a:pt x="571501" y="0"/>
                </a:moveTo>
                <a:cubicBezTo>
                  <a:pt x="717753" y="0"/>
                  <a:pt x="864004" y="55792"/>
                  <a:pt x="975603" y="167374"/>
                </a:cubicBezTo>
                <a:lnTo>
                  <a:pt x="2894790" y="2086274"/>
                </a:lnTo>
                <a:lnTo>
                  <a:pt x="975603" y="4005438"/>
                </a:lnTo>
                <a:cubicBezTo>
                  <a:pt x="752405" y="4228339"/>
                  <a:pt x="390597" y="4228339"/>
                  <a:pt x="167399" y="4005438"/>
                </a:cubicBezTo>
                <a:cubicBezTo>
                  <a:pt x="-55799" y="3782273"/>
                  <a:pt x="-55799" y="3420520"/>
                  <a:pt x="167399" y="3197355"/>
                </a:cubicBezTo>
                <a:lnTo>
                  <a:pt x="1278646" y="2086274"/>
                </a:lnTo>
                <a:lnTo>
                  <a:pt x="167399" y="975457"/>
                </a:lnTo>
                <a:cubicBezTo>
                  <a:pt x="-55799" y="752292"/>
                  <a:pt x="-55799" y="390538"/>
                  <a:pt x="167399" y="167374"/>
                </a:cubicBezTo>
                <a:cubicBezTo>
                  <a:pt x="278998" y="55792"/>
                  <a:pt x="425250" y="0"/>
                  <a:pt x="571501" y="0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rgbClr val="00646E"/>
            </a:solidFill>
          </a:ln>
        </p:spPr>
      </p:pic>
      <p:pic>
        <p:nvPicPr>
          <p:cNvPr id="68" name="Grafik 55">
            <a:extLst>
              <a:ext uri="{FF2B5EF4-FFF2-40B4-BE49-F238E27FC236}">
                <a16:creationId xmlns:a16="http://schemas.microsoft.com/office/drawing/2014/main" id="{3C9F8203-B31E-A174-CA72-A6451D77513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7060" y="1851148"/>
            <a:ext cx="5839219" cy="3436954"/>
          </a:xfrm>
          <a:custGeom>
            <a:avLst/>
            <a:gdLst>
              <a:gd name="connsiteX0" fmla="*/ 4765779 w 7089068"/>
              <a:gd name="connsiteY0" fmla="*/ 0 h 4172613"/>
              <a:gd name="connsiteX1" fmla="*/ 5169881 w 7089068"/>
              <a:gd name="connsiteY1" fmla="*/ 167374 h 4172613"/>
              <a:gd name="connsiteX2" fmla="*/ 7089068 w 7089068"/>
              <a:gd name="connsiteY2" fmla="*/ 2086274 h 4172613"/>
              <a:gd name="connsiteX3" fmla="*/ 5169881 w 7089068"/>
              <a:gd name="connsiteY3" fmla="*/ 4005438 h 4172613"/>
              <a:gd name="connsiteX4" fmla="*/ 4361677 w 7089068"/>
              <a:gd name="connsiteY4" fmla="*/ 4005438 h 4172613"/>
              <a:gd name="connsiteX5" fmla="*/ 4361677 w 7089068"/>
              <a:gd name="connsiteY5" fmla="*/ 3197355 h 4172613"/>
              <a:gd name="connsiteX6" fmla="*/ 5472924 w 7089068"/>
              <a:gd name="connsiteY6" fmla="*/ 2086274 h 4172613"/>
              <a:gd name="connsiteX7" fmla="*/ 4361677 w 7089068"/>
              <a:gd name="connsiteY7" fmla="*/ 975457 h 4172613"/>
              <a:gd name="connsiteX8" fmla="*/ 4361677 w 7089068"/>
              <a:gd name="connsiteY8" fmla="*/ 167374 h 4172613"/>
              <a:gd name="connsiteX9" fmla="*/ 4765779 w 7089068"/>
              <a:gd name="connsiteY9" fmla="*/ 0 h 4172613"/>
              <a:gd name="connsiteX10" fmla="*/ 2668075 w 7089068"/>
              <a:gd name="connsiteY10" fmla="*/ 0 h 4172613"/>
              <a:gd name="connsiteX11" fmla="*/ 3072177 w 7089068"/>
              <a:gd name="connsiteY11" fmla="*/ 167374 h 4172613"/>
              <a:gd name="connsiteX12" fmla="*/ 4991364 w 7089068"/>
              <a:gd name="connsiteY12" fmla="*/ 2086274 h 4172613"/>
              <a:gd name="connsiteX13" fmla="*/ 3072177 w 7089068"/>
              <a:gd name="connsiteY13" fmla="*/ 4005438 h 4172613"/>
              <a:gd name="connsiteX14" fmla="*/ 2263973 w 7089068"/>
              <a:gd name="connsiteY14" fmla="*/ 4005438 h 4172613"/>
              <a:gd name="connsiteX15" fmla="*/ 2263973 w 7089068"/>
              <a:gd name="connsiteY15" fmla="*/ 3197355 h 4172613"/>
              <a:gd name="connsiteX16" fmla="*/ 3375220 w 7089068"/>
              <a:gd name="connsiteY16" fmla="*/ 2086274 h 4172613"/>
              <a:gd name="connsiteX17" fmla="*/ 2263973 w 7089068"/>
              <a:gd name="connsiteY17" fmla="*/ 975457 h 4172613"/>
              <a:gd name="connsiteX18" fmla="*/ 2263973 w 7089068"/>
              <a:gd name="connsiteY18" fmla="*/ 167374 h 4172613"/>
              <a:gd name="connsiteX19" fmla="*/ 2668075 w 7089068"/>
              <a:gd name="connsiteY19" fmla="*/ 0 h 4172613"/>
              <a:gd name="connsiteX20" fmla="*/ 571501 w 7089068"/>
              <a:gd name="connsiteY20" fmla="*/ 0 h 4172613"/>
              <a:gd name="connsiteX21" fmla="*/ 975603 w 7089068"/>
              <a:gd name="connsiteY21" fmla="*/ 167374 h 4172613"/>
              <a:gd name="connsiteX22" fmla="*/ 2894790 w 7089068"/>
              <a:gd name="connsiteY22" fmla="*/ 2086274 h 4172613"/>
              <a:gd name="connsiteX23" fmla="*/ 975603 w 7089068"/>
              <a:gd name="connsiteY23" fmla="*/ 4005438 h 4172613"/>
              <a:gd name="connsiteX24" fmla="*/ 167399 w 7089068"/>
              <a:gd name="connsiteY24" fmla="*/ 4005438 h 4172613"/>
              <a:gd name="connsiteX25" fmla="*/ 167399 w 7089068"/>
              <a:gd name="connsiteY25" fmla="*/ 3197355 h 4172613"/>
              <a:gd name="connsiteX26" fmla="*/ 1278646 w 7089068"/>
              <a:gd name="connsiteY26" fmla="*/ 2086274 h 4172613"/>
              <a:gd name="connsiteX27" fmla="*/ 167399 w 7089068"/>
              <a:gd name="connsiteY27" fmla="*/ 975457 h 4172613"/>
              <a:gd name="connsiteX28" fmla="*/ 167399 w 7089068"/>
              <a:gd name="connsiteY28" fmla="*/ 167374 h 4172613"/>
              <a:gd name="connsiteX29" fmla="*/ 571501 w 7089068"/>
              <a:gd name="connsiteY29" fmla="*/ 0 h 4172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7089068" h="4172613">
                <a:moveTo>
                  <a:pt x="4765779" y="0"/>
                </a:moveTo>
                <a:cubicBezTo>
                  <a:pt x="4912031" y="0"/>
                  <a:pt x="5058282" y="55792"/>
                  <a:pt x="5169881" y="167374"/>
                </a:cubicBezTo>
                <a:lnTo>
                  <a:pt x="7089068" y="2086274"/>
                </a:lnTo>
                <a:lnTo>
                  <a:pt x="5169881" y="4005438"/>
                </a:lnTo>
                <a:cubicBezTo>
                  <a:pt x="4946683" y="4228339"/>
                  <a:pt x="4584875" y="4228339"/>
                  <a:pt x="4361677" y="4005438"/>
                </a:cubicBezTo>
                <a:cubicBezTo>
                  <a:pt x="4138479" y="3782273"/>
                  <a:pt x="4138479" y="3420520"/>
                  <a:pt x="4361677" y="3197355"/>
                </a:cubicBezTo>
                <a:lnTo>
                  <a:pt x="5472924" y="2086274"/>
                </a:lnTo>
                <a:lnTo>
                  <a:pt x="4361677" y="975457"/>
                </a:lnTo>
                <a:cubicBezTo>
                  <a:pt x="4138479" y="752292"/>
                  <a:pt x="4138479" y="390538"/>
                  <a:pt x="4361677" y="167374"/>
                </a:cubicBezTo>
                <a:cubicBezTo>
                  <a:pt x="4473276" y="55792"/>
                  <a:pt x="4619528" y="0"/>
                  <a:pt x="4765779" y="0"/>
                </a:cubicBezTo>
                <a:close/>
                <a:moveTo>
                  <a:pt x="2668075" y="0"/>
                </a:moveTo>
                <a:cubicBezTo>
                  <a:pt x="2814326" y="0"/>
                  <a:pt x="2960578" y="55792"/>
                  <a:pt x="3072177" y="167374"/>
                </a:cubicBezTo>
                <a:lnTo>
                  <a:pt x="4991364" y="2086274"/>
                </a:lnTo>
                <a:lnTo>
                  <a:pt x="3072177" y="4005438"/>
                </a:lnTo>
                <a:cubicBezTo>
                  <a:pt x="2848979" y="4228339"/>
                  <a:pt x="2487171" y="4228339"/>
                  <a:pt x="2263973" y="4005438"/>
                </a:cubicBezTo>
                <a:cubicBezTo>
                  <a:pt x="2040775" y="3782273"/>
                  <a:pt x="2040775" y="3420520"/>
                  <a:pt x="2263973" y="3197355"/>
                </a:cubicBezTo>
                <a:lnTo>
                  <a:pt x="3375220" y="2086274"/>
                </a:lnTo>
                <a:lnTo>
                  <a:pt x="2263973" y="975457"/>
                </a:lnTo>
                <a:cubicBezTo>
                  <a:pt x="2040775" y="752292"/>
                  <a:pt x="2040775" y="390538"/>
                  <a:pt x="2263973" y="167374"/>
                </a:cubicBezTo>
                <a:cubicBezTo>
                  <a:pt x="2375572" y="55792"/>
                  <a:pt x="2521824" y="0"/>
                  <a:pt x="2668075" y="0"/>
                </a:cubicBezTo>
                <a:close/>
                <a:moveTo>
                  <a:pt x="571501" y="0"/>
                </a:moveTo>
                <a:cubicBezTo>
                  <a:pt x="717752" y="0"/>
                  <a:pt x="864004" y="55792"/>
                  <a:pt x="975603" y="167374"/>
                </a:cubicBezTo>
                <a:lnTo>
                  <a:pt x="2894790" y="2086274"/>
                </a:lnTo>
                <a:lnTo>
                  <a:pt x="975603" y="4005438"/>
                </a:lnTo>
                <a:cubicBezTo>
                  <a:pt x="752405" y="4228339"/>
                  <a:pt x="390597" y="4228339"/>
                  <a:pt x="167399" y="4005438"/>
                </a:cubicBezTo>
                <a:cubicBezTo>
                  <a:pt x="-55799" y="3782273"/>
                  <a:pt x="-55799" y="3420520"/>
                  <a:pt x="167399" y="3197355"/>
                </a:cubicBezTo>
                <a:lnTo>
                  <a:pt x="1278646" y="2086274"/>
                </a:lnTo>
                <a:lnTo>
                  <a:pt x="167399" y="975457"/>
                </a:lnTo>
                <a:cubicBezTo>
                  <a:pt x="-55799" y="752292"/>
                  <a:pt x="-55799" y="390538"/>
                  <a:pt x="167399" y="167374"/>
                </a:cubicBezTo>
                <a:cubicBezTo>
                  <a:pt x="278998" y="55792"/>
                  <a:pt x="425250" y="0"/>
                  <a:pt x="571501" y="0"/>
                </a:cubicBezTo>
                <a:close/>
              </a:path>
            </a:pathLst>
          </a:custGeom>
          <a:solidFill>
            <a:srgbClr val="E5E5E9"/>
          </a:solidFill>
          <a:ln>
            <a:solidFill>
              <a:srgbClr val="00646E"/>
            </a:solidFill>
          </a:ln>
        </p:spPr>
      </p:pic>
      <p:sp>
        <p:nvSpPr>
          <p:cNvPr id="8" name="Rectangle 382">
            <a:extLst>
              <a:ext uri="{FF2B5EF4-FFF2-40B4-BE49-F238E27FC236}">
                <a16:creationId xmlns:a16="http://schemas.microsoft.com/office/drawing/2014/main" id="{CD125E66-7690-CEA4-ABFC-06F30A5AE41C}"/>
              </a:ext>
            </a:extLst>
          </p:cNvPr>
          <p:cNvSpPr/>
          <p:nvPr/>
        </p:nvSpPr>
        <p:spPr>
          <a:xfrm>
            <a:off x="5342398" y="4766158"/>
            <a:ext cx="2306868" cy="1431034"/>
          </a:xfrm>
          <a:prstGeom prst="rect">
            <a:avLst/>
          </a:prstGeom>
          <a:solidFill>
            <a:srgbClr val="33335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4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90 </a:t>
            </a:r>
            <a:r>
              <a:rPr kumimoji="0" lang="en-US" sz="4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b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4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času trávíme v budovách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3850725C-B46F-297F-D276-D20599075C56}"/>
              </a:ext>
            </a:extLst>
          </p:cNvPr>
          <p:cNvSpPr/>
          <p:nvPr/>
        </p:nvSpPr>
        <p:spPr>
          <a:xfrm>
            <a:off x="4001551" y="3030981"/>
            <a:ext cx="2315714" cy="1427996"/>
          </a:xfrm>
          <a:prstGeom prst="rect">
            <a:avLst/>
          </a:prstGeom>
          <a:solidFill>
            <a:srgbClr val="33335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7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4800" b="1" i="0" u="none" strike="noStrike" kern="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5 </a:t>
            </a:r>
            <a:r>
              <a:rPr kumimoji="0" lang="en-US" sz="4800" b="1" i="0" u="none" strike="noStrike" kern="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cs-CZ" sz="1400" kern="0" dirty="0">
                <a:solidFill>
                  <a:prstClr val="white"/>
                </a:solidFill>
                <a:latin typeface="Arial"/>
              </a:rPr>
              <a:t>budov je provozováno neefektivně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B2ACDD66-EA2B-5982-799B-87FA8099F0CB}"/>
              </a:ext>
            </a:extLst>
          </p:cNvPr>
          <p:cNvSpPr/>
          <p:nvPr/>
        </p:nvSpPr>
        <p:spPr>
          <a:xfrm>
            <a:off x="6497060" y="1244556"/>
            <a:ext cx="2315714" cy="1427996"/>
          </a:xfrm>
          <a:prstGeom prst="rect">
            <a:avLst/>
          </a:prstGeom>
          <a:solidFill>
            <a:srgbClr val="33335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7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4800" b="1" i="0" u="none" strike="noStrike" kern="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 </a:t>
            </a:r>
            <a:r>
              <a:rPr kumimoji="0" lang="en-US" sz="4800" b="1" i="0" u="none" strike="noStrike" kern="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cs-CZ" sz="1400" kern="0" dirty="0">
                <a:solidFill>
                  <a:prstClr val="white"/>
                </a:solidFill>
                <a:latin typeface="Arial"/>
              </a:rPr>
              <a:t>komerční podlahové plochy je bez chytrých technologií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AB395593-FAD6-A226-17BF-BCB58766D5D2}"/>
              </a:ext>
            </a:extLst>
          </p:cNvPr>
          <p:cNvSpPr/>
          <p:nvPr/>
        </p:nvSpPr>
        <p:spPr>
          <a:xfrm>
            <a:off x="6497060" y="3030981"/>
            <a:ext cx="2315714" cy="1427996"/>
          </a:xfrm>
          <a:prstGeom prst="rect">
            <a:avLst/>
          </a:prstGeom>
          <a:solidFill>
            <a:srgbClr val="33335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7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4800" b="1" i="0" u="none" strike="noStrike" kern="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0+ </a:t>
            </a:r>
            <a:r>
              <a:rPr kumimoji="0" lang="en-US" sz="4800" b="1" i="0" u="none" strike="noStrike" kern="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cs-CZ" sz="1400" kern="0" dirty="0">
                <a:solidFill>
                  <a:prstClr val="white"/>
                </a:solidFill>
                <a:latin typeface="Arial"/>
              </a:rPr>
              <a:t>budov, které budou stát v roce 2050, stojí již dn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382">
            <a:extLst>
              <a:ext uri="{FF2B5EF4-FFF2-40B4-BE49-F238E27FC236}">
                <a16:creationId xmlns:a16="http://schemas.microsoft.com/office/drawing/2014/main" id="{BD6F2719-4F24-CBB9-1BD4-6EB122855712}"/>
              </a:ext>
            </a:extLst>
          </p:cNvPr>
          <p:cNvSpPr/>
          <p:nvPr/>
        </p:nvSpPr>
        <p:spPr>
          <a:xfrm>
            <a:off x="4001551" y="1244556"/>
            <a:ext cx="2303366" cy="1427996"/>
          </a:xfrm>
          <a:prstGeom prst="rect">
            <a:avLst/>
          </a:prstGeom>
          <a:solidFill>
            <a:srgbClr val="33335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4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40 %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robené energie spotřebovávají budov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AF42287-61BA-710E-1A96-FC69875928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1A7AFADF-106D-9E0D-5DB7-B9C4EA9439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6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5668757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3469E-00C7-369D-C049-B5055716E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672CD12-5595-6364-357E-69E7FE8A15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72CD12-5595-6364-357E-69E7FE8A1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5A42DBA3-8E0E-949F-F051-6D3E8C9EEFDF}"/>
              </a:ext>
            </a:extLst>
          </p:cNvPr>
          <p:cNvSpPr>
            <a:spLocks/>
          </p:cNvSpPr>
          <p:nvPr/>
        </p:nvSpPr>
        <p:spPr>
          <a:xfrm>
            <a:off x="8840391" y="3458245"/>
            <a:ext cx="2946797" cy="480931"/>
          </a:xfrm>
          <a:prstGeom prst="chevron">
            <a:avLst>
              <a:gd name="adj" fmla="val 25000"/>
            </a:avLst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feil: Fünfeck 6">
            <a:extLst>
              <a:ext uri="{FF2B5EF4-FFF2-40B4-BE49-F238E27FC236}">
                <a16:creationId xmlns:a16="http://schemas.microsoft.com/office/drawing/2014/main" id="{95358C7C-D627-6F30-9BCC-4D3097208560}"/>
              </a:ext>
            </a:extLst>
          </p:cNvPr>
          <p:cNvSpPr>
            <a:spLocks/>
          </p:cNvSpPr>
          <p:nvPr/>
        </p:nvSpPr>
        <p:spPr>
          <a:xfrm>
            <a:off x="0" y="3458245"/>
            <a:ext cx="2946797" cy="480931"/>
          </a:xfrm>
          <a:prstGeom prst="homePlate">
            <a:avLst>
              <a:gd name="adj" fmla="val 25000"/>
            </a:avLst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B52544D8-F205-413F-537F-A338D2A89472}"/>
              </a:ext>
            </a:extLst>
          </p:cNvPr>
          <p:cNvSpPr>
            <a:spLocks/>
          </p:cNvSpPr>
          <p:nvPr/>
        </p:nvSpPr>
        <p:spPr>
          <a:xfrm>
            <a:off x="2946797" y="3458245"/>
            <a:ext cx="2946797" cy="480931"/>
          </a:xfrm>
          <a:prstGeom prst="chevron">
            <a:avLst>
              <a:gd name="adj" fmla="val 25000"/>
            </a:avLst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Pfeil: Chevron 9">
            <a:extLst>
              <a:ext uri="{FF2B5EF4-FFF2-40B4-BE49-F238E27FC236}">
                <a16:creationId xmlns:a16="http://schemas.microsoft.com/office/drawing/2014/main" id="{D9EAD5F3-13EF-32E5-6CFE-B8DAD52D1C4A}"/>
              </a:ext>
            </a:extLst>
          </p:cNvPr>
          <p:cNvSpPr>
            <a:spLocks/>
          </p:cNvSpPr>
          <p:nvPr/>
        </p:nvSpPr>
        <p:spPr>
          <a:xfrm>
            <a:off x="5893595" y="3458245"/>
            <a:ext cx="2946797" cy="480931"/>
          </a:xfrm>
          <a:prstGeom prst="chevron">
            <a:avLst>
              <a:gd name="adj" fmla="val 25000"/>
            </a:avLst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C212E8E-5B6F-3F03-23B3-17B22C7703CF}"/>
              </a:ext>
            </a:extLst>
          </p:cNvPr>
          <p:cNvSpPr txBox="1">
            <a:spLocks/>
          </p:cNvSpPr>
          <p:nvPr/>
        </p:nvSpPr>
        <p:spPr>
          <a:xfrm>
            <a:off x="8840391" y="4306296"/>
            <a:ext cx="2292449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D7A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man-centric, autonomous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ova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48ABF79-0ADD-3ED9-33D1-A88F5E80EF44}"/>
              </a:ext>
            </a:extLst>
          </p:cNvPr>
          <p:cNvSpPr txBox="1">
            <a:spLocks/>
          </p:cNvSpPr>
          <p:nvPr/>
        </p:nvSpPr>
        <p:spPr>
          <a:xfrm>
            <a:off x="5893594" y="4306296"/>
            <a:ext cx="672141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D7A0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ytrá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ova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A2C094B-4A5C-D5FD-AD64-E23B95D2633C}"/>
              </a:ext>
            </a:extLst>
          </p:cNvPr>
          <p:cNvSpPr txBox="1">
            <a:spLocks/>
          </p:cNvSpPr>
          <p:nvPr/>
        </p:nvSpPr>
        <p:spPr>
          <a:xfrm>
            <a:off x="411163" y="4306296"/>
            <a:ext cx="95101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D7A0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iční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ova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32F5014-7149-8DC4-2C80-D446B873C11C}"/>
              </a:ext>
            </a:extLst>
          </p:cNvPr>
          <p:cNvSpPr txBox="1">
            <a:spLocks/>
          </p:cNvSpPr>
          <p:nvPr/>
        </p:nvSpPr>
        <p:spPr>
          <a:xfrm>
            <a:off x="2946797" y="4306296"/>
            <a:ext cx="1440000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D7A0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izovaná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ova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32" name="Gruppieren 1831">
            <a:extLst>
              <a:ext uri="{FF2B5EF4-FFF2-40B4-BE49-F238E27FC236}">
                <a16:creationId xmlns:a16="http://schemas.microsoft.com/office/drawing/2014/main" id="{A6076CF5-9C71-192F-A067-64657CBFFAC8}"/>
              </a:ext>
            </a:extLst>
          </p:cNvPr>
          <p:cNvGrpSpPr/>
          <p:nvPr/>
        </p:nvGrpSpPr>
        <p:grpSpPr>
          <a:xfrm>
            <a:off x="3385603" y="2165434"/>
            <a:ext cx="2069185" cy="1888725"/>
            <a:chOff x="3385603" y="2734050"/>
            <a:chExt cx="2069185" cy="1888725"/>
          </a:xfrm>
        </p:grpSpPr>
        <p:sp>
          <p:nvSpPr>
            <p:cNvPr id="1229" name="Freihandform: Form 1228">
              <a:extLst>
                <a:ext uri="{FF2B5EF4-FFF2-40B4-BE49-F238E27FC236}">
                  <a16:creationId xmlns:a16="http://schemas.microsoft.com/office/drawing/2014/main" id="{4CC99CDB-1F22-067E-70FF-3119B61329E2}"/>
                </a:ext>
              </a:extLst>
            </p:cNvPr>
            <p:cNvSpPr/>
            <p:nvPr/>
          </p:nvSpPr>
          <p:spPr>
            <a:xfrm>
              <a:off x="3385603" y="3428120"/>
              <a:ext cx="2069185" cy="1194655"/>
            </a:xfrm>
            <a:custGeom>
              <a:avLst/>
              <a:gdLst>
                <a:gd name="connsiteX0" fmla="*/ 1034616 w 2069185"/>
                <a:gd name="connsiteY0" fmla="*/ 0 h 1194655"/>
                <a:gd name="connsiteX1" fmla="*/ 0 w 2069185"/>
                <a:gd name="connsiteY1" fmla="*/ 597328 h 1194655"/>
                <a:gd name="connsiteX2" fmla="*/ 1034570 w 2069185"/>
                <a:gd name="connsiteY2" fmla="*/ 1194656 h 1194655"/>
                <a:gd name="connsiteX3" fmla="*/ 2069185 w 2069185"/>
                <a:gd name="connsiteY3" fmla="*/ 597328 h 1194655"/>
                <a:gd name="connsiteX4" fmla="*/ 1034616 w 2069185"/>
                <a:gd name="connsiteY4" fmla="*/ 0 h 119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185" h="1194655">
                  <a:moveTo>
                    <a:pt x="1034616" y="0"/>
                  </a:moveTo>
                  <a:lnTo>
                    <a:pt x="0" y="597328"/>
                  </a:lnTo>
                  <a:lnTo>
                    <a:pt x="1034570" y="1194656"/>
                  </a:lnTo>
                  <a:lnTo>
                    <a:pt x="2069185" y="597328"/>
                  </a:lnTo>
                  <a:lnTo>
                    <a:pt x="1034616" y="0"/>
                  </a:lnTo>
                  <a:close/>
                </a:path>
              </a:pathLst>
            </a:custGeom>
            <a:solidFill>
              <a:schemeClr val="tx1"/>
            </a:solidFill>
            <a:ln w="22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230" name="Gruppieren 1229">
              <a:extLst>
                <a:ext uri="{FF2B5EF4-FFF2-40B4-BE49-F238E27FC236}">
                  <a16:creationId xmlns:a16="http://schemas.microsoft.com/office/drawing/2014/main" id="{33891D60-3150-6D0C-4720-D8B194A06853}"/>
                </a:ext>
              </a:extLst>
            </p:cNvPr>
            <p:cNvGrpSpPr/>
            <p:nvPr/>
          </p:nvGrpSpPr>
          <p:grpSpPr>
            <a:xfrm>
              <a:off x="4192539" y="2734050"/>
              <a:ext cx="450530" cy="1055779"/>
              <a:chOff x="7987675" y="2290710"/>
              <a:chExt cx="450530" cy="1055779"/>
            </a:xfrm>
          </p:grpSpPr>
          <p:grpSp>
            <p:nvGrpSpPr>
              <p:cNvPr id="1355" name="Grafik 20">
                <a:extLst>
                  <a:ext uri="{FF2B5EF4-FFF2-40B4-BE49-F238E27FC236}">
                    <a16:creationId xmlns:a16="http://schemas.microsoft.com/office/drawing/2014/main" id="{7B45D4C4-749A-C89E-8423-4AA666409653}"/>
                  </a:ext>
                </a:extLst>
              </p:cNvPr>
              <p:cNvGrpSpPr/>
              <p:nvPr/>
            </p:nvGrpSpPr>
            <p:grpSpPr>
              <a:xfrm>
                <a:off x="7987675" y="2290710"/>
                <a:ext cx="450530" cy="1055779"/>
                <a:chOff x="7987675" y="2290710"/>
                <a:chExt cx="450530" cy="1055779"/>
              </a:xfrm>
            </p:grpSpPr>
            <p:grpSp>
              <p:nvGrpSpPr>
                <p:cNvPr id="1363" name="Grafik 20">
                  <a:extLst>
                    <a:ext uri="{FF2B5EF4-FFF2-40B4-BE49-F238E27FC236}">
                      <a16:creationId xmlns:a16="http://schemas.microsoft.com/office/drawing/2014/main" id="{6135E9CC-A664-86B9-CA78-3D68FC353EC7}"/>
                    </a:ext>
                  </a:extLst>
                </p:cNvPr>
                <p:cNvGrpSpPr/>
                <p:nvPr/>
              </p:nvGrpSpPr>
              <p:grpSpPr>
                <a:xfrm>
                  <a:off x="7987675" y="2557503"/>
                  <a:ext cx="450530" cy="788986"/>
                  <a:chOff x="7987675" y="2557503"/>
                  <a:chExt cx="450530" cy="788986"/>
                </a:xfrm>
              </p:grpSpPr>
              <p:sp>
                <p:nvSpPr>
                  <p:cNvPr id="1400" name="Freihandform: Form 1399">
                    <a:extLst>
                      <a:ext uri="{FF2B5EF4-FFF2-40B4-BE49-F238E27FC236}">
                        <a16:creationId xmlns:a16="http://schemas.microsoft.com/office/drawing/2014/main" id="{31BBC0C8-69C7-E5D8-FDB8-B5563D3C106C}"/>
                      </a:ext>
                    </a:extLst>
                  </p:cNvPr>
                  <p:cNvSpPr/>
                  <p:nvPr/>
                </p:nvSpPr>
                <p:spPr>
                  <a:xfrm>
                    <a:off x="7987675" y="3023041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26 h 259895"/>
                      <a:gd name="connsiteX1" fmla="*/ 307 w 450530"/>
                      <a:gd name="connsiteY1" fmla="*/ 129771 h 259895"/>
                      <a:gd name="connsiteX2" fmla="*/ 225112 w 450530"/>
                      <a:gd name="connsiteY2" fmla="*/ -169 h 259895"/>
                      <a:gd name="connsiteX3" fmla="*/ 450838 w 450530"/>
                      <a:gd name="connsiteY3" fmla="*/ 129786 h 259895"/>
                      <a:gd name="connsiteX4" fmla="*/ 225112 w 450530"/>
                      <a:gd name="connsiteY4" fmla="*/ 259726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26"/>
                        </a:moveTo>
                        <a:lnTo>
                          <a:pt x="307" y="129771"/>
                        </a:lnTo>
                        <a:lnTo>
                          <a:pt x="225112" y="-169"/>
                        </a:lnTo>
                        <a:lnTo>
                          <a:pt x="450838" y="129786"/>
                        </a:lnTo>
                        <a:lnTo>
                          <a:pt x="225112" y="259726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1" name="Freihandform: Form 1400">
                    <a:extLst>
                      <a:ext uri="{FF2B5EF4-FFF2-40B4-BE49-F238E27FC236}">
                        <a16:creationId xmlns:a16="http://schemas.microsoft.com/office/drawing/2014/main" id="{BD651066-7E69-3F25-DA9A-31F333D818A5}"/>
                      </a:ext>
                    </a:extLst>
                  </p:cNvPr>
                  <p:cNvSpPr/>
                  <p:nvPr/>
                </p:nvSpPr>
                <p:spPr>
                  <a:xfrm>
                    <a:off x="7987675" y="297132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37 h 259895"/>
                      <a:gd name="connsiteX1" fmla="*/ 307 w 450530"/>
                      <a:gd name="connsiteY1" fmla="*/ 129781 h 259895"/>
                      <a:gd name="connsiteX2" fmla="*/ 225112 w 450530"/>
                      <a:gd name="connsiteY2" fmla="*/ -159 h 259895"/>
                      <a:gd name="connsiteX3" fmla="*/ 450838 w 450530"/>
                      <a:gd name="connsiteY3" fmla="*/ 129781 h 259895"/>
                      <a:gd name="connsiteX4" fmla="*/ 225112 w 450530"/>
                      <a:gd name="connsiteY4" fmla="*/ 25973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37"/>
                        </a:moveTo>
                        <a:lnTo>
                          <a:pt x="307" y="129781"/>
                        </a:lnTo>
                        <a:lnTo>
                          <a:pt x="225112" y="-159"/>
                        </a:lnTo>
                        <a:lnTo>
                          <a:pt x="450838" y="129781"/>
                        </a:lnTo>
                        <a:lnTo>
                          <a:pt x="225112" y="25973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2" name="Freihandform: Form 1401">
                    <a:extLst>
                      <a:ext uri="{FF2B5EF4-FFF2-40B4-BE49-F238E27FC236}">
                        <a16:creationId xmlns:a16="http://schemas.microsoft.com/office/drawing/2014/main" id="{CF408383-A8BA-F87A-0768-53F3423738B7}"/>
                      </a:ext>
                    </a:extLst>
                  </p:cNvPr>
                  <p:cNvSpPr/>
                  <p:nvPr/>
                </p:nvSpPr>
                <p:spPr>
                  <a:xfrm>
                    <a:off x="8212480" y="3101265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495 h 181671"/>
                      <a:gd name="connsiteX1" fmla="*/ 285 w 225725"/>
                      <a:gd name="connsiteY1" fmla="*/ 129779 h 181671"/>
                      <a:gd name="connsiteX2" fmla="*/ 226010 w 225725"/>
                      <a:gd name="connsiteY2" fmla="*/ -177 h 181671"/>
                      <a:gd name="connsiteX3" fmla="*/ 226010 w 225725"/>
                      <a:gd name="connsiteY3" fmla="*/ 51555 h 181671"/>
                      <a:gd name="connsiteX4" fmla="*/ 285 w 225725"/>
                      <a:gd name="connsiteY4" fmla="*/ 181495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495"/>
                        </a:moveTo>
                        <a:lnTo>
                          <a:pt x="285" y="129779"/>
                        </a:lnTo>
                        <a:lnTo>
                          <a:pt x="226010" y="-177"/>
                        </a:lnTo>
                        <a:lnTo>
                          <a:pt x="226010" y="51555"/>
                        </a:lnTo>
                        <a:lnTo>
                          <a:pt x="285" y="181495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3" name="Freihandform: Form 1402">
                    <a:extLst>
                      <a:ext uri="{FF2B5EF4-FFF2-40B4-BE49-F238E27FC236}">
                        <a16:creationId xmlns:a16="http://schemas.microsoft.com/office/drawing/2014/main" id="{87FFCAA4-8931-3C69-82AA-9139DFC7B58D}"/>
                      </a:ext>
                    </a:extLst>
                  </p:cNvPr>
                  <p:cNvSpPr/>
                  <p:nvPr/>
                </p:nvSpPr>
                <p:spPr>
                  <a:xfrm>
                    <a:off x="7987675" y="2932522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44 h 259895"/>
                      <a:gd name="connsiteX1" fmla="*/ 307 w 450530"/>
                      <a:gd name="connsiteY1" fmla="*/ 129788 h 259895"/>
                      <a:gd name="connsiteX2" fmla="*/ 225112 w 450530"/>
                      <a:gd name="connsiteY2" fmla="*/ -152 h 259895"/>
                      <a:gd name="connsiteX3" fmla="*/ 450838 w 450530"/>
                      <a:gd name="connsiteY3" fmla="*/ 129788 h 259895"/>
                      <a:gd name="connsiteX4" fmla="*/ 225112 w 450530"/>
                      <a:gd name="connsiteY4" fmla="*/ 259744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44"/>
                        </a:moveTo>
                        <a:lnTo>
                          <a:pt x="307" y="129788"/>
                        </a:lnTo>
                        <a:lnTo>
                          <a:pt x="225112" y="-152"/>
                        </a:lnTo>
                        <a:lnTo>
                          <a:pt x="450838" y="129788"/>
                        </a:lnTo>
                        <a:lnTo>
                          <a:pt x="225112" y="259744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4" name="Freihandform: Form 1403">
                    <a:extLst>
                      <a:ext uri="{FF2B5EF4-FFF2-40B4-BE49-F238E27FC236}">
                        <a16:creationId xmlns:a16="http://schemas.microsoft.com/office/drawing/2014/main" id="{09337874-5A93-6A96-B7E6-B1CB402B3611}"/>
                      </a:ext>
                    </a:extLst>
                  </p:cNvPr>
                  <p:cNvSpPr/>
                  <p:nvPr/>
                </p:nvSpPr>
                <p:spPr>
                  <a:xfrm>
                    <a:off x="7987675" y="2880791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54 h 259895"/>
                      <a:gd name="connsiteX1" fmla="*/ 307 w 450530"/>
                      <a:gd name="connsiteY1" fmla="*/ 129814 h 259895"/>
                      <a:gd name="connsiteX2" fmla="*/ 225112 w 450530"/>
                      <a:gd name="connsiteY2" fmla="*/ -142 h 259895"/>
                      <a:gd name="connsiteX3" fmla="*/ 450838 w 450530"/>
                      <a:gd name="connsiteY3" fmla="*/ 129814 h 259895"/>
                      <a:gd name="connsiteX4" fmla="*/ 225112 w 450530"/>
                      <a:gd name="connsiteY4" fmla="*/ 259754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54"/>
                        </a:moveTo>
                        <a:lnTo>
                          <a:pt x="307" y="129814"/>
                        </a:lnTo>
                        <a:lnTo>
                          <a:pt x="225112" y="-142"/>
                        </a:lnTo>
                        <a:lnTo>
                          <a:pt x="450838" y="129814"/>
                        </a:lnTo>
                        <a:lnTo>
                          <a:pt x="225112" y="25975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5" name="Freihandform: Form 1404">
                    <a:extLst>
                      <a:ext uri="{FF2B5EF4-FFF2-40B4-BE49-F238E27FC236}">
                        <a16:creationId xmlns:a16="http://schemas.microsoft.com/office/drawing/2014/main" id="{D3CF3B74-BF64-8B08-7B7F-ACD7E3EDAF48}"/>
                      </a:ext>
                    </a:extLst>
                  </p:cNvPr>
                  <p:cNvSpPr/>
                  <p:nvPr/>
                </p:nvSpPr>
                <p:spPr>
                  <a:xfrm>
                    <a:off x="8212480" y="3010747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12 h 181671"/>
                      <a:gd name="connsiteX1" fmla="*/ 285 w 225725"/>
                      <a:gd name="connsiteY1" fmla="*/ 129781 h 181671"/>
                      <a:gd name="connsiteX2" fmla="*/ 226010 w 225725"/>
                      <a:gd name="connsiteY2" fmla="*/ -159 h 181671"/>
                      <a:gd name="connsiteX3" fmla="*/ 226010 w 225725"/>
                      <a:gd name="connsiteY3" fmla="*/ 51556 h 181671"/>
                      <a:gd name="connsiteX4" fmla="*/ 285 w 225725"/>
                      <a:gd name="connsiteY4" fmla="*/ 181512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12"/>
                        </a:moveTo>
                        <a:lnTo>
                          <a:pt x="285" y="129781"/>
                        </a:lnTo>
                        <a:lnTo>
                          <a:pt x="226010" y="-159"/>
                        </a:lnTo>
                        <a:lnTo>
                          <a:pt x="226010" y="51556"/>
                        </a:lnTo>
                        <a:lnTo>
                          <a:pt x="285" y="18151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6" name="Freihandform: Form 1405">
                    <a:extLst>
                      <a:ext uri="{FF2B5EF4-FFF2-40B4-BE49-F238E27FC236}">
                        <a16:creationId xmlns:a16="http://schemas.microsoft.com/office/drawing/2014/main" id="{F0B9A9B1-7BA3-5357-C62C-4ADB4D68B7D1}"/>
                      </a:ext>
                    </a:extLst>
                  </p:cNvPr>
                  <p:cNvSpPr/>
                  <p:nvPr/>
                </p:nvSpPr>
                <p:spPr>
                  <a:xfrm>
                    <a:off x="7987675" y="2842004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62 h 259895"/>
                      <a:gd name="connsiteX1" fmla="*/ 307 w 450530"/>
                      <a:gd name="connsiteY1" fmla="*/ 129822 h 259895"/>
                      <a:gd name="connsiteX2" fmla="*/ 225112 w 450530"/>
                      <a:gd name="connsiteY2" fmla="*/ -134 h 259895"/>
                      <a:gd name="connsiteX3" fmla="*/ 450838 w 450530"/>
                      <a:gd name="connsiteY3" fmla="*/ 129822 h 259895"/>
                      <a:gd name="connsiteX4" fmla="*/ 225112 w 450530"/>
                      <a:gd name="connsiteY4" fmla="*/ 259762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62"/>
                        </a:moveTo>
                        <a:lnTo>
                          <a:pt x="307" y="129822"/>
                        </a:lnTo>
                        <a:lnTo>
                          <a:pt x="225112" y="-134"/>
                        </a:lnTo>
                        <a:lnTo>
                          <a:pt x="450838" y="129822"/>
                        </a:lnTo>
                        <a:lnTo>
                          <a:pt x="225112" y="259762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7" name="Freihandform: Form 1406">
                    <a:extLst>
                      <a:ext uri="{FF2B5EF4-FFF2-40B4-BE49-F238E27FC236}">
                        <a16:creationId xmlns:a16="http://schemas.microsoft.com/office/drawing/2014/main" id="{F3F5F80F-D440-7B8D-8090-5C97853014C0}"/>
                      </a:ext>
                    </a:extLst>
                  </p:cNvPr>
                  <p:cNvSpPr/>
                  <p:nvPr/>
                </p:nvSpPr>
                <p:spPr>
                  <a:xfrm>
                    <a:off x="8212480" y="2920228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30 h 181671"/>
                      <a:gd name="connsiteX1" fmla="*/ 285 w 225725"/>
                      <a:gd name="connsiteY1" fmla="*/ 129798 h 181671"/>
                      <a:gd name="connsiteX2" fmla="*/ 226010 w 225725"/>
                      <a:gd name="connsiteY2" fmla="*/ -142 h 181671"/>
                      <a:gd name="connsiteX3" fmla="*/ 226010 w 225725"/>
                      <a:gd name="connsiteY3" fmla="*/ 51590 h 181671"/>
                      <a:gd name="connsiteX4" fmla="*/ 285 w 225725"/>
                      <a:gd name="connsiteY4" fmla="*/ 181530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30"/>
                        </a:moveTo>
                        <a:lnTo>
                          <a:pt x="285" y="129798"/>
                        </a:lnTo>
                        <a:lnTo>
                          <a:pt x="226010" y="-142"/>
                        </a:lnTo>
                        <a:lnTo>
                          <a:pt x="226010" y="51590"/>
                        </a:lnTo>
                        <a:lnTo>
                          <a:pt x="285" y="181530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8" name="Freihandform: Form 1407">
                    <a:extLst>
                      <a:ext uri="{FF2B5EF4-FFF2-40B4-BE49-F238E27FC236}">
                        <a16:creationId xmlns:a16="http://schemas.microsoft.com/office/drawing/2014/main" id="{043499C2-75A1-690B-958C-9FB826DBDADE}"/>
                      </a:ext>
                    </a:extLst>
                  </p:cNvPr>
                  <p:cNvSpPr/>
                  <p:nvPr/>
                </p:nvSpPr>
                <p:spPr>
                  <a:xfrm>
                    <a:off x="7987675" y="2790272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72 h 259895"/>
                      <a:gd name="connsiteX1" fmla="*/ 307 w 450530"/>
                      <a:gd name="connsiteY1" fmla="*/ 129832 h 259895"/>
                      <a:gd name="connsiteX2" fmla="*/ 225112 w 450530"/>
                      <a:gd name="connsiteY2" fmla="*/ -124 h 259895"/>
                      <a:gd name="connsiteX3" fmla="*/ 450838 w 450530"/>
                      <a:gd name="connsiteY3" fmla="*/ 129832 h 259895"/>
                      <a:gd name="connsiteX4" fmla="*/ 225112 w 450530"/>
                      <a:gd name="connsiteY4" fmla="*/ 259772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72"/>
                        </a:moveTo>
                        <a:lnTo>
                          <a:pt x="307" y="129832"/>
                        </a:lnTo>
                        <a:lnTo>
                          <a:pt x="225112" y="-124"/>
                        </a:lnTo>
                        <a:lnTo>
                          <a:pt x="450838" y="129832"/>
                        </a:lnTo>
                        <a:lnTo>
                          <a:pt x="225112" y="2597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9" name="Freihandform: Form 1408">
                    <a:extLst>
                      <a:ext uri="{FF2B5EF4-FFF2-40B4-BE49-F238E27FC236}">
                        <a16:creationId xmlns:a16="http://schemas.microsoft.com/office/drawing/2014/main" id="{C68382AC-E57B-95F9-0FB6-2F315B96CA07}"/>
                      </a:ext>
                    </a:extLst>
                  </p:cNvPr>
                  <p:cNvSpPr/>
                  <p:nvPr/>
                </p:nvSpPr>
                <p:spPr>
                  <a:xfrm>
                    <a:off x="7987675" y="275148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80 h 259895"/>
                      <a:gd name="connsiteX1" fmla="*/ 307 w 450530"/>
                      <a:gd name="connsiteY1" fmla="*/ 129824 h 259895"/>
                      <a:gd name="connsiteX2" fmla="*/ 225112 w 450530"/>
                      <a:gd name="connsiteY2" fmla="*/ -116 h 259895"/>
                      <a:gd name="connsiteX3" fmla="*/ 450838 w 450530"/>
                      <a:gd name="connsiteY3" fmla="*/ 129824 h 259895"/>
                      <a:gd name="connsiteX4" fmla="*/ 225112 w 450530"/>
                      <a:gd name="connsiteY4" fmla="*/ 25978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80"/>
                        </a:moveTo>
                        <a:lnTo>
                          <a:pt x="307" y="129824"/>
                        </a:lnTo>
                        <a:lnTo>
                          <a:pt x="225112" y="-116"/>
                        </a:lnTo>
                        <a:lnTo>
                          <a:pt x="450838" y="129824"/>
                        </a:lnTo>
                        <a:lnTo>
                          <a:pt x="225112" y="259780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0" name="Freihandform: Form 1409">
                    <a:extLst>
                      <a:ext uri="{FF2B5EF4-FFF2-40B4-BE49-F238E27FC236}">
                        <a16:creationId xmlns:a16="http://schemas.microsoft.com/office/drawing/2014/main" id="{44D7677F-38C0-6688-1909-769036DC7C9A}"/>
                      </a:ext>
                    </a:extLst>
                  </p:cNvPr>
                  <p:cNvSpPr/>
                  <p:nvPr/>
                </p:nvSpPr>
                <p:spPr>
                  <a:xfrm>
                    <a:off x="8212480" y="2829694"/>
                    <a:ext cx="225725" cy="181687"/>
                  </a:xfrm>
                  <a:custGeom>
                    <a:avLst/>
                    <a:gdLst>
                      <a:gd name="connsiteX0" fmla="*/ 285 w 225725"/>
                      <a:gd name="connsiteY0" fmla="*/ 181564 h 181687"/>
                      <a:gd name="connsiteX1" fmla="*/ 285 w 225725"/>
                      <a:gd name="connsiteY1" fmla="*/ 129832 h 181687"/>
                      <a:gd name="connsiteX2" fmla="*/ 226010 w 225725"/>
                      <a:gd name="connsiteY2" fmla="*/ -124 h 181687"/>
                      <a:gd name="connsiteX3" fmla="*/ 226010 w 225725"/>
                      <a:gd name="connsiteY3" fmla="*/ 51608 h 181687"/>
                      <a:gd name="connsiteX4" fmla="*/ 285 w 225725"/>
                      <a:gd name="connsiteY4" fmla="*/ 181564 h 18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87">
                        <a:moveTo>
                          <a:pt x="285" y="181564"/>
                        </a:moveTo>
                        <a:lnTo>
                          <a:pt x="285" y="129832"/>
                        </a:lnTo>
                        <a:lnTo>
                          <a:pt x="226010" y="-124"/>
                        </a:lnTo>
                        <a:lnTo>
                          <a:pt x="226010" y="51608"/>
                        </a:lnTo>
                        <a:lnTo>
                          <a:pt x="285" y="181564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1" name="Freihandform: Form 1410">
                    <a:extLst>
                      <a:ext uri="{FF2B5EF4-FFF2-40B4-BE49-F238E27FC236}">
                        <a16:creationId xmlns:a16="http://schemas.microsoft.com/office/drawing/2014/main" id="{3D44BC83-9375-7173-F688-0CB7DA19046C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99754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90 h 259895"/>
                      <a:gd name="connsiteX1" fmla="*/ 307 w 450530"/>
                      <a:gd name="connsiteY1" fmla="*/ 129834 h 259895"/>
                      <a:gd name="connsiteX2" fmla="*/ 225112 w 450530"/>
                      <a:gd name="connsiteY2" fmla="*/ -106 h 259895"/>
                      <a:gd name="connsiteX3" fmla="*/ 450838 w 450530"/>
                      <a:gd name="connsiteY3" fmla="*/ 129834 h 259895"/>
                      <a:gd name="connsiteX4" fmla="*/ 225112 w 450530"/>
                      <a:gd name="connsiteY4" fmla="*/ 25979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90"/>
                        </a:moveTo>
                        <a:lnTo>
                          <a:pt x="307" y="129834"/>
                        </a:lnTo>
                        <a:lnTo>
                          <a:pt x="225112" y="-106"/>
                        </a:lnTo>
                        <a:lnTo>
                          <a:pt x="450838" y="129834"/>
                        </a:lnTo>
                        <a:lnTo>
                          <a:pt x="225112" y="25979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2" name="Freihandform: Form 1411">
                    <a:extLst>
                      <a:ext uri="{FF2B5EF4-FFF2-40B4-BE49-F238E27FC236}">
                        <a16:creationId xmlns:a16="http://schemas.microsoft.com/office/drawing/2014/main" id="{5D31A92E-50EE-A8D0-EEAD-EACC2DD79E04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60967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97 h 259895"/>
                      <a:gd name="connsiteX1" fmla="*/ 307 w 450530"/>
                      <a:gd name="connsiteY1" fmla="*/ 129841 h 259895"/>
                      <a:gd name="connsiteX2" fmla="*/ 225112 w 450530"/>
                      <a:gd name="connsiteY2" fmla="*/ -99 h 259895"/>
                      <a:gd name="connsiteX3" fmla="*/ 450838 w 450530"/>
                      <a:gd name="connsiteY3" fmla="*/ 129841 h 259895"/>
                      <a:gd name="connsiteX4" fmla="*/ 225112 w 450530"/>
                      <a:gd name="connsiteY4" fmla="*/ 25979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97"/>
                        </a:moveTo>
                        <a:lnTo>
                          <a:pt x="307" y="129841"/>
                        </a:lnTo>
                        <a:lnTo>
                          <a:pt x="225112" y="-99"/>
                        </a:lnTo>
                        <a:lnTo>
                          <a:pt x="450838" y="129841"/>
                        </a:lnTo>
                        <a:lnTo>
                          <a:pt x="225112" y="259797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3" name="Freihandform: Form 1412">
                    <a:extLst>
                      <a:ext uri="{FF2B5EF4-FFF2-40B4-BE49-F238E27FC236}">
                        <a16:creationId xmlns:a16="http://schemas.microsoft.com/office/drawing/2014/main" id="{A5587AA2-9530-6CE1-FFAB-7B8565D243DC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0923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07 h 259895"/>
                      <a:gd name="connsiteX1" fmla="*/ 307 w 450530"/>
                      <a:gd name="connsiteY1" fmla="*/ 129867 h 259895"/>
                      <a:gd name="connsiteX2" fmla="*/ 225112 w 450530"/>
                      <a:gd name="connsiteY2" fmla="*/ -89 h 259895"/>
                      <a:gd name="connsiteX3" fmla="*/ 450838 w 450530"/>
                      <a:gd name="connsiteY3" fmla="*/ 129867 h 259895"/>
                      <a:gd name="connsiteX4" fmla="*/ 225112 w 450530"/>
                      <a:gd name="connsiteY4" fmla="*/ 25980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07"/>
                        </a:moveTo>
                        <a:lnTo>
                          <a:pt x="307" y="129867"/>
                        </a:lnTo>
                        <a:lnTo>
                          <a:pt x="225112" y="-89"/>
                        </a:lnTo>
                        <a:lnTo>
                          <a:pt x="450838" y="129867"/>
                        </a:lnTo>
                        <a:lnTo>
                          <a:pt x="225112" y="25980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4" name="Freihandform: Form 1413">
                    <a:extLst>
                      <a:ext uri="{FF2B5EF4-FFF2-40B4-BE49-F238E27FC236}">
                        <a16:creationId xmlns:a16="http://schemas.microsoft.com/office/drawing/2014/main" id="{88BE4DF7-E6DD-227F-FAAE-66BB1979649F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87459"/>
                    <a:ext cx="224805" cy="647209"/>
                  </a:xfrm>
                  <a:custGeom>
                    <a:avLst/>
                    <a:gdLst>
                      <a:gd name="connsiteX0" fmla="*/ 225134 w 224805"/>
                      <a:gd name="connsiteY0" fmla="*/ 647068 h 647209"/>
                      <a:gd name="connsiteX1" fmla="*/ 329 w 224805"/>
                      <a:gd name="connsiteY1" fmla="*/ 517112 h 647209"/>
                      <a:gd name="connsiteX2" fmla="*/ 329 w 224805"/>
                      <a:gd name="connsiteY2" fmla="*/ -142 h 647209"/>
                      <a:gd name="connsiteX3" fmla="*/ 225134 w 224805"/>
                      <a:gd name="connsiteY3" fmla="*/ 129798 h 647209"/>
                      <a:gd name="connsiteX4" fmla="*/ 225134 w 224805"/>
                      <a:gd name="connsiteY4" fmla="*/ 647068 h 647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4805" h="647209">
                        <a:moveTo>
                          <a:pt x="225134" y="647068"/>
                        </a:moveTo>
                        <a:lnTo>
                          <a:pt x="329" y="517112"/>
                        </a:lnTo>
                        <a:lnTo>
                          <a:pt x="329" y="-142"/>
                        </a:lnTo>
                        <a:lnTo>
                          <a:pt x="225134" y="129798"/>
                        </a:lnTo>
                        <a:lnTo>
                          <a:pt x="225134" y="647068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5" name="Freihandform: Form 1414">
                    <a:extLst>
                      <a:ext uri="{FF2B5EF4-FFF2-40B4-BE49-F238E27FC236}">
                        <a16:creationId xmlns:a16="http://schemas.microsoft.com/office/drawing/2014/main" id="{0B5ED1CB-F402-C0DF-0C4F-7B2138AB9C80}"/>
                      </a:ext>
                    </a:extLst>
                  </p:cNvPr>
                  <p:cNvSpPr/>
                  <p:nvPr/>
                </p:nvSpPr>
                <p:spPr>
                  <a:xfrm>
                    <a:off x="8212480" y="2739191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29834 h 181671"/>
                      <a:gd name="connsiteX1" fmla="*/ 226010 w 225725"/>
                      <a:gd name="connsiteY1" fmla="*/ -106 h 181671"/>
                      <a:gd name="connsiteX2" fmla="*/ 226010 w 225725"/>
                      <a:gd name="connsiteY2" fmla="*/ 51610 h 181671"/>
                      <a:gd name="connsiteX3" fmla="*/ 285 w 225725"/>
                      <a:gd name="connsiteY3" fmla="*/ 181565 h 181671"/>
                      <a:gd name="connsiteX4" fmla="*/ 285 w 225725"/>
                      <a:gd name="connsiteY4" fmla="*/ 129834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29834"/>
                        </a:moveTo>
                        <a:lnTo>
                          <a:pt x="226010" y="-106"/>
                        </a:lnTo>
                        <a:lnTo>
                          <a:pt x="226010" y="51610"/>
                        </a:lnTo>
                        <a:lnTo>
                          <a:pt x="285" y="181565"/>
                        </a:lnTo>
                        <a:lnTo>
                          <a:pt x="285" y="129834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6" name="Freihandform: Form 1415">
                    <a:extLst>
                      <a:ext uri="{FF2B5EF4-FFF2-40B4-BE49-F238E27FC236}">
                        <a16:creationId xmlns:a16="http://schemas.microsoft.com/office/drawing/2014/main" id="{FC24AE76-6E14-1092-F1D7-B0E264AF7176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87459"/>
                    <a:ext cx="225725" cy="647209"/>
                  </a:xfrm>
                  <a:custGeom>
                    <a:avLst/>
                    <a:gdLst>
                      <a:gd name="connsiteX0" fmla="*/ 226010 w 225725"/>
                      <a:gd name="connsiteY0" fmla="*/ -142 h 647209"/>
                      <a:gd name="connsiteX1" fmla="*/ 226010 w 225725"/>
                      <a:gd name="connsiteY1" fmla="*/ 51590 h 647209"/>
                      <a:gd name="connsiteX2" fmla="*/ 285 w 225725"/>
                      <a:gd name="connsiteY2" fmla="*/ 181530 h 647209"/>
                      <a:gd name="connsiteX3" fmla="*/ 285 w 225725"/>
                      <a:gd name="connsiteY3" fmla="*/ 233262 h 647209"/>
                      <a:gd name="connsiteX4" fmla="*/ 226010 w 225725"/>
                      <a:gd name="connsiteY4" fmla="*/ 103306 h 647209"/>
                      <a:gd name="connsiteX5" fmla="*/ 226010 w 225725"/>
                      <a:gd name="connsiteY5" fmla="*/ 142093 h 647209"/>
                      <a:gd name="connsiteX6" fmla="*/ 285 w 225725"/>
                      <a:gd name="connsiteY6" fmla="*/ 272049 h 647209"/>
                      <a:gd name="connsiteX7" fmla="*/ 285 w 225725"/>
                      <a:gd name="connsiteY7" fmla="*/ 323780 h 647209"/>
                      <a:gd name="connsiteX8" fmla="*/ 226010 w 225725"/>
                      <a:gd name="connsiteY8" fmla="*/ 193824 h 647209"/>
                      <a:gd name="connsiteX9" fmla="*/ 226010 w 225725"/>
                      <a:gd name="connsiteY9" fmla="*/ 232627 h 647209"/>
                      <a:gd name="connsiteX10" fmla="*/ 285 w 225725"/>
                      <a:gd name="connsiteY10" fmla="*/ 362567 h 647209"/>
                      <a:gd name="connsiteX11" fmla="*/ 285 w 225725"/>
                      <a:gd name="connsiteY11" fmla="*/ 414299 h 647209"/>
                      <a:gd name="connsiteX12" fmla="*/ 226010 w 225725"/>
                      <a:gd name="connsiteY12" fmla="*/ 284359 h 647209"/>
                      <a:gd name="connsiteX13" fmla="*/ 226010 w 225725"/>
                      <a:gd name="connsiteY13" fmla="*/ 323146 h 647209"/>
                      <a:gd name="connsiteX14" fmla="*/ 285 w 225725"/>
                      <a:gd name="connsiteY14" fmla="*/ 453086 h 647209"/>
                      <a:gd name="connsiteX15" fmla="*/ 285 w 225725"/>
                      <a:gd name="connsiteY15" fmla="*/ 504817 h 647209"/>
                      <a:gd name="connsiteX16" fmla="*/ 226010 w 225725"/>
                      <a:gd name="connsiteY16" fmla="*/ 374862 h 647209"/>
                      <a:gd name="connsiteX17" fmla="*/ 226010 w 225725"/>
                      <a:gd name="connsiteY17" fmla="*/ 413664 h 647209"/>
                      <a:gd name="connsiteX18" fmla="*/ 285 w 225725"/>
                      <a:gd name="connsiteY18" fmla="*/ 543620 h 647209"/>
                      <a:gd name="connsiteX19" fmla="*/ 285 w 225725"/>
                      <a:gd name="connsiteY19" fmla="*/ 595336 h 647209"/>
                      <a:gd name="connsiteX20" fmla="*/ 226010 w 225725"/>
                      <a:gd name="connsiteY20" fmla="*/ 465396 h 647209"/>
                      <a:gd name="connsiteX21" fmla="*/ 226010 w 225725"/>
                      <a:gd name="connsiteY21" fmla="*/ 517128 h 647209"/>
                      <a:gd name="connsiteX22" fmla="*/ 285 w 225725"/>
                      <a:gd name="connsiteY22" fmla="*/ 647068 h 647209"/>
                      <a:gd name="connsiteX23" fmla="*/ 285 w 225725"/>
                      <a:gd name="connsiteY23" fmla="*/ 129798 h 647209"/>
                      <a:gd name="connsiteX24" fmla="*/ 226010 w 225725"/>
                      <a:gd name="connsiteY24" fmla="*/ -142 h 647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5725" h="647209">
                        <a:moveTo>
                          <a:pt x="226010" y="-142"/>
                        </a:moveTo>
                        <a:lnTo>
                          <a:pt x="226010" y="51590"/>
                        </a:lnTo>
                        <a:lnTo>
                          <a:pt x="285" y="181530"/>
                        </a:lnTo>
                        <a:lnTo>
                          <a:pt x="285" y="233262"/>
                        </a:lnTo>
                        <a:lnTo>
                          <a:pt x="226010" y="103306"/>
                        </a:lnTo>
                        <a:lnTo>
                          <a:pt x="226010" y="142093"/>
                        </a:lnTo>
                        <a:lnTo>
                          <a:pt x="285" y="272049"/>
                        </a:lnTo>
                        <a:lnTo>
                          <a:pt x="285" y="323780"/>
                        </a:lnTo>
                        <a:lnTo>
                          <a:pt x="226010" y="193824"/>
                        </a:lnTo>
                        <a:lnTo>
                          <a:pt x="226010" y="232627"/>
                        </a:lnTo>
                        <a:lnTo>
                          <a:pt x="285" y="362567"/>
                        </a:lnTo>
                        <a:lnTo>
                          <a:pt x="285" y="414299"/>
                        </a:lnTo>
                        <a:lnTo>
                          <a:pt x="226010" y="284359"/>
                        </a:lnTo>
                        <a:lnTo>
                          <a:pt x="226010" y="323146"/>
                        </a:lnTo>
                        <a:lnTo>
                          <a:pt x="285" y="453086"/>
                        </a:lnTo>
                        <a:lnTo>
                          <a:pt x="285" y="504817"/>
                        </a:lnTo>
                        <a:lnTo>
                          <a:pt x="226010" y="374862"/>
                        </a:lnTo>
                        <a:lnTo>
                          <a:pt x="226010" y="413664"/>
                        </a:lnTo>
                        <a:lnTo>
                          <a:pt x="285" y="543620"/>
                        </a:lnTo>
                        <a:lnTo>
                          <a:pt x="285" y="595336"/>
                        </a:lnTo>
                        <a:lnTo>
                          <a:pt x="226010" y="465396"/>
                        </a:lnTo>
                        <a:lnTo>
                          <a:pt x="226010" y="517128"/>
                        </a:lnTo>
                        <a:lnTo>
                          <a:pt x="285" y="647068"/>
                        </a:lnTo>
                        <a:lnTo>
                          <a:pt x="285" y="129798"/>
                        </a:lnTo>
                        <a:lnTo>
                          <a:pt x="226010" y="-14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7" name="Freihandform: Form 1416">
                    <a:extLst>
                      <a:ext uri="{FF2B5EF4-FFF2-40B4-BE49-F238E27FC236}">
                        <a16:creationId xmlns:a16="http://schemas.microsoft.com/office/drawing/2014/main" id="{50B9E959-5C4F-C0EF-E040-DA8A3DB4EA2C}"/>
                      </a:ext>
                    </a:extLst>
                  </p:cNvPr>
                  <p:cNvSpPr/>
                  <p:nvPr/>
                </p:nvSpPr>
                <p:spPr>
                  <a:xfrm>
                    <a:off x="7987675" y="2557503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17 h 259895"/>
                      <a:gd name="connsiteX1" fmla="*/ 307 w 450530"/>
                      <a:gd name="connsiteY1" fmla="*/ 129877 h 259895"/>
                      <a:gd name="connsiteX2" fmla="*/ 225112 w 450530"/>
                      <a:gd name="connsiteY2" fmla="*/ -78 h 259895"/>
                      <a:gd name="connsiteX3" fmla="*/ 450838 w 450530"/>
                      <a:gd name="connsiteY3" fmla="*/ 129877 h 259895"/>
                      <a:gd name="connsiteX4" fmla="*/ 225112 w 450530"/>
                      <a:gd name="connsiteY4" fmla="*/ 25981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17"/>
                        </a:moveTo>
                        <a:lnTo>
                          <a:pt x="307" y="129877"/>
                        </a:lnTo>
                        <a:lnTo>
                          <a:pt x="225112" y="-78"/>
                        </a:lnTo>
                        <a:lnTo>
                          <a:pt x="450838" y="129877"/>
                        </a:lnTo>
                        <a:lnTo>
                          <a:pt x="225112" y="259817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8" name="Freihandform: Form 1417">
                    <a:extLst>
                      <a:ext uri="{FF2B5EF4-FFF2-40B4-BE49-F238E27FC236}">
                        <a16:creationId xmlns:a16="http://schemas.microsoft.com/office/drawing/2014/main" id="{BBFACB24-4817-9347-E8BA-14F003F478A7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19893"/>
                    <a:ext cx="224805" cy="543746"/>
                  </a:xfrm>
                  <a:custGeom>
                    <a:avLst/>
                    <a:gdLst>
                      <a:gd name="connsiteX0" fmla="*/ 225134 w 224805"/>
                      <a:gd name="connsiteY0" fmla="*/ 543604 h 543746"/>
                      <a:gd name="connsiteX1" fmla="*/ 329 w 224805"/>
                      <a:gd name="connsiteY1" fmla="*/ 413648 h 543746"/>
                      <a:gd name="connsiteX2" fmla="*/ 329 w 224805"/>
                      <a:gd name="connsiteY2" fmla="*/ 361933 h 543746"/>
                      <a:gd name="connsiteX3" fmla="*/ 225134 w 224805"/>
                      <a:gd name="connsiteY3" fmla="*/ 491889 h 543746"/>
                      <a:gd name="connsiteX4" fmla="*/ 225134 w 224805"/>
                      <a:gd name="connsiteY4" fmla="*/ 543604 h 543746"/>
                      <a:gd name="connsiteX5" fmla="*/ 225134 w 224805"/>
                      <a:gd name="connsiteY5" fmla="*/ 401354 h 543746"/>
                      <a:gd name="connsiteX6" fmla="*/ 329 w 224805"/>
                      <a:gd name="connsiteY6" fmla="*/ 271414 h 543746"/>
                      <a:gd name="connsiteX7" fmla="*/ 329 w 224805"/>
                      <a:gd name="connsiteY7" fmla="*/ 323130 h 543746"/>
                      <a:gd name="connsiteX8" fmla="*/ 225134 w 224805"/>
                      <a:gd name="connsiteY8" fmla="*/ 453086 h 543746"/>
                      <a:gd name="connsiteX9" fmla="*/ 225134 w 224805"/>
                      <a:gd name="connsiteY9" fmla="*/ 401370 h 543746"/>
                      <a:gd name="connsiteX10" fmla="*/ 225134 w 224805"/>
                      <a:gd name="connsiteY10" fmla="*/ 310835 h 543746"/>
                      <a:gd name="connsiteX11" fmla="*/ 329 w 224805"/>
                      <a:gd name="connsiteY11" fmla="*/ 180895 h 543746"/>
                      <a:gd name="connsiteX12" fmla="*/ 329 w 224805"/>
                      <a:gd name="connsiteY12" fmla="*/ 232627 h 543746"/>
                      <a:gd name="connsiteX13" fmla="*/ 225134 w 224805"/>
                      <a:gd name="connsiteY13" fmla="*/ 362583 h 543746"/>
                      <a:gd name="connsiteX14" fmla="*/ 225134 w 224805"/>
                      <a:gd name="connsiteY14" fmla="*/ 310851 h 543746"/>
                      <a:gd name="connsiteX15" fmla="*/ 225134 w 224805"/>
                      <a:gd name="connsiteY15" fmla="*/ 129798 h 543746"/>
                      <a:gd name="connsiteX16" fmla="*/ 329 w 224805"/>
                      <a:gd name="connsiteY16" fmla="*/ -142 h 543746"/>
                      <a:gd name="connsiteX17" fmla="*/ 329 w 224805"/>
                      <a:gd name="connsiteY17" fmla="*/ 51574 h 543746"/>
                      <a:gd name="connsiteX18" fmla="*/ 225134 w 224805"/>
                      <a:gd name="connsiteY18" fmla="*/ 181530 h 543746"/>
                      <a:gd name="connsiteX19" fmla="*/ 225134 w 224805"/>
                      <a:gd name="connsiteY19" fmla="*/ 129814 h 543746"/>
                      <a:gd name="connsiteX20" fmla="*/ 225134 w 224805"/>
                      <a:gd name="connsiteY20" fmla="*/ 220317 h 543746"/>
                      <a:gd name="connsiteX21" fmla="*/ 329 w 224805"/>
                      <a:gd name="connsiteY21" fmla="*/ 90361 h 543746"/>
                      <a:gd name="connsiteX22" fmla="*/ 329 w 224805"/>
                      <a:gd name="connsiteY22" fmla="*/ 142093 h 543746"/>
                      <a:gd name="connsiteX23" fmla="*/ 225134 w 224805"/>
                      <a:gd name="connsiteY23" fmla="*/ 272049 h 543746"/>
                      <a:gd name="connsiteX24" fmla="*/ 225134 w 224805"/>
                      <a:gd name="connsiteY24" fmla="*/ 220317 h 5437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4805" h="543746">
                        <a:moveTo>
                          <a:pt x="225134" y="543604"/>
                        </a:moveTo>
                        <a:lnTo>
                          <a:pt x="329" y="413648"/>
                        </a:lnTo>
                        <a:lnTo>
                          <a:pt x="329" y="361933"/>
                        </a:lnTo>
                        <a:lnTo>
                          <a:pt x="225134" y="491889"/>
                        </a:lnTo>
                        <a:lnTo>
                          <a:pt x="225134" y="543604"/>
                        </a:lnTo>
                        <a:close/>
                        <a:moveTo>
                          <a:pt x="225134" y="401354"/>
                        </a:moveTo>
                        <a:lnTo>
                          <a:pt x="329" y="271414"/>
                        </a:lnTo>
                        <a:lnTo>
                          <a:pt x="329" y="323130"/>
                        </a:lnTo>
                        <a:lnTo>
                          <a:pt x="225134" y="453086"/>
                        </a:lnTo>
                        <a:lnTo>
                          <a:pt x="225134" y="401370"/>
                        </a:lnTo>
                        <a:close/>
                        <a:moveTo>
                          <a:pt x="225134" y="310835"/>
                        </a:moveTo>
                        <a:lnTo>
                          <a:pt x="329" y="180895"/>
                        </a:lnTo>
                        <a:lnTo>
                          <a:pt x="329" y="232627"/>
                        </a:lnTo>
                        <a:lnTo>
                          <a:pt x="225134" y="362583"/>
                        </a:lnTo>
                        <a:lnTo>
                          <a:pt x="225134" y="310851"/>
                        </a:lnTo>
                        <a:close/>
                        <a:moveTo>
                          <a:pt x="225134" y="129798"/>
                        </a:moveTo>
                        <a:lnTo>
                          <a:pt x="329" y="-142"/>
                        </a:lnTo>
                        <a:lnTo>
                          <a:pt x="329" y="51574"/>
                        </a:lnTo>
                        <a:lnTo>
                          <a:pt x="225134" y="181530"/>
                        </a:lnTo>
                        <a:lnTo>
                          <a:pt x="225134" y="129814"/>
                        </a:lnTo>
                        <a:close/>
                        <a:moveTo>
                          <a:pt x="225134" y="220317"/>
                        </a:moveTo>
                        <a:lnTo>
                          <a:pt x="329" y="90361"/>
                        </a:lnTo>
                        <a:lnTo>
                          <a:pt x="329" y="142093"/>
                        </a:lnTo>
                        <a:lnTo>
                          <a:pt x="225134" y="272049"/>
                        </a:lnTo>
                        <a:lnTo>
                          <a:pt x="225134" y="220317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9" name="Freihandform: Form 1418">
                    <a:extLst>
                      <a:ext uri="{FF2B5EF4-FFF2-40B4-BE49-F238E27FC236}">
                        <a16:creationId xmlns:a16="http://schemas.microsoft.com/office/drawing/2014/main" id="{AA522B72-5B5C-DB1B-A303-DD89E34801CF}"/>
                      </a:ext>
                    </a:extLst>
                  </p:cNvPr>
                  <p:cNvSpPr/>
                  <p:nvPr/>
                </p:nvSpPr>
                <p:spPr>
                  <a:xfrm>
                    <a:off x="8212480" y="3022568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12 h 181671"/>
                      <a:gd name="connsiteX1" fmla="*/ 285 w 225725"/>
                      <a:gd name="connsiteY1" fmla="*/ 129781 h 181671"/>
                      <a:gd name="connsiteX2" fmla="*/ 226010 w 225725"/>
                      <a:gd name="connsiteY2" fmla="*/ -159 h 181671"/>
                      <a:gd name="connsiteX3" fmla="*/ 226010 w 225725"/>
                      <a:gd name="connsiteY3" fmla="*/ 51556 h 181671"/>
                      <a:gd name="connsiteX4" fmla="*/ 285 w 225725"/>
                      <a:gd name="connsiteY4" fmla="*/ 181512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12"/>
                        </a:moveTo>
                        <a:lnTo>
                          <a:pt x="285" y="129781"/>
                        </a:lnTo>
                        <a:lnTo>
                          <a:pt x="226010" y="-159"/>
                        </a:lnTo>
                        <a:lnTo>
                          <a:pt x="226010" y="51556"/>
                        </a:lnTo>
                        <a:lnTo>
                          <a:pt x="285" y="18151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20" name="Freihandform: Form 1419">
                    <a:extLst>
                      <a:ext uri="{FF2B5EF4-FFF2-40B4-BE49-F238E27FC236}">
                        <a16:creationId xmlns:a16="http://schemas.microsoft.com/office/drawing/2014/main" id="{E716BECD-1AAF-E8BA-E987-001EAA629624}"/>
                      </a:ext>
                    </a:extLst>
                  </p:cNvPr>
                  <p:cNvSpPr/>
                  <p:nvPr/>
                </p:nvSpPr>
                <p:spPr>
                  <a:xfrm>
                    <a:off x="8212480" y="2932049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30 h 181671"/>
                      <a:gd name="connsiteX1" fmla="*/ 285 w 225725"/>
                      <a:gd name="connsiteY1" fmla="*/ 129798 h 181671"/>
                      <a:gd name="connsiteX2" fmla="*/ 226010 w 225725"/>
                      <a:gd name="connsiteY2" fmla="*/ -142 h 181671"/>
                      <a:gd name="connsiteX3" fmla="*/ 226010 w 225725"/>
                      <a:gd name="connsiteY3" fmla="*/ 51590 h 181671"/>
                      <a:gd name="connsiteX4" fmla="*/ 285 w 225725"/>
                      <a:gd name="connsiteY4" fmla="*/ 181530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30"/>
                        </a:moveTo>
                        <a:lnTo>
                          <a:pt x="285" y="129798"/>
                        </a:lnTo>
                        <a:lnTo>
                          <a:pt x="226010" y="-142"/>
                        </a:lnTo>
                        <a:lnTo>
                          <a:pt x="226010" y="51590"/>
                        </a:lnTo>
                        <a:lnTo>
                          <a:pt x="285" y="181530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21" name="Freihandform: Form 1420">
                    <a:extLst>
                      <a:ext uri="{FF2B5EF4-FFF2-40B4-BE49-F238E27FC236}">
                        <a16:creationId xmlns:a16="http://schemas.microsoft.com/office/drawing/2014/main" id="{11637576-29B3-F834-68F0-17ABE10EFB21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99280"/>
                    <a:ext cx="225725" cy="647209"/>
                  </a:xfrm>
                  <a:custGeom>
                    <a:avLst/>
                    <a:gdLst>
                      <a:gd name="connsiteX0" fmla="*/ 226010 w 225725"/>
                      <a:gd name="connsiteY0" fmla="*/ -142 h 647209"/>
                      <a:gd name="connsiteX1" fmla="*/ 226010 w 225725"/>
                      <a:gd name="connsiteY1" fmla="*/ 51590 h 647209"/>
                      <a:gd name="connsiteX2" fmla="*/ 285 w 225725"/>
                      <a:gd name="connsiteY2" fmla="*/ 181530 h 647209"/>
                      <a:gd name="connsiteX3" fmla="*/ 285 w 225725"/>
                      <a:gd name="connsiteY3" fmla="*/ 233262 h 647209"/>
                      <a:gd name="connsiteX4" fmla="*/ 226010 w 225725"/>
                      <a:gd name="connsiteY4" fmla="*/ 103306 h 647209"/>
                      <a:gd name="connsiteX5" fmla="*/ 226010 w 225725"/>
                      <a:gd name="connsiteY5" fmla="*/ 142093 h 647209"/>
                      <a:gd name="connsiteX6" fmla="*/ 285 w 225725"/>
                      <a:gd name="connsiteY6" fmla="*/ 272049 h 647209"/>
                      <a:gd name="connsiteX7" fmla="*/ 285 w 225725"/>
                      <a:gd name="connsiteY7" fmla="*/ 323780 h 647209"/>
                      <a:gd name="connsiteX8" fmla="*/ 226010 w 225725"/>
                      <a:gd name="connsiteY8" fmla="*/ 193824 h 647209"/>
                      <a:gd name="connsiteX9" fmla="*/ 226010 w 225725"/>
                      <a:gd name="connsiteY9" fmla="*/ 232627 h 647209"/>
                      <a:gd name="connsiteX10" fmla="*/ 285 w 225725"/>
                      <a:gd name="connsiteY10" fmla="*/ 362567 h 647209"/>
                      <a:gd name="connsiteX11" fmla="*/ 285 w 225725"/>
                      <a:gd name="connsiteY11" fmla="*/ 414299 h 647209"/>
                      <a:gd name="connsiteX12" fmla="*/ 226010 w 225725"/>
                      <a:gd name="connsiteY12" fmla="*/ 284359 h 647209"/>
                      <a:gd name="connsiteX13" fmla="*/ 226010 w 225725"/>
                      <a:gd name="connsiteY13" fmla="*/ 323146 h 647209"/>
                      <a:gd name="connsiteX14" fmla="*/ 285 w 225725"/>
                      <a:gd name="connsiteY14" fmla="*/ 453086 h 647209"/>
                      <a:gd name="connsiteX15" fmla="*/ 285 w 225725"/>
                      <a:gd name="connsiteY15" fmla="*/ 504817 h 647209"/>
                      <a:gd name="connsiteX16" fmla="*/ 226010 w 225725"/>
                      <a:gd name="connsiteY16" fmla="*/ 374862 h 647209"/>
                      <a:gd name="connsiteX17" fmla="*/ 226010 w 225725"/>
                      <a:gd name="connsiteY17" fmla="*/ 413664 h 647209"/>
                      <a:gd name="connsiteX18" fmla="*/ 285 w 225725"/>
                      <a:gd name="connsiteY18" fmla="*/ 543620 h 647209"/>
                      <a:gd name="connsiteX19" fmla="*/ 285 w 225725"/>
                      <a:gd name="connsiteY19" fmla="*/ 595336 h 647209"/>
                      <a:gd name="connsiteX20" fmla="*/ 226010 w 225725"/>
                      <a:gd name="connsiteY20" fmla="*/ 465396 h 647209"/>
                      <a:gd name="connsiteX21" fmla="*/ 226010 w 225725"/>
                      <a:gd name="connsiteY21" fmla="*/ 517128 h 647209"/>
                      <a:gd name="connsiteX22" fmla="*/ 285 w 225725"/>
                      <a:gd name="connsiteY22" fmla="*/ 647068 h 647209"/>
                      <a:gd name="connsiteX23" fmla="*/ 285 w 225725"/>
                      <a:gd name="connsiteY23" fmla="*/ 129798 h 647209"/>
                      <a:gd name="connsiteX24" fmla="*/ 226010 w 225725"/>
                      <a:gd name="connsiteY24" fmla="*/ -142 h 647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5725" h="647209">
                        <a:moveTo>
                          <a:pt x="226010" y="-142"/>
                        </a:moveTo>
                        <a:lnTo>
                          <a:pt x="226010" y="51590"/>
                        </a:lnTo>
                        <a:lnTo>
                          <a:pt x="285" y="181530"/>
                        </a:lnTo>
                        <a:lnTo>
                          <a:pt x="285" y="233262"/>
                        </a:lnTo>
                        <a:lnTo>
                          <a:pt x="226010" y="103306"/>
                        </a:lnTo>
                        <a:lnTo>
                          <a:pt x="226010" y="142093"/>
                        </a:lnTo>
                        <a:lnTo>
                          <a:pt x="285" y="272049"/>
                        </a:lnTo>
                        <a:lnTo>
                          <a:pt x="285" y="323780"/>
                        </a:lnTo>
                        <a:lnTo>
                          <a:pt x="226010" y="193824"/>
                        </a:lnTo>
                        <a:lnTo>
                          <a:pt x="226010" y="232627"/>
                        </a:lnTo>
                        <a:lnTo>
                          <a:pt x="285" y="362567"/>
                        </a:lnTo>
                        <a:lnTo>
                          <a:pt x="285" y="414299"/>
                        </a:lnTo>
                        <a:lnTo>
                          <a:pt x="226010" y="284359"/>
                        </a:lnTo>
                        <a:lnTo>
                          <a:pt x="226010" y="323146"/>
                        </a:lnTo>
                        <a:lnTo>
                          <a:pt x="285" y="453086"/>
                        </a:lnTo>
                        <a:lnTo>
                          <a:pt x="285" y="504817"/>
                        </a:lnTo>
                        <a:lnTo>
                          <a:pt x="226010" y="374862"/>
                        </a:lnTo>
                        <a:lnTo>
                          <a:pt x="226010" y="413664"/>
                        </a:lnTo>
                        <a:lnTo>
                          <a:pt x="285" y="543620"/>
                        </a:lnTo>
                        <a:lnTo>
                          <a:pt x="285" y="595336"/>
                        </a:lnTo>
                        <a:lnTo>
                          <a:pt x="226010" y="465396"/>
                        </a:lnTo>
                        <a:lnTo>
                          <a:pt x="226010" y="517128"/>
                        </a:lnTo>
                        <a:lnTo>
                          <a:pt x="285" y="647068"/>
                        </a:lnTo>
                        <a:lnTo>
                          <a:pt x="285" y="129798"/>
                        </a:lnTo>
                        <a:lnTo>
                          <a:pt x="226010" y="-14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364" name="Grafik 20">
                  <a:extLst>
                    <a:ext uri="{FF2B5EF4-FFF2-40B4-BE49-F238E27FC236}">
                      <a16:creationId xmlns:a16="http://schemas.microsoft.com/office/drawing/2014/main" id="{1FAC424C-A3FD-F8AB-E3EC-F18E7C3AE8D3}"/>
                    </a:ext>
                  </a:extLst>
                </p:cNvPr>
                <p:cNvGrpSpPr/>
                <p:nvPr/>
              </p:nvGrpSpPr>
              <p:grpSpPr>
                <a:xfrm>
                  <a:off x="7987675" y="2290710"/>
                  <a:ext cx="450530" cy="732491"/>
                  <a:chOff x="7987675" y="2290710"/>
                  <a:chExt cx="450530" cy="732491"/>
                </a:xfrm>
              </p:grpSpPr>
              <p:sp>
                <p:nvSpPr>
                  <p:cNvPr id="1375" name="Freihandform: Form 1374">
                    <a:extLst>
                      <a:ext uri="{FF2B5EF4-FFF2-40B4-BE49-F238E27FC236}">
                        <a16:creationId xmlns:a16="http://schemas.microsoft.com/office/drawing/2014/main" id="{DDC8E385-7983-C8F5-6043-AA751A5A8776}"/>
                      </a:ext>
                    </a:extLst>
                  </p:cNvPr>
                  <p:cNvSpPr/>
                  <p:nvPr/>
                </p:nvSpPr>
                <p:spPr>
                  <a:xfrm>
                    <a:off x="7987675" y="275148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80 h 259895"/>
                      <a:gd name="connsiteX1" fmla="*/ 307 w 450530"/>
                      <a:gd name="connsiteY1" fmla="*/ 129824 h 259895"/>
                      <a:gd name="connsiteX2" fmla="*/ 225112 w 450530"/>
                      <a:gd name="connsiteY2" fmla="*/ -116 h 259895"/>
                      <a:gd name="connsiteX3" fmla="*/ 450838 w 450530"/>
                      <a:gd name="connsiteY3" fmla="*/ 129824 h 259895"/>
                      <a:gd name="connsiteX4" fmla="*/ 225112 w 450530"/>
                      <a:gd name="connsiteY4" fmla="*/ 25978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80"/>
                        </a:moveTo>
                        <a:lnTo>
                          <a:pt x="307" y="129824"/>
                        </a:lnTo>
                        <a:lnTo>
                          <a:pt x="225112" y="-116"/>
                        </a:lnTo>
                        <a:lnTo>
                          <a:pt x="450838" y="129824"/>
                        </a:lnTo>
                        <a:lnTo>
                          <a:pt x="225112" y="259780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76" name="Freihandform: Form 1375">
                    <a:extLst>
                      <a:ext uri="{FF2B5EF4-FFF2-40B4-BE49-F238E27FC236}">
                        <a16:creationId xmlns:a16="http://schemas.microsoft.com/office/drawing/2014/main" id="{F0422389-F6B8-AE53-8E02-5CE19D1F452C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99754"/>
                    <a:ext cx="450530" cy="259911"/>
                  </a:xfrm>
                  <a:custGeom>
                    <a:avLst/>
                    <a:gdLst>
                      <a:gd name="connsiteX0" fmla="*/ 225112 w 450530"/>
                      <a:gd name="connsiteY0" fmla="*/ 259805 h 259911"/>
                      <a:gd name="connsiteX1" fmla="*/ 307 w 450530"/>
                      <a:gd name="connsiteY1" fmla="*/ 129850 h 259911"/>
                      <a:gd name="connsiteX2" fmla="*/ 225112 w 450530"/>
                      <a:gd name="connsiteY2" fmla="*/ -106 h 259911"/>
                      <a:gd name="connsiteX3" fmla="*/ 450838 w 450530"/>
                      <a:gd name="connsiteY3" fmla="*/ 129850 h 259911"/>
                      <a:gd name="connsiteX4" fmla="*/ 225112 w 450530"/>
                      <a:gd name="connsiteY4" fmla="*/ 259805 h 2599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911">
                        <a:moveTo>
                          <a:pt x="225112" y="259805"/>
                        </a:moveTo>
                        <a:lnTo>
                          <a:pt x="307" y="129850"/>
                        </a:lnTo>
                        <a:lnTo>
                          <a:pt x="225112" y="-106"/>
                        </a:lnTo>
                        <a:lnTo>
                          <a:pt x="450838" y="129850"/>
                        </a:lnTo>
                        <a:lnTo>
                          <a:pt x="225112" y="25980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77" name="Freihandform: Form 1376">
                    <a:extLst>
                      <a:ext uri="{FF2B5EF4-FFF2-40B4-BE49-F238E27FC236}">
                        <a16:creationId xmlns:a16="http://schemas.microsoft.com/office/drawing/2014/main" id="{6E713F2E-A3D9-EF97-01A1-E707B765EDFC}"/>
                      </a:ext>
                    </a:extLst>
                  </p:cNvPr>
                  <p:cNvSpPr/>
                  <p:nvPr/>
                </p:nvSpPr>
                <p:spPr>
                  <a:xfrm>
                    <a:off x="8212480" y="2829709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48 h 181671"/>
                      <a:gd name="connsiteX1" fmla="*/ 285 w 225725"/>
                      <a:gd name="connsiteY1" fmla="*/ 129832 h 181671"/>
                      <a:gd name="connsiteX2" fmla="*/ 226010 w 225725"/>
                      <a:gd name="connsiteY2" fmla="*/ -124 h 181671"/>
                      <a:gd name="connsiteX3" fmla="*/ 226010 w 225725"/>
                      <a:gd name="connsiteY3" fmla="*/ 51592 h 181671"/>
                      <a:gd name="connsiteX4" fmla="*/ 285 w 225725"/>
                      <a:gd name="connsiteY4" fmla="*/ 181548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48"/>
                        </a:moveTo>
                        <a:lnTo>
                          <a:pt x="285" y="129832"/>
                        </a:lnTo>
                        <a:lnTo>
                          <a:pt x="226010" y="-124"/>
                        </a:lnTo>
                        <a:lnTo>
                          <a:pt x="226010" y="51592"/>
                        </a:lnTo>
                        <a:lnTo>
                          <a:pt x="285" y="181548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78" name="Freihandform: Form 1377">
                    <a:extLst>
                      <a:ext uri="{FF2B5EF4-FFF2-40B4-BE49-F238E27FC236}">
                        <a16:creationId xmlns:a16="http://schemas.microsoft.com/office/drawing/2014/main" id="{10B8EC58-D6E4-C4FC-5C6C-1594A45C8170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60967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97 h 259895"/>
                      <a:gd name="connsiteX1" fmla="*/ 307 w 450530"/>
                      <a:gd name="connsiteY1" fmla="*/ 129841 h 259895"/>
                      <a:gd name="connsiteX2" fmla="*/ 225112 w 450530"/>
                      <a:gd name="connsiteY2" fmla="*/ -99 h 259895"/>
                      <a:gd name="connsiteX3" fmla="*/ 450838 w 450530"/>
                      <a:gd name="connsiteY3" fmla="*/ 129841 h 259895"/>
                      <a:gd name="connsiteX4" fmla="*/ 225112 w 450530"/>
                      <a:gd name="connsiteY4" fmla="*/ 25979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97"/>
                        </a:moveTo>
                        <a:lnTo>
                          <a:pt x="307" y="129841"/>
                        </a:lnTo>
                        <a:lnTo>
                          <a:pt x="225112" y="-99"/>
                        </a:lnTo>
                        <a:lnTo>
                          <a:pt x="450838" y="129841"/>
                        </a:lnTo>
                        <a:lnTo>
                          <a:pt x="225112" y="259797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79" name="Freihandform: Form 1378">
                    <a:extLst>
                      <a:ext uri="{FF2B5EF4-FFF2-40B4-BE49-F238E27FC236}">
                        <a16:creationId xmlns:a16="http://schemas.microsoft.com/office/drawing/2014/main" id="{ED6713DD-C4A4-8114-EE24-A225F00D0DDB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0923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07 h 259895"/>
                      <a:gd name="connsiteX1" fmla="*/ 307 w 450530"/>
                      <a:gd name="connsiteY1" fmla="*/ 129867 h 259895"/>
                      <a:gd name="connsiteX2" fmla="*/ 225112 w 450530"/>
                      <a:gd name="connsiteY2" fmla="*/ -89 h 259895"/>
                      <a:gd name="connsiteX3" fmla="*/ 450838 w 450530"/>
                      <a:gd name="connsiteY3" fmla="*/ 129867 h 259895"/>
                      <a:gd name="connsiteX4" fmla="*/ 225112 w 450530"/>
                      <a:gd name="connsiteY4" fmla="*/ 25980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07"/>
                        </a:moveTo>
                        <a:lnTo>
                          <a:pt x="307" y="129867"/>
                        </a:lnTo>
                        <a:lnTo>
                          <a:pt x="225112" y="-89"/>
                        </a:lnTo>
                        <a:lnTo>
                          <a:pt x="450838" y="129867"/>
                        </a:lnTo>
                        <a:lnTo>
                          <a:pt x="225112" y="25980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0" name="Freihandform: Form 1379">
                    <a:extLst>
                      <a:ext uri="{FF2B5EF4-FFF2-40B4-BE49-F238E27FC236}">
                        <a16:creationId xmlns:a16="http://schemas.microsoft.com/office/drawing/2014/main" id="{83495F79-FFB0-A83B-E0D1-87EF73285A5C}"/>
                      </a:ext>
                    </a:extLst>
                  </p:cNvPr>
                  <p:cNvSpPr/>
                  <p:nvPr/>
                </p:nvSpPr>
                <p:spPr>
                  <a:xfrm>
                    <a:off x="8212480" y="2739191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65 h 181671"/>
                      <a:gd name="connsiteX1" fmla="*/ 285 w 225725"/>
                      <a:gd name="connsiteY1" fmla="*/ 129834 h 181671"/>
                      <a:gd name="connsiteX2" fmla="*/ 226010 w 225725"/>
                      <a:gd name="connsiteY2" fmla="*/ -106 h 181671"/>
                      <a:gd name="connsiteX3" fmla="*/ 226010 w 225725"/>
                      <a:gd name="connsiteY3" fmla="*/ 51610 h 181671"/>
                      <a:gd name="connsiteX4" fmla="*/ 285 w 225725"/>
                      <a:gd name="connsiteY4" fmla="*/ 181565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65"/>
                        </a:moveTo>
                        <a:lnTo>
                          <a:pt x="285" y="129834"/>
                        </a:lnTo>
                        <a:lnTo>
                          <a:pt x="226010" y="-106"/>
                        </a:lnTo>
                        <a:lnTo>
                          <a:pt x="226010" y="51610"/>
                        </a:lnTo>
                        <a:lnTo>
                          <a:pt x="285" y="181565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1" name="Freihandform: Form 1380">
                    <a:extLst>
                      <a:ext uri="{FF2B5EF4-FFF2-40B4-BE49-F238E27FC236}">
                        <a16:creationId xmlns:a16="http://schemas.microsoft.com/office/drawing/2014/main" id="{DAE596C2-73E1-FE24-FB0A-F0ABF8A2E7BF}"/>
                      </a:ext>
                    </a:extLst>
                  </p:cNvPr>
                  <p:cNvSpPr/>
                  <p:nvPr/>
                </p:nvSpPr>
                <p:spPr>
                  <a:xfrm>
                    <a:off x="7987675" y="2570448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15 h 259895"/>
                      <a:gd name="connsiteX1" fmla="*/ 307 w 450530"/>
                      <a:gd name="connsiteY1" fmla="*/ 129859 h 259895"/>
                      <a:gd name="connsiteX2" fmla="*/ 225112 w 450530"/>
                      <a:gd name="connsiteY2" fmla="*/ -81 h 259895"/>
                      <a:gd name="connsiteX3" fmla="*/ 450838 w 450530"/>
                      <a:gd name="connsiteY3" fmla="*/ 129875 h 259895"/>
                      <a:gd name="connsiteX4" fmla="*/ 225112 w 450530"/>
                      <a:gd name="connsiteY4" fmla="*/ 259815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15"/>
                        </a:moveTo>
                        <a:lnTo>
                          <a:pt x="307" y="129859"/>
                        </a:lnTo>
                        <a:lnTo>
                          <a:pt x="225112" y="-81"/>
                        </a:lnTo>
                        <a:lnTo>
                          <a:pt x="450838" y="129875"/>
                        </a:lnTo>
                        <a:lnTo>
                          <a:pt x="225112" y="259815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2" name="Freihandform: Form 1381">
                    <a:extLst>
                      <a:ext uri="{FF2B5EF4-FFF2-40B4-BE49-F238E27FC236}">
                        <a16:creationId xmlns:a16="http://schemas.microsoft.com/office/drawing/2014/main" id="{E537D89A-E6DE-AE21-BE54-40C823B85008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48672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83 h 181671"/>
                      <a:gd name="connsiteX1" fmla="*/ 285 w 225725"/>
                      <a:gd name="connsiteY1" fmla="*/ 129851 h 181671"/>
                      <a:gd name="connsiteX2" fmla="*/ 226010 w 225725"/>
                      <a:gd name="connsiteY2" fmla="*/ -89 h 181671"/>
                      <a:gd name="connsiteX3" fmla="*/ 226010 w 225725"/>
                      <a:gd name="connsiteY3" fmla="*/ 51643 h 181671"/>
                      <a:gd name="connsiteX4" fmla="*/ 285 w 225725"/>
                      <a:gd name="connsiteY4" fmla="*/ 181583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83"/>
                        </a:moveTo>
                        <a:lnTo>
                          <a:pt x="285" y="129851"/>
                        </a:lnTo>
                        <a:lnTo>
                          <a:pt x="226010" y="-89"/>
                        </a:lnTo>
                        <a:lnTo>
                          <a:pt x="226010" y="51643"/>
                        </a:lnTo>
                        <a:lnTo>
                          <a:pt x="285" y="181583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3" name="Freihandform: Form 1382">
                    <a:extLst>
                      <a:ext uri="{FF2B5EF4-FFF2-40B4-BE49-F238E27FC236}">
                        <a16:creationId xmlns:a16="http://schemas.microsoft.com/office/drawing/2014/main" id="{3FB55F83-2AB5-F376-C71E-44B380244A0D}"/>
                      </a:ext>
                    </a:extLst>
                  </p:cNvPr>
                  <p:cNvSpPr/>
                  <p:nvPr/>
                </p:nvSpPr>
                <p:spPr>
                  <a:xfrm>
                    <a:off x="7987675" y="2518716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25 h 259895"/>
                      <a:gd name="connsiteX1" fmla="*/ 307 w 450530"/>
                      <a:gd name="connsiteY1" fmla="*/ 129869 h 259895"/>
                      <a:gd name="connsiteX2" fmla="*/ 225112 w 450530"/>
                      <a:gd name="connsiteY2" fmla="*/ -71 h 259895"/>
                      <a:gd name="connsiteX3" fmla="*/ 450838 w 450530"/>
                      <a:gd name="connsiteY3" fmla="*/ 129885 h 259895"/>
                      <a:gd name="connsiteX4" fmla="*/ 225112 w 450530"/>
                      <a:gd name="connsiteY4" fmla="*/ 259825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25"/>
                        </a:moveTo>
                        <a:lnTo>
                          <a:pt x="307" y="129869"/>
                        </a:lnTo>
                        <a:lnTo>
                          <a:pt x="225112" y="-71"/>
                        </a:lnTo>
                        <a:lnTo>
                          <a:pt x="450838" y="129885"/>
                        </a:lnTo>
                        <a:lnTo>
                          <a:pt x="225112" y="2598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4" name="Freihandform: Form 1383">
                    <a:extLst>
                      <a:ext uri="{FF2B5EF4-FFF2-40B4-BE49-F238E27FC236}">
                        <a16:creationId xmlns:a16="http://schemas.microsoft.com/office/drawing/2014/main" id="{75D9A593-FDA7-E03B-1AB8-E0871652008E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79929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33 h 259895"/>
                      <a:gd name="connsiteX1" fmla="*/ 307 w 450530"/>
                      <a:gd name="connsiteY1" fmla="*/ 129877 h 259895"/>
                      <a:gd name="connsiteX2" fmla="*/ 225112 w 450530"/>
                      <a:gd name="connsiteY2" fmla="*/ -63 h 259895"/>
                      <a:gd name="connsiteX3" fmla="*/ 450838 w 450530"/>
                      <a:gd name="connsiteY3" fmla="*/ 129877 h 259895"/>
                      <a:gd name="connsiteX4" fmla="*/ 225112 w 450530"/>
                      <a:gd name="connsiteY4" fmla="*/ 259833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33"/>
                        </a:moveTo>
                        <a:lnTo>
                          <a:pt x="307" y="129877"/>
                        </a:lnTo>
                        <a:lnTo>
                          <a:pt x="225112" y="-63"/>
                        </a:lnTo>
                        <a:lnTo>
                          <a:pt x="450838" y="129877"/>
                        </a:lnTo>
                        <a:lnTo>
                          <a:pt x="225112" y="259833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5" name="Freihandform: Form 1384">
                    <a:extLst>
                      <a:ext uri="{FF2B5EF4-FFF2-40B4-BE49-F238E27FC236}">
                        <a16:creationId xmlns:a16="http://schemas.microsoft.com/office/drawing/2014/main" id="{E01D6E6C-1477-C239-599D-DCBDF39A34A5}"/>
                      </a:ext>
                    </a:extLst>
                  </p:cNvPr>
                  <p:cNvSpPr/>
                  <p:nvPr/>
                </p:nvSpPr>
                <p:spPr>
                  <a:xfrm>
                    <a:off x="8212480" y="2558138"/>
                    <a:ext cx="225725" cy="181687"/>
                  </a:xfrm>
                  <a:custGeom>
                    <a:avLst/>
                    <a:gdLst>
                      <a:gd name="connsiteX0" fmla="*/ 285 w 225725"/>
                      <a:gd name="connsiteY0" fmla="*/ 181617 h 181687"/>
                      <a:gd name="connsiteX1" fmla="*/ 285 w 225725"/>
                      <a:gd name="connsiteY1" fmla="*/ 129885 h 181687"/>
                      <a:gd name="connsiteX2" fmla="*/ 226010 w 225725"/>
                      <a:gd name="connsiteY2" fmla="*/ -71 h 181687"/>
                      <a:gd name="connsiteX3" fmla="*/ 226010 w 225725"/>
                      <a:gd name="connsiteY3" fmla="*/ 51661 h 181687"/>
                      <a:gd name="connsiteX4" fmla="*/ 285 w 225725"/>
                      <a:gd name="connsiteY4" fmla="*/ 181617 h 18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87">
                        <a:moveTo>
                          <a:pt x="285" y="181617"/>
                        </a:moveTo>
                        <a:lnTo>
                          <a:pt x="285" y="129885"/>
                        </a:lnTo>
                        <a:lnTo>
                          <a:pt x="226010" y="-71"/>
                        </a:lnTo>
                        <a:lnTo>
                          <a:pt x="226010" y="51661"/>
                        </a:lnTo>
                        <a:lnTo>
                          <a:pt x="285" y="18161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6" name="Freihandform: Form 1385">
                    <a:extLst>
                      <a:ext uri="{FF2B5EF4-FFF2-40B4-BE49-F238E27FC236}">
                        <a16:creationId xmlns:a16="http://schemas.microsoft.com/office/drawing/2014/main" id="{C555167A-D48F-70E1-C5A4-B8B36C7BA2E7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28198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43 h 259895"/>
                      <a:gd name="connsiteX1" fmla="*/ 307 w 450530"/>
                      <a:gd name="connsiteY1" fmla="*/ 129887 h 259895"/>
                      <a:gd name="connsiteX2" fmla="*/ 225112 w 450530"/>
                      <a:gd name="connsiteY2" fmla="*/ -53 h 259895"/>
                      <a:gd name="connsiteX3" fmla="*/ 450838 w 450530"/>
                      <a:gd name="connsiteY3" fmla="*/ 129887 h 259895"/>
                      <a:gd name="connsiteX4" fmla="*/ 225112 w 450530"/>
                      <a:gd name="connsiteY4" fmla="*/ 259843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43"/>
                        </a:moveTo>
                        <a:lnTo>
                          <a:pt x="307" y="129887"/>
                        </a:lnTo>
                        <a:lnTo>
                          <a:pt x="225112" y="-53"/>
                        </a:lnTo>
                        <a:lnTo>
                          <a:pt x="450838" y="129887"/>
                        </a:lnTo>
                        <a:lnTo>
                          <a:pt x="225112" y="25984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7" name="Freihandform: Form 1386">
                    <a:extLst>
                      <a:ext uri="{FF2B5EF4-FFF2-40B4-BE49-F238E27FC236}">
                        <a16:creationId xmlns:a16="http://schemas.microsoft.com/office/drawing/2014/main" id="{DEB0665A-EFB4-4913-6F68-69D18CFC8EB5}"/>
                      </a:ext>
                    </a:extLst>
                  </p:cNvPr>
                  <p:cNvSpPr/>
                  <p:nvPr/>
                </p:nvSpPr>
                <p:spPr>
                  <a:xfrm>
                    <a:off x="7987675" y="238939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50 h 259895"/>
                      <a:gd name="connsiteX1" fmla="*/ 307 w 450530"/>
                      <a:gd name="connsiteY1" fmla="*/ 129910 h 259895"/>
                      <a:gd name="connsiteX2" fmla="*/ 225112 w 450530"/>
                      <a:gd name="connsiteY2" fmla="*/ -46 h 259895"/>
                      <a:gd name="connsiteX3" fmla="*/ 450838 w 450530"/>
                      <a:gd name="connsiteY3" fmla="*/ 129910 h 259895"/>
                      <a:gd name="connsiteX4" fmla="*/ 225112 w 450530"/>
                      <a:gd name="connsiteY4" fmla="*/ 25985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50"/>
                        </a:moveTo>
                        <a:lnTo>
                          <a:pt x="307" y="129910"/>
                        </a:lnTo>
                        <a:lnTo>
                          <a:pt x="225112" y="-46"/>
                        </a:lnTo>
                        <a:lnTo>
                          <a:pt x="450838" y="129910"/>
                        </a:lnTo>
                        <a:lnTo>
                          <a:pt x="225112" y="259850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8" name="Freihandform: Form 1387">
                    <a:extLst>
                      <a:ext uri="{FF2B5EF4-FFF2-40B4-BE49-F238E27FC236}">
                        <a16:creationId xmlns:a16="http://schemas.microsoft.com/office/drawing/2014/main" id="{9042E85B-21EB-FC48-B924-8266D6A9D4AB}"/>
                      </a:ext>
                    </a:extLst>
                  </p:cNvPr>
                  <p:cNvSpPr/>
                  <p:nvPr/>
                </p:nvSpPr>
                <p:spPr>
                  <a:xfrm>
                    <a:off x="7987675" y="2337679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60 h 259895"/>
                      <a:gd name="connsiteX1" fmla="*/ 307 w 450530"/>
                      <a:gd name="connsiteY1" fmla="*/ 129905 h 259895"/>
                      <a:gd name="connsiteX2" fmla="*/ 225112 w 450530"/>
                      <a:gd name="connsiteY2" fmla="*/ -36 h 259895"/>
                      <a:gd name="connsiteX3" fmla="*/ 450838 w 450530"/>
                      <a:gd name="connsiteY3" fmla="*/ 129920 h 259895"/>
                      <a:gd name="connsiteX4" fmla="*/ 225112 w 450530"/>
                      <a:gd name="connsiteY4" fmla="*/ 25986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60"/>
                        </a:moveTo>
                        <a:lnTo>
                          <a:pt x="307" y="129905"/>
                        </a:lnTo>
                        <a:lnTo>
                          <a:pt x="225112" y="-36"/>
                        </a:lnTo>
                        <a:lnTo>
                          <a:pt x="450838" y="129920"/>
                        </a:lnTo>
                        <a:lnTo>
                          <a:pt x="225112" y="259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9" name="Freihandform: Form 1388">
                    <a:extLst>
                      <a:ext uri="{FF2B5EF4-FFF2-40B4-BE49-F238E27FC236}">
                        <a16:creationId xmlns:a16="http://schemas.microsoft.com/office/drawing/2014/main" id="{E4EC6CC0-C079-2B32-6953-9B4202CE8279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15888"/>
                    <a:ext cx="224805" cy="595493"/>
                  </a:xfrm>
                  <a:custGeom>
                    <a:avLst/>
                    <a:gdLst>
                      <a:gd name="connsiteX0" fmla="*/ 225134 w 224805"/>
                      <a:gd name="connsiteY0" fmla="*/ 595410 h 595493"/>
                      <a:gd name="connsiteX1" fmla="*/ 329 w 224805"/>
                      <a:gd name="connsiteY1" fmla="*/ 465454 h 595493"/>
                      <a:gd name="connsiteX2" fmla="*/ 329 w 224805"/>
                      <a:gd name="connsiteY2" fmla="*/ -84 h 595493"/>
                      <a:gd name="connsiteX3" fmla="*/ 225134 w 224805"/>
                      <a:gd name="connsiteY3" fmla="*/ 129872 h 595493"/>
                      <a:gd name="connsiteX4" fmla="*/ 225134 w 224805"/>
                      <a:gd name="connsiteY4" fmla="*/ 595410 h 5954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4805" h="595493">
                        <a:moveTo>
                          <a:pt x="225134" y="595410"/>
                        </a:moveTo>
                        <a:lnTo>
                          <a:pt x="329" y="465454"/>
                        </a:lnTo>
                        <a:lnTo>
                          <a:pt x="329" y="-84"/>
                        </a:lnTo>
                        <a:lnTo>
                          <a:pt x="225134" y="129872"/>
                        </a:lnTo>
                        <a:lnTo>
                          <a:pt x="225134" y="595410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0" name="Freihandform: Form 1389">
                    <a:extLst>
                      <a:ext uri="{FF2B5EF4-FFF2-40B4-BE49-F238E27FC236}">
                        <a16:creationId xmlns:a16="http://schemas.microsoft.com/office/drawing/2014/main" id="{2F8EE709-6690-C52E-055B-0D7C8812933C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67635"/>
                    <a:ext cx="225725" cy="181655"/>
                  </a:xfrm>
                  <a:custGeom>
                    <a:avLst/>
                    <a:gdLst>
                      <a:gd name="connsiteX0" fmla="*/ 285 w 225725"/>
                      <a:gd name="connsiteY0" fmla="*/ 129887 h 181655"/>
                      <a:gd name="connsiteX1" fmla="*/ 226010 w 225725"/>
                      <a:gd name="connsiteY1" fmla="*/ -53 h 181655"/>
                      <a:gd name="connsiteX2" fmla="*/ 226010 w 225725"/>
                      <a:gd name="connsiteY2" fmla="*/ 51663 h 181655"/>
                      <a:gd name="connsiteX3" fmla="*/ 285 w 225725"/>
                      <a:gd name="connsiteY3" fmla="*/ 181603 h 181655"/>
                      <a:gd name="connsiteX4" fmla="*/ 285 w 225725"/>
                      <a:gd name="connsiteY4" fmla="*/ 129887 h 1816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55">
                        <a:moveTo>
                          <a:pt x="285" y="129887"/>
                        </a:moveTo>
                        <a:lnTo>
                          <a:pt x="226010" y="-53"/>
                        </a:lnTo>
                        <a:lnTo>
                          <a:pt x="226010" y="51663"/>
                        </a:lnTo>
                        <a:lnTo>
                          <a:pt x="285" y="181603"/>
                        </a:lnTo>
                        <a:lnTo>
                          <a:pt x="285" y="12988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1" name="Freihandform: Form 1390">
                    <a:extLst>
                      <a:ext uri="{FF2B5EF4-FFF2-40B4-BE49-F238E27FC236}">
                        <a16:creationId xmlns:a16="http://schemas.microsoft.com/office/drawing/2014/main" id="{E3A025A3-C0EB-2E15-F67F-68DCCB3FC176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15903"/>
                    <a:ext cx="225725" cy="543761"/>
                  </a:xfrm>
                  <a:custGeom>
                    <a:avLst/>
                    <a:gdLst>
                      <a:gd name="connsiteX0" fmla="*/ 285 w 225725"/>
                      <a:gd name="connsiteY0" fmla="*/ 129861 h 543761"/>
                      <a:gd name="connsiteX1" fmla="*/ 226010 w 225725"/>
                      <a:gd name="connsiteY1" fmla="*/ -79 h 543761"/>
                      <a:gd name="connsiteX2" fmla="*/ 226010 w 225725"/>
                      <a:gd name="connsiteY2" fmla="*/ 51653 h 543761"/>
                      <a:gd name="connsiteX3" fmla="*/ 285 w 225725"/>
                      <a:gd name="connsiteY3" fmla="*/ 181593 h 543761"/>
                      <a:gd name="connsiteX4" fmla="*/ 285 w 225725"/>
                      <a:gd name="connsiteY4" fmla="*/ 233309 h 543761"/>
                      <a:gd name="connsiteX5" fmla="*/ 226010 w 225725"/>
                      <a:gd name="connsiteY5" fmla="*/ 103369 h 543761"/>
                      <a:gd name="connsiteX6" fmla="*/ 226010 w 225725"/>
                      <a:gd name="connsiteY6" fmla="*/ 142156 h 543761"/>
                      <a:gd name="connsiteX7" fmla="*/ 285 w 225725"/>
                      <a:gd name="connsiteY7" fmla="*/ 272112 h 543761"/>
                      <a:gd name="connsiteX8" fmla="*/ 285 w 225725"/>
                      <a:gd name="connsiteY8" fmla="*/ 323843 h 543761"/>
                      <a:gd name="connsiteX9" fmla="*/ 226010 w 225725"/>
                      <a:gd name="connsiteY9" fmla="*/ 193888 h 543761"/>
                      <a:gd name="connsiteX10" fmla="*/ 226010 w 225725"/>
                      <a:gd name="connsiteY10" fmla="*/ 232690 h 543761"/>
                      <a:gd name="connsiteX11" fmla="*/ 285 w 225725"/>
                      <a:gd name="connsiteY11" fmla="*/ 362630 h 543761"/>
                      <a:gd name="connsiteX12" fmla="*/ 285 w 225725"/>
                      <a:gd name="connsiteY12" fmla="*/ 414362 h 543761"/>
                      <a:gd name="connsiteX13" fmla="*/ 226010 w 225725"/>
                      <a:gd name="connsiteY13" fmla="*/ 284422 h 543761"/>
                      <a:gd name="connsiteX14" fmla="*/ 226010 w 225725"/>
                      <a:gd name="connsiteY14" fmla="*/ 323209 h 543761"/>
                      <a:gd name="connsiteX15" fmla="*/ 285 w 225725"/>
                      <a:gd name="connsiteY15" fmla="*/ 453149 h 543761"/>
                      <a:gd name="connsiteX16" fmla="*/ 285 w 225725"/>
                      <a:gd name="connsiteY16" fmla="*/ 504881 h 543761"/>
                      <a:gd name="connsiteX17" fmla="*/ 226010 w 225725"/>
                      <a:gd name="connsiteY17" fmla="*/ 374925 h 543761"/>
                      <a:gd name="connsiteX18" fmla="*/ 226010 w 225725"/>
                      <a:gd name="connsiteY18" fmla="*/ 413728 h 543761"/>
                      <a:gd name="connsiteX19" fmla="*/ 285 w 225725"/>
                      <a:gd name="connsiteY19" fmla="*/ 543683 h 543761"/>
                      <a:gd name="connsiteX20" fmla="*/ 285 w 225725"/>
                      <a:gd name="connsiteY20" fmla="*/ 129861 h 543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225725" h="543761">
                        <a:moveTo>
                          <a:pt x="285" y="129861"/>
                        </a:moveTo>
                        <a:lnTo>
                          <a:pt x="226010" y="-79"/>
                        </a:lnTo>
                        <a:lnTo>
                          <a:pt x="226010" y="51653"/>
                        </a:lnTo>
                        <a:lnTo>
                          <a:pt x="285" y="181593"/>
                        </a:lnTo>
                        <a:lnTo>
                          <a:pt x="285" y="233309"/>
                        </a:lnTo>
                        <a:lnTo>
                          <a:pt x="226010" y="103369"/>
                        </a:lnTo>
                        <a:lnTo>
                          <a:pt x="226010" y="142156"/>
                        </a:lnTo>
                        <a:lnTo>
                          <a:pt x="285" y="272112"/>
                        </a:lnTo>
                        <a:lnTo>
                          <a:pt x="285" y="323843"/>
                        </a:lnTo>
                        <a:lnTo>
                          <a:pt x="226010" y="193888"/>
                        </a:lnTo>
                        <a:lnTo>
                          <a:pt x="226010" y="232690"/>
                        </a:lnTo>
                        <a:lnTo>
                          <a:pt x="285" y="362630"/>
                        </a:lnTo>
                        <a:lnTo>
                          <a:pt x="285" y="414362"/>
                        </a:lnTo>
                        <a:lnTo>
                          <a:pt x="226010" y="284422"/>
                        </a:lnTo>
                        <a:lnTo>
                          <a:pt x="226010" y="323209"/>
                        </a:lnTo>
                        <a:lnTo>
                          <a:pt x="285" y="453149"/>
                        </a:lnTo>
                        <a:lnTo>
                          <a:pt x="285" y="504881"/>
                        </a:lnTo>
                        <a:lnTo>
                          <a:pt x="226010" y="374925"/>
                        </a:lnTo>
                        <a:lnTo>
                          <a:pt x="226010" y="413728"/>
                        </a:lnTo>
                        <a:lnTo>
                          <a:pt x="285" y="543683"/>
                        </a:lnTo>
                        <a:lnTo>
                          <a:pt x="285" y="129861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2" name="Freihandform: Form 1391">
                    <a:extLst>
                      <a:ext uri="{FF2B5EF4-FFF2-40B4-BE49-F238E27FC236}">
                        <a16:creationId xmlns:a16="http://schemas.microsoft.com/office/drawing/2014/main" id="{53C97CFC-C163-7FD7-F879-2CF837107212}"/>
                      </a:ext>
                    </a:extLst>
                  </p:cNvPr>
                  <p:cNvSpPr/>
                  <p:nvPr/>
                </p:nvSpPr>
                <p:spPr>
                  <a:xfrm>
                    <a:off x="7987675" y="2290710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71 h 259895"/>
                      <a:gd name="connsiteX1" fmla="*/ 307 w 450530"/>
                      <a:gd name="connsiteY1" fmla="*/ 129915 h 259895"/>
                      <a:gd name="connsiteX2" fmla="*/ 225112 w 450530"/>
                      <a:gd name="connsiteY2" fmla="*/ -25 h 259895"/>
                      <a:gd name="connsiteX3" fmla="*/ 450838 w 450530"/>
                      <a:gd name="connsiteY3" fmla="*/ 129930 h 259895"/>
                      <a:gd name="connsiteX4" fmla="*/ 225112 w 450530"/>
                      <a:gd name="connsiteY4" fmla="*/ 259871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71"/>
                        </a:moveTo>
                        <a:lnTo>
                          <a:pt x="307" y="129915"/>
                        </a:lnTo>
                        <a:lnTo>
                          <a:pt x="225112" y="-25"/>
                        </a:lnTo>
                        <a:lnTo>
                          <a:pt x="450838" y="129930"/>
                        </a:lnTo>
                        <a:lnTo>
                          <a:pt x="225112" y="259871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3" name="Freihandform: Form 1392">
                    <a:extLst>
                      <a:ext uri="{FF2B5EF4-FFF2-40B4-BE49-F238E27FC236}">
                        <a16:creationId xmlns:a16="http://schemas.microsoft.com/office/drawing/2014/main" id="{15AC5404-370E-3A5A-F06E-5C1F623757C7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67619"/>
                    <a:ext cx="224805" cy="543761"/>
                  </a:xfrm>
                  <a:custGeom>
                    <a:avLst/>
                    <a:gdLst>
                      <a:gd name="connsiteX0" fmla="*/ 225134 w 224805"/>
                      <a:gd name="connsiteY0" fmla="*/ 543673 h 543761"/>
                      <a:gd name="connsiteX1" fmla="*/ 329 w 224805"/>
                      <a:gd name="connsiteY1" fmla="*/ 413717 h 543761"/>
                      <a:gd name="connsiteX2" fmla="*/ 329 w 224805"/>
                      <a:gd name="connsiteY2" fmla="*/ 362002 h 543761"/>
                      <a:gd name="connsiteX3" fmla="*/ 225134 w 224805"/>
                      <a:gd name="connsiteY3" fmla="*/ 491957 h 543761"/>
                      <a:gd name="connsiteX4" fmla="*/ 225134 w 224805"/>
                      <a:gd name="connsiteY4" fmla="*/ 543673 h 543761"/>
                      <a:gd name="connsiteX5" fmla="*/ 225134 w 224805"/>
                      <a:gd name="connsiteY5" fmla="*/ 401423 h 543761"/>
                      <a:gd name="connsiteX6" fmla="*/ 329 w 224805"/>
                      <a:gd name="connsiteY6" fmla="*/ 271483 h 543761"/>
                      <a:gd name="connsiteX7" fmla="*/ 329 w 224805"/>
                      <a:gd name="connsiteY7" fmla="*/ 323199 h 543761"/>
                      <a:gd name="connsiteX8" fmla="*/ 225134 w 224805"/>
                      <a:gd name="connsiteY8" fmla="*/ 453155 h 543761"/>
                      <a:gd name="connsiteX9" fmla="*/ 225134 w 224805"/>
                      <a:gd name="connsiteY9" fmla="*/ 401439 h 543761"/>
                      <a:gd name="connsiteX10" fmla="*/ 225134 w 224805"/>
                      <a:gd name="connsiteY10" fmla="*/ 310904 h 543761"/>
                      <a:gd name="connsiteX11" fmla="*/ 329 w 224805"/>
                      <a:gd name="connsiteY11" fmla="*/ 180949 h 543761"/>
                      <a:gd name="connsiteX12" fmla="*/ 329 w 224805"/>
                      <a:gd name="connsiteY12" fmla="*/ 232680 h 543761"/>
                      <a:gd name="connsiteX13" fmla="*/ 225134 w 224805"/>
                      <a:gd name="connsiteY13" fmla="*/ 362636 h 543761"/>
                      <a:gd name="connsiteX14" fmla="*/ 225134 w 224805"/>
                      <a:gd name="connsiteY14" fmla="*/ 310904 h 543761"/>
                      <a:gd name="connsiteX15" fmla="*/ 225134 w 224805"/>
                      <a:gd name="connsiteY15" fmla="*/ 129867 h 543761"/>
                      <a:gd name="connsiteX16" fmla="*/ 329 w 224805"/>
                      <a:gd name="connsiteY16" fmla="*/ -89 h 543761"/>
                      <a:gd name="connsiteX17" fmla="*/ 329 w 224805"/>
                      <a:gd name="connsiteY17" fmla="*/ 51627 h 543761"/>
                      <a:gd name="connsiteX18" fmla="*/ 225134 w 224805"/>
                      <a:gd name="connsiteY18" fmla="*/ 181583 h 543761"/>
                      <a:gd name="connsiteX19" fmla="*/ 225134 w 224805"/>
                      <a:gd name="connsiteY19" fmla="*/ 129867 h 543761"/>
                      <a:gd name="connsiteX20" fmla="*/ 225134 w 224805"/>
                      <a:gd name="connsiteY20" fmla="*/ 220386 h 543761"/>
                      <a:gd name="connsiteX21" fmla="*/ 329 w 224805"/>
                      <a:gd name="connsiteY21" fmla="*/ 90430 h 543761"/>
                      <a:gd name="connsiteX22" fmla="*/ 329 w 224805"/>
                      <a:gd name="connsiteY22" fmla="*/ 142162 h 543761"/>
                      <a:gd name="connsiteX23" fmla="*/ 225134 w 224805"/>
                      <a:gd name="connsiteY23" fmla="*/ 272118 h 543761"/>
                      <a:gd name="connsiteX24" fmla="*/ 225134 w 224805"/>
                      <a:gd name="connsiteY24" fmla="*/ 220386 h 543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4805" h="543761">
                        <a:moveTo>
                          <a:pt x="225134" y="543673"/>
                        </a:moveTo>
                        <a:lnTo>
                          <a:pt x="329" y="413717"/>
                        </a:lnTo>
                        <a:lnTo>
                          <a:pt x="329" y="362002"/>
                        </a:lnTo>
                        <a:lnTo>
                          <a:pt x="225134" y="491957"/>
                        </a:lnTo>
                        <a:lnTo>
                          <a:pt x="225134" y="543673"/>
                        </a:lnTo>
                        <a:close/>
                        <a:moveTo>
                          <a:pt x="225134" y="401423"/>
                        </a:moveTo>
                        <a:lnTo>
                          <a:pt x="329" y="271483"/>
                        </a:lnTo>
                        <a:lnTo>
                          <a:pt x="329" y="323199"/>
                        </a:lnTo>
                        <a:lnTo>
                          <a:pt x="225134" y="453155"/>
                        </a:lnTo>
                        <a:lnTo>
                          <a:pt x="225134" y="401439"/>
                        </a:lnTo>
                        <a:close/>
                        <a:moveTo>
                          <a:pt x="225134" y="310904"/>
                        </a:moveTo>
                        <a:lnTo>
                          <a:pt x="329" y="180949"/>
                        </a:lnTo>
                        <a:lnTo>
                          <a:pt x="329" y="232680"/>
                        </a:lnTo>
                        <a:lnTo>
                          <a:pt x="225134" y="362636"/>
                        </a:lnTo>
                        <a:lnTo>
                          <a:pt x="225134" y="310904"/>
                        </a:lnTo>
                        <a:close/>
                        <a:moveTo>
                          <a:pt x="225134" y="129867"/>
                        </a:moveTo>
                        <a:lnTo>
                          <a:pt x="329" y="-89"/>
                        </a:lnTo>
                        <a:lnTo>
                          <a:pt x="329" y="51627"/>
                        </a:lnTo>
                        <a:lnTo>
                          <a:pt x="225134" y="181583"/>
                        </a:lnTo>
                        <a:lnTo>
                          <a:pt x="225134" y="129867"/>
                        </a:lnTo>
                        <a:close/>
                        <a:moveTo>
                          <a:pt x="225134" y="220386"/>
                        </a:moveTo>
                        <a:lnTo>
                          <a:pt x="329" y="90430"/>
                        </a:lnTo>
                        <a:lnTo>
                          <a:pt x="329" y="142162"/>
                        </a:lnTo>
                        <a:lnTo>
                          <a:pt x="225134" y="272118"/>
                        </a:lnTo>
                        <a:lnTo>
                          <a:pt x="225134" y="220386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4" name="Freihandform: Form 1393">
                    <a:extLst>
                      <a:ext uri="{FF2B5EF4-FFF2-40B4-BE49-F238E27FC236}">
                        <a16:creationId xmlns:a16="http://schemas.microsoft.com/office/drawing/2014/main" id="{465A65A6-8F65-94A1-AAE9-D4607384C8C5}"/>
                      </a:ext>
                    </a:extLst>
                  </p:cNvPr>
                  <p:cNvSpPr/>
                  <p:nvPr/>
                </p:nvSpPr>
                <p:spPr>
                  <a:xfrm>
                    <a:off x="8212480" y="2841530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48 h 181671"/>
                      <a:gd name="connsiteX1" fmla="*/ 285 w 225725"/>
                      <a:gd name="connsiteY1" fmla="*/ 129832 h 181671"/>
                      <a:gd name="connsiteX2" fmla="*/ 226010 w 225725"/>
                      <a:gd name="connsiteY2" fmla="*/ -124 h 181671"/>
                      <a:gd name="connsiteX3" fmla="*/ 226010 w 225725"/>
                      <a:gd name="connsiteY3" fmla="*/ 51592 h 181671"/>
                      <a:gd name="connsiteX4" fmla="*/ 285 w 225725"/>
                      <a:gd name="connsiteY4" fmla="*/ 181548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48"/>
                        </a:moveTo>
                        <a:lnTo>
                          <a:pt x="285" y="129832"/>
                        </a:lnTo>
                        <a:lnTo>
                          <a:pt x="226010" y="-124"/>
                        </a:lnTo>
                        <a:lnTo>
                          <a:pt x="226010" y="51592"/>
                        </a:lnTo>
                        <a:lnTo>
                          <a:pt x="285" y="181548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5" name="Freihandform: Form 1394">
                    <a:extLst>
                      <a:ext uri="{FF2B5EF4-FFF2-40B4-BE49-F238E27FC236}">
                        <a16:creationId xmlns:a16="http://schemas.microsoft.com/office/drawing/2014/main" id="{2F71AB3B-2E42-9FAF-73BC-D410A9BE5188}"/>
                      </a:ext>
                    </a:extLst>
                  </p:cNvPr>
                  <p:cNvSpPr/>
                  <p:nvPr/>
                </p:nvSpPr>
                <p:spPr>
                  <a:xfrm>
                    <a:off x="8212480" y="2751012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65 h 181671"/>
                      <a:gd name="connsiteX1" fmla="*/ 285 w 225725"/>
                      <a:gd name="connsiteY1" fmla="*/ 129834 h 181671"/>
                      <a:gd name="connsiteX2" fmla="*/ 226010 w 225725"/>
                      <a:gd name="connsiteY2" fmla="*/ -106 h 181671"/>
                      <a:gd name="connsiteX3" fmla="*/ 226010 w 225725"/>
                      <a:gd name="connsiteY3" fmla="*/ 51610 h 181671"/>
                      <a:gd name="connsiteX4" fmla="*/ 285 w 225725"/>
                      <a:gd name="connsiteY4" fmla="*/ 181565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65"/>
                        </a:moveTo>
                        <a:lnTo>
                          <a:pt x="285" y="129834"/>
                        </a:lnTo>
                        <a:lnTo>
                          <a:pt x="226010" y="-106"/>
                        </a:lnTo>
                        <a:lnTo>
                          <a:pt x="226010" y="51610"/>
                        </a:lnTo>
                        <a:lnTo>
                          <a:pt x="285" y="181565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6" name="Freihandform: Form 1395">
                    <a:extLst>
                      <a:ext uri="{FF2B5EF4-FFF2-40B4-BE49-F238E27FC236}">
                        <a16:creationId xmlns:a16="http://schemas.microsoft.com/office/drawing/2014/main" id="{C4DB4E46-8241-779B-BC96-52E5D2BE4C9A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60493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83 h 181671"/>
                      <a:gd name="connsiteX1" fmla="*/ 285 w 225725"/>
                      <a:gd name="connsiteY1" fmla="*/ 129851 h 181671"/>
                      <a:gd name="connsiteX2" fmla="*/ 226010 w 225725"/>
                      <a:gd name="connsiteY2" fmla="*/ -89 h 181671"/>
                      <a:gd name="connsiteX3" fmla="*/ 226010 w 225725"/>
                      <a:gd name="connsiteY3" fmla="*/ 51643 h 181671"/>
                      <a:gd name="connsiteX4" fmla="*/ 285 w 225725"/>
                      <a:gd name="connsiteY4" fmla="*/ 181583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83"/>
                        </a:moveTo>
                        <a:lnTo>
                          <a:pt x="285" y="129851"/>
                        </a:lnTo>
                        <a:lnTo>
                          <a:pt x="226010" y="-89"/>
                        </a:lnTo>
                        <a:lnTo>
                          <a:pt x="226010" y="51643"/>
                        </a:lnTo>
                        <a:lnTo>
                          <a:pt x="285" y="181583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7" name="Freihandform: Form 1396">
                    <a:extLst>
                      <a:ext uri="{FF2B5EF4-FFF2-40B4-BE49-F238E27FC236}">
                        <a16:creationId xmlns:a16="http://schemas.microsoft.com/office/drawing/2014/main" id="{B02DBFC4-DB5F-0EA5-2085-29E6BB12C110}"/>
                      </a:ext>
                    </a:extLst>
                  </p:cNvPr>
                  <p:cNvSpPr/>
                  <p:nvPr/>
                </p:nvSpPr>
                <p:spPr>
                  <a:xfrm>
                    <a:off x="8212480" y="2569959"/>
                    <a:ext cx="225725" cy="181687"/>
                  </a:xfrm>
                  <a:custGeom>
                    <a:avLst/>
                    <a:gdLst>
                      <a:gd name="connsiteX0" fmla="*/ 285 w 225725"/>
                      <a:gd name="connsiteY0" fmla="*/ 181617 h 181687"/>
                      <a:gd name="connsiteX1" fmla="*/ 285 w 225725"/>
                      <a:gd name="connsiteY1" fmla="*/ 129885 h 181687"/>
                      <a:gd name="connsiteX2" fmla="*/ 226010 w 225725"/>
                      <a:gd name="connsiteY2" fmla="*/ -71 h 181687"/>
                      <a:gd name="connsiteX3" fmla="*/ 226010 w 225725"/>
                      <a:gd name="connsiteY3" fmla="*/ 51661 h 181687"/>
                      <a:gd name="connsiteX4" fmla="*/ 285 w 225725"/>
                      <a:gd name="connsiteY4" fmla="*/ 181617 h 18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87">
                        <a:moveTo>
                          <a:pt x="285" y="181617"/>
                        </a:moveTo>
                        <a:lnTo>
                          <a:pt x="285" y="129885"/>
                        </a:lnTo>
                        <a:lnTo>
                          <a:pt x="226010" y="-71"/>
                        </a:lnTo>
                        <a:lnTo>
                          <a:pt x="226010" y="51661"/>
                        </a:lnTo>
                        <a:lnTo>
                          <a:pt x="285" y="18161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8" name="Freihandform: Form 1397">
                    <a:extLst>
                      <a:ext uri="{FF2B5EF4-FFF2-40B4-BE49-F238E27FC236}">
                        <a16:creationId xmlns:a16="http://schemas.microsoft.com/office/drawing/2014/main" id="{B2C82E61-3C71-6D81-EC1F-ECB2F7A87760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79456"/>
                    <a:ext cx="225725" cy="181655"/>
                  </a:xfrm>
                  <a:custGeom>
                    <a:avLst/>
                    <a:gdLst>
                      <a:gd name="connsiteX0" fmla="*/ 285 w 225725"/>
                      <a:gd name="connsiteY0" fmla="*/ 129887 h 181655"/>
                      <a:gd name="connsiteX1" fmla="*/ 226010 w 225725"/>
                      <a:gd name="connsiteY1" fmla="*/ -53 h 181655"/>
                      <a:gd name="connsiteX2" fmla="*/ 226010 w 225725"/>
                      <a:gd name="connsiteY2" fmla="*/ 51663 h 181655"/>
                      <a:gd name="connsiteX3" fmla="*/ 285 w 225725"/>
                      <a:gd name="connsiteY3" fmla="*/ 181603 h 181655"/>
                      <a:gd name="connsiteX4" fmla="*/ 285 w 225725"/>
                      <a:gd name="connsiteY4" fmla="*/ 129887 h 1816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55">
                        <a:moveTo>
                          <a:pt x="285" y="129887"/>
                        </a:moveTo>
                        <a:lnTo>
                          <a:pt x="226010" y="-53"/>
                        </a:lnTo>
                        <a:lnTo>
                          <a:pt x="226010" y="51663"/>
                        </a:lnTo>
                        <a:lnTo>
                          <a:pt x="285" y="181603"/>
                        </a:lnTo>
                        <a:lnTo>
                          <a:pt x="285" y="12988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9" name="Freihandform: Form 1398">
                    <a:extLst>
                      <a:ext uri="{FF2B5EF4-FFF2-40B4-BE49-F238E27FC236}">
                        <a16:creationId xmlns:a16="http://schemas.microsoft.com/office/drawing/2014/main" id="{EEB8159A-9C69-E3B0-0F92-20B38F5D5379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27724"/>
                    <a:ext cx="225725" cy="543761"/>
                  </a:xfrm>
                  <a:custGeom>
                    <a:avLst/>
                    <a:gdLst>
                      <a:gd name="connsiteX0" fmla="*/ 285 w 225725"/>
                      <a:gd name="connsiteY0" fmla="*/ 129861 h 543761"/>
                      <a:gd name="connsiteX1" fmla="*/ 226010 w 225725"/>
                      <a:gd name="connsiteY1" fmla="*/ -79 h 543761"/>
                      <a:gd name="connsiteX2" fmla="*/ 226010 w 225725"/>
                      <a:gd name="connsiteY2" fmla="*/ 51653 h 543761"/>
                      <a:gd name="connsiteX3" fmla="*/ 285 w 225725"/>
                      <a:gd name="connsiteY3" fmla="*/ 181593 h 543761"/>
                      <a:gd name="connsiteX4" fmla="*/ 285 w 225725"/>
                      <a:gd name="connsiteY4" fmla="*/ 233309 h 543761"/>
                      <a:gd name="connsiteX5" fmla="*/ 226010 w 225725"/>
                      <a:gd name="connsiteY5" fmla="*/ 103369 h 543761"/>
                      <a:gd name="connsiteX6" fmla="*/ 226010 w 225725"/>
                      <a:gd name="connsiteY6" fmla="*/ 142156 h 543761"/>
                      <a:gd name="connsiteX7" fmla="*/ 285 w 225725"/>
                      <a:gd name="connsiteY7" fmla="*/ 272112 h 543761"/>
                      <a:gd name="connsiteX8" fmla="*/ 285 w 225725"/>
                      <a:gd name="connsiteY8" fmla="*/ 323843 h 543761"/>
                      <a:gd name="connsiteX9" fmla="*/ 226010 w 225725"/>
                      <a:gd name="connsiteY9" fmla="*/ 193888 h 543761"/>
                      <a:gd name="connsiteX10" fmla="*/ 226010 w 225725"/>
                      <a:gd name="connsiteY10" fmla="*/ 232690 h 543761"/>
                      <a:gd name="connsiteX11" fmla="*/ 285 w 225725"/>
                      <a:gd name="connsiteY11" fmla="*/ 362630 h 543761"/>
                      <a:gd name="connsiteX12" fmla="*/ 285 w 225725"/>
                      <a:gd name="connsiteY12" fmla="*/ 414362 h 543761"/>
                      <a:gd name="connsiteX13" fmla="*/ 226010 w 225725"/>
                      <a:gd name="connsiteY13" fmla="*/ 284422 h 543761"/>
                      <a:gd name="connsiteX14" fmla="*/ 226010 w 225725"/>
                      <a:gd name="connsiteY14" fmla="*/ 323209 h 543761"/>
                      <a:gd name="connsiteX15" fmla="*/ 285 w 225725"/>
                      <a:gd name="connsiteY15" fmla="*/ 453149 h 543761"/>
                      <a:gd name="connsiteX16" fmla="*/ 285 w 225725"/>
                      <a:gd name="connsiteY16" fmla="*/ 504881 h 543761"/>
                      <a:gd name="connsiteX17" fmla="*/ 226010 w 225725"/>
                      <a:gd name="connsiteY17" fmla="*/ 374925 h 543761"/>
                      <a:gd name="connsiteX18" fmla="*/ 226010 w 225725"/>
                      <a:gd name="connsiteY18" fmla="*/ 413728 h 543761"/>
                      <a:gd name="connsiteX19" fmla="*/ 285 w 225725"/>
                      <a:gd name="connsiteY19" fmla="*/ 543683 h 543761"/>
                      <a:gd name="connsiteX20" fmla="*/ 285 w 225725"/>
                      <a:gd name="connsiteY20" fmla="*/ 129861 h 543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225725" h="543761">
                        <a:moveTo>
                          <a:pt x="285" y="129861"/>
                        </a:moveTo>
                        <a:lnTo>
                          <a:pt x="226010" y="-79"/>
                        </a:lnTo>
                        <a:lnTo>
                          <a:pt x="226010" y="51653"/>
                        </a:lnTo>
                        <a:lnTo>
                          <a:pt x="285" y="181593"/>
                        </a:lnTo>
                        <a:lnTo>
                          <a:pt x="285" y="233309"/>
                        </a:lnTo>
                        <a:lnTo>
                          <a:pt x="226010" y="103369"/>
                        </a:lnTo>
                        <a:lnTo>
                          <a:pt x="226010" y="142156"/>
                        </a:lnTo>
                        <a:lnTo>
                          <a:pt x="285" y="272112"/>
                        </a:lnTo>
                        <a:lnTo>
                          <a:pt x="285" y="323843"/>
                        </a:lnTo>
                        <a:lnTo>
                          <a:pt x="226010" y="193888"/>
                        </a:lnTo>
                        <a:lnTo>
                          <a:pt x="226010" y="232690"/>
                        </a:lnTo>
                        <a:lnTo>
                          <a:pt x="285" y="362630"/>
                        </a:lnTo>
                        <a:lnTo>
                          <a:pt x="285" y="414362"/>
                        </a:lnTo>
                        <a:lnTo>
                          <a:pt x="226010" y="284422"/>
                        </a:lnTo>
                        <a:lnTo>
                          <a:pt x="226010" y="323209"/>
                        </a:lnTo>
                        <a:lnTo>
                          <a:pt x="285" y="453149"/>
                        </a:lnTo>
                        <a:lnTo>
                          <a:pt x="285" y="504881"/>
                        </a:lnTo>
                        <a:lnTo>
                          <a:pt x="226010" y="374925"/>
                        </a:lnTo>
                        <a:lnTo>
                          <a:pt x="226010" y="413728"/>
                        </a:lnTo>
                        <a:lnTo>
                          <a:pt x="285" y="543683"/>
                        </a:lnTo>
                        <a:lnTo>
                          <a:pt x="285" y="129861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365" name="Grafik 20">
                  <a:extLst>
                    <a:ext uri="{FF2B5EF4-FFF2-40B4-BE49-F238E27FC236}">
                      <a16:creationId xmlns:a16="http://schemas.microsoft.com/office/drawing/2014/main" id="{9069D81C-913A-5A41-2EE3-D2798A49BA7C}"/>
                    </a:ext>
                  </a:extLst>
                </p:cNvPr>
                <p:cNvGrpSpPr/>
                <p:nvPr/>
              </p:nvGrpSpPr>
              <p:grpSpPr>
                <a:xfrm>
                  <a:off x="8041453" y="2296881"/>
                  <a:ext cx="336644" cy="228342"/>
                  <a:chOff x="8041453" y="2296881"/>
                  <a:chExt cx="336644" cy="228342"/>
                </a:xfrm>
              </p:grpSpPr>
              <p:grpSp>
                <p:nvGrpSpPr>
                  <p:cNvPr id="1366" name="Grafik 20">
                    <a:extLst>
                      <a:ext uri="{FF2B5EF4-FFF2-40B4-BE49-F238E27FC236}">
                        <a16:creationId xmlns:a16="http://schemas.microsoft.com/office/drawing/2014/main" id="{9A00C6E1-673A-3C35-C404-665283F5593D}"/>
                      </a:ext>
                    </a:extLst>
                  </p:cNvPr>
                  <p:cNvGrpSpPr/>
                  <p:nvPr/>
                </p:nvGrpSpPr>
                <p:grpSpPr>
                  <a:xfrm>
                    <a:off x="8041453" y="2383544"/>
                    <a:ext cx="195155" cy="141679"/>
                    <a:chOff x="8041453" y="2383544"/>
                    <a:chExt cx="195155" cy="141679"/>
                  </a:xfrm>
                </p:grpSpPr>
                <p:sp>
                  <p:nvSpPr>
                    <p:cNvPr id="1373" name="Freihandform: Form 1372">
                      <a:extLst>
                        <a:ext uri="{FF2B5EF4-FFF2-40B4-BE49-F238E27FC236}">
                          <a16:creationId xmlns:a16="http://schemas.microsoft.com/office/drawing/2014/main" id="{D4BBEC6A-7E30-1D17-AD62-3BC6AC9D50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41453" y="2383544"/>
                      <a:ext cx="195155" cy="141679"/>
                    </a:xfrm>
                    <a:custGeom>
                      <a:avLst/>
                      <a:gdLst>
                        <a:gd name="connsiteX0" fmla="*/ 24466 w 195155"/>
                        <a:gd name="connsiteY0" fmla="*/ -32 h 141679"/>
                        <a:gd name="connsiteX1" fmla="*/ 195477 w 195155"/>
                        <a:gd name="connsiteY1" fmla="*/ 99148 h 141679"/>
                        <a:gd name="connsiteX2" fmla="*/ 171333 w 195155"/>
                        <a:gd name="connsiteY2" fmla="*/ 141647 h 141679"/>
                        <a:gd name="connsiteX3" fmla="*/ 321 w 195155"/>
                        <a:gd name="connsiteY3" fmla="*/ 42467 h 141679"/>
                        <a:gd name="connsiteX4" fmla="*/ 24466 w 195155"/>
                        <a:gd name="connsiteY4" fmla="*/ -32 h 1416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5155" h="141679">
                          <a:moveTo>
                            <a:pt x="24466" y="-32"/>
                          </a:moveTo>
                          <a:lnTo>
                            <a:pt x="195477" y="99148"/>
                          </a:lnTo>
                          <a:lnTo>
                            <a:pt x="171333" y="141647"/>
                          </a:lnTo>
                          <a:lnTo>
                            <a:pt x="321" y="42467"/>
                          </a:lnTo>
                          <a:lnTo>
                            <a:pt x="24466" y="-32"/>
                          </a:lnTo>
                          <a:close/>
                        </a:path>
                      </a:pathLst>
                    </a:custGeom>
                    <a:solidFill>
                      <a:srgbClr val="333353"/>
                    </a:solidFill>
                    <a:ln w="15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9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374" name="Freihandform: Form 1373">
                      <a:extLst>
                        <a:ext uri="{FF2B5EF4-FFF2-40B4-BE49-F238E27FC236}">
                          <a16:creationId xmlns:a16="http://schemas.microsoft.com/office/drawing/2014/main" id="{A548DF69-D97D-3756-EFEC-44BF9D8960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17551" y="2413669"/>
                      <a:ext cx="69610" cy="96879"/>
                    </a:xfrm>
                    <a:custGeom>
                      <a:avLst/>
                      <a:gdLst>
                        <a:gd name="connsiteX0" fmla="*/ 69929 w 69610"/>
                        <a:gd name="connsiteY0" fmla="*/ 40340 h 96879"/>
                        <a:gd name="connsiteX1" fmla="*/ 69929 w 69610"/>
                        <a:gd name="connsiteY1" fmla="*/ 96846 h 96879"/>
                        <a:gd name="connsiteX2" fmla="*/ 38201 w 69610"/>
                        <a:gd name="connsiteY2" fmla="*/ 78445 h 96879"/>
                        <a:gd name="connsiteX3" fmla="*/ 38201 w 69610"/>
                        <a:gd name="connsiteY3" fmla="*/ 21938 h 96879"/>
                        <a:gd name="connsiteX4" fmla="*/ 69929 w 69610"/>
                        <a:gd name="connsiteY4" fmla="*/ 40340 h 96879"/>
                        <a:gd name="connsiteX5" fmla="*/ 319 w 69610"/>
                        <a:gd name="connsiteY5" fmla="*/ -33 h 96879"/>
                        <a:gd name="connsiteX6" fmla="*/ 319 w 69610"/>
                        <a:gd name="connsiteY6" fmla="*/ 56473 h 96879"/>
                        <a:gd name="connsiteX7" fmla="*/ 24114 w 69610"/>
                        <a:gd name="connsiteY7" fmla="*/ 70275 h 96879"/>
                        <a:gd name="connsiteX8" fmla="*/ 24114 w 69610"/>
                        <a:gd name="connsiteY8" fmla="*/ 13768 h 96879"/>
                        <a:gd name="connsiteX9" fmla="*/ 319 w 69610"/>
                        <a:gd name="connsiteY9" fmla="*/ -33 h 968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9610" h="96879">
                          <a:moveTo>
                            <a:pt x="69929" y="40340"/>
                          </a:moveTo>
                          <a:lnTo>
                            <a:pt x="69929" y="96846"/>
                          </a:lnTo>
                          <a:lnTo>
                            <a:pt x="38201" y="78445"/>
                          </a:lnTo>
                          <a:lnTo>
                            <a:pt x="38201" y="21938"/>
                          </a:lnTo>
                          <a:lnTo>
                            <a:pt x="69929" y="40340"/>
                          </a:lnTo>
                          <a:close/>
                          <a:moveTo>
                            <a:pt x="319" y="-33"/>
                          </a:moveTo>
                          <a:lnTo>
                            <a:pt x="319" y="56473"/>
                          </a:lnTo>
                          <a:lnTo>
                            <a:pt x="24114" y="70275"/>
                          </a:lnTo>
                          <a:lnTo>
                            <a:pt x="24114" y="13768"/>
                          </a:lnTo>
                          <a:lnTo>
                            <a:pt x="319" y="-33"/>
                          </a:lnTo>
                          <a:close/>
                        </a:path>
                      </a:pathLst>
                    </a:custGeom>
                    <a:solidFill>
                      <a:srgbClr val="66667E"/>
                    </a:solidFill>
                    <a:ln w="15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9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1367" name="Grafik 20">
                    <a:extLst>
                      <a:ext uri="{FF2B5EF4-FFF2-40B4-BE49-F238E27FC236}">
                        <a16:creationId xmlns:a16="http://schemas.microsoft.com/office/drawing/2014/main" id="{4647C372-B265-81A5-E664-C326B84516D9}"/>
                      </a:ext>
                    </a:extLst>
                  </p:cNvPr>
                  <p:cNvGrpSpPr/>
                  <p:nvPr/>
                </p:nvGrpSpPr>
                <p:grpSpPr>
                  <a:xfrm>
                    <a:off x="8114743" y="2341283"/>
                    <a:ext cx="195155" cy="141679"/>
                    <a:chOff x="8114743" y="2341283"/>
                    <a:chExt cx="195155" cy="141679"/>
                  </a:xfrm>
                </p:grpSpPr>
                <p:sp>
                  <p:nvSpPr>
                    <p:cNvPr id="1371" name="Freihandform: Form 1370">
                      <a:extLst>
                        <a:ext uri="{FF2B5EF4-FFF2-40B4-BE49-F238E27FC236}">
                          <a16:creationId xmlns:a16="http://schemas.microsoft.com/office/drawing/2014/main" id="{220159B8-88C2-AAB0-E4FE-F7914FEB29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14743" y="2341283"/>
                      <a:ext cx="195155" cy="141679"/>
                    </a:xfrm>
                    <a:custGeom>
                      <a:avLst/>
                      <a:gdLst>
                        <a:gd name="connsiteX0" fmla="*/ 24436 w 195155"/>
                        <a:gd name="connsiteY0" fmla="*/ -24 h 141679"/>
                        <a:gd name="connsiteX1" fmla="*/ 195463 w 195155"/>
                        <a:gd name="connsiteY1" fmla="*/ 99156 h 141679"/>
                        <a:gd name="connsiteX2" fmla="*/ 171318 w 195155"/>
                        <a:gd name="connsiteY2" fmla="*/ 141655 h 141679"/>
                        <a:gd name="connsiteX3" fmla="*/ 307 w 195155"/>
                        <a:gd name="connsiteY3" fmla="*/ 42491 h 141679"/>
                        <a:gd name="connsiteX4" fmla="*/ 24436 w 195155"/>
                        <a:gd name="connsiteY4" fmla="*/ -24 h 1416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5155" h="141679">
                          <a:moveTo>
                            <a:pt x="24436" y="-24"/>
                          </a:moveTo>
                          <a:lnTo>
                            <a:pt x="195463" y="99156"/>
                          </a:lnTo>
                          <a:lnTo>
                            <a:pt x="171318" y="141655"/>
                          </a:lnTo>
                          <a:lnTo>
                            <a:pt x="307" y="42491"/>
                          </a:lnTo>
                          <a:lnTo>
                            <a:pt x="24436" y="-24"/>
                          </a:lnTo>
                          <a:close/>
                        </a:path>
                      </a:pathLst>
                    </a:custGeom>
                    <a:solidFill>
                      <a:srgbClr val="333353"/>
                    </a:solidFill>
                    <a:ln w="15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9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372" name="Freihandform: Form 1371">
                      <a:extLst>
                        <a:ext uri="{FF2B5EF4-FFF2-40B4-BE49-F238E27FC236}">
                          <a16:creationId xmlns:a16="http://schemas.microsoft.com/office/drawing/2014/main" id="{5F464C3B-78D7-E40D-38F3-F851CB35E8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90842" y="2371408"/>
                      <a:ext cx="69610" cy="96879"/>
                    </a:xfrm>
                    <a:custGeom>
                      <a:avLst/>
                      <a:gdLst>
                        <a:gd name="connsiteX0" fmla="*/ 69915 w 69610"/>
                        <a:gd name="connsiteY0" fmla="*/ 40348 h 96879"/>
                        <a:gd name="connsiteX1" fmla="*/ 69915 w 69610"/>
                        <a:gd name="connsiteY1" fmla="*/ 96855 h 96879"/>
                        <a:gd name="connsiteX2" fmla="*/ 38187 w 69610"/>
                        <a:gd name="connsiteY2" fmla="*/ 78453 h 96879"/>
                        <a:gd name="connsiteX3" fmla="*/ 38187 w 69610"/>
                        <a:gd name="connsiteY3" fmla="*/ 21946 h 96879"/>
                        <a:gd name="connsiteX4" fmla="*/ 69915 w 69610"/>
                        <a:gd name="connsiteY4" fmla="*/ 40348 h 96879"/>
                        <a:gd name="connsiteX5" fmla="*/ 304 w 69610"/>
                        <a:gd name="connsiteY5" fmla="*/ -25 h 96879"/>
                        <a:gd name="connsiteX6" fmla="*/ 304 w 69610"/>
                        <a:gd name="connsiteY6" fmla="*/ 56481 h 96879"/>
                        <a:gd name="connsiteX7" fmla="*/ 24100 w 69610"/>
                        <a:gd name="connsiteY7" fmla="*/ 70283 h 96879"/>
                        <a:gd name="connsiteX8" fmla="*/ 24100 w 69610"/>
                        <a:gd name="connsiteY8" fmla="*/ 13776 h 96879"/>
                        <a:gd name="connsiteX9" fmla="*/ 304 w 69610"/>
                        <a:gd name="connsiteY9" fmla="*/ -25 h 968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9610" h="96879">
                          <a:moveTo>
                            <a:pt x="69915" y="40348"/>
                          </a:moveTo>
                          <a:lnTo>
                            <a:pt x="69915" y="96855"/>
                          </a:lnTo>
                          <a:lnTo>
                            <a:pt x="38187" y="78453"/>
                          </a:lnTo>
                          <a:lnTo>
                            <a:pt x="38187" y="21946"/>
                          </a:lnTo>
                          <a:lnTo>
                            <a:pt x="69915" y="40348"/>
                          </a:lnTo>
                          <a:close/>
                          <a:moveTo>
                            <a:pt x="304" y="-25"/>
                          </a:moveTo>
                          <a:lnTo>
                            <a:pt x="304" y="56481"/>
                          </a:lnTo>
                          <a:lnTo>
                            <a:pt x="24100" y="70283"/>
                          </a:lnTo>
                          <a:lnTo>
                            <a:pt x="24100" y="13776"/>
                          </a:lnTo>
                          <a:lnTo>
                            <a:pt x="304" y="-25"/>
                          </a:lnTo>
                          <a:close/>
                        </a:path>
                      </a:pathLst>
                    </a:custGeom>
                    <a:solidFill>
                      <a:srgbClr val="66667E"/>
                    </a:solidFill>
                    <a:ln w="15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9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1368" name="Grafik 20">
                    <a:extLst>
                      <a:ext uri="{FF2B5EF4-FFF2-40B4-BE49-F238E27FC236}">
                        <a16:creationId xmlns:a16="http://schemas.microsoft.com/office/drawing/2014/main" id="{01DCAA34-CEEB-9FA1-C180-F80FBCC14057}"/>
                      </a:ext>
                    </a:extLst>
                  </p:cNvPr>
                  <p:cNvGrpSpPr/>
                  <p:nvPr/>
                </p:nvGrpSpPr>
                <p:grpSpPr>
                  <a:xfrm>
                    <a:off x="8182942" y="2296881"/>
                    <a:ext cx="195155" cy="141679"/>
                    <a:chOff x="8182942" y="2296881"/>
                    <a:chExt cx="195155" cy="141679"/>
                  </a:xfrm>
                </p:grpSpPr>
                <p:sp>
                  <p:nvSpPr>
                    <p:cNvPr id="1369" name="Freihandform: Form 1368">
                      <a:extLst>
                        <a:ext uri="{FF2B5EF4-FFF2-40B4-BE49-F238E27FC236}">
                          <a16:creationId xmlns:a16="http://schemas.microsoft.com/office/drawing/2014/main" id="{F2F01425-CFA9-F9CF-0EB0-6DD2EEFA97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82942" y="2296881"/>
                      <a:ext cx="195155" cy="141679"/>
                    </a:xfrm>
                    <a:custGeom>
                      <a:avLst/>
                      <a:gdLst>
                        <a:gd name="connsiteX0" fmla="*/ 24438 w 195155"/>
                        <a:gd name="connsiteY0" fmla="*/ -15 h 141679"/>
                        <a:gd name="connsiteX1" fmla="*/ 195450 w 195155"/>
                        <a:gd name="connsiteY1" fmla="*/ 99165 h 141679"/>
                        <a:gd name="connsiteX2" fmla="*/ 171305 w 195155"/>
                        <a:gd name="connsiteY2" fmla="*/ 141664 h 141679"/>
                        <a:gd name="connsiteX3" fmla="*/ 294 w 195155"/>
                        <a:gd name="connsiteY3" fmla="*/ 42500 h 141679"/>
                        <a:gd name="connsiteX4" fmla="*/ 24438 w 195155"/>
                        <a:gd name="connsiteY4" fmla="*/ -15 h 1416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5155" h="141679">
                          <a:moveTo>
                            <a:pt x="24438" y="-15"/>
                          </a:moveTo>
                          <a:lnTo>
                            <a:pt x="195450" y="99165"/>
                          </a:lnTo>
                          <a:lnTo>
                            <a:pt x="171305" y="141664"/>
                          </a:lnTo>
                          <a:lnTo>
                            <a:pt x="294" y="42500"/>
                          </a:lnTo>
                          <a:lnTo>
                            <a:pt x="24438" y="-15"/>
                          </a:lnTo>
                          <a:close/>
                        </a:path>
                      </a:pathLst>
                    </a:custGeom>
                    <a:solidFill>
                      <a:srgbClr val="333353"/>
                    </a:solidFill>
                    <a:ln w="15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9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370" name="Freihandform: Form 1369">
                      <a:extLst>
                        <a:ext uri="{FF2B5EF4-FFF2-40B4-BE49-F238E27FC236}">
                          <a16:creationId xmlns:a16="http://schemas.microsoft.com/office/drawing/2014/main" id="{D7171F6A-1781-FBB9-073E-5822495401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59040" y="2327006"/>
                      <a:ext cx="69610" cy="96879"/>
                    </a:xfrm>
                    <a:custGeom>
                      <a:avLst/>
                      <a:gdLst>
                        <a:gd name="connsiteX0" fmla="*/ 69901 w 69610"/>
                        <a:gd name="connsiteY0" fmla="*/ 40357 h 96879"/>
                        <a:gd name="connsiteX1" fmla="*/ 69901 w 69610"/>
                        <a:gd name="connsiteY1" fmla="*/ 96863 h 96879"/>
                        <a:gd name="connsiteX2" fmla="*/ 38174 w 69610"/>
                        <a:gd name="connsiteY2" fmla="*/ 78461 h 96879"/>
                        <a:gd name="connsiteX3" fmla="*/ 38174 w 69610"/>
                        <a:gd name="connsiteY3" fmla="*/ 21955 h 96879"/>
                        <a:gd name="connsiteX4" fmla="*/ 69901 w 69610"/>
                        <a:gd name="connsiteY4" fmla="*/ 40357 h 96879"/>
                        <a:gd name="connsiteX5" fmla="*/ 291 w 69610"/>
                        <a:gd name="connsiteY5" fmla="*/ -17 h 96879"/>
                        <a:gd name="connsiteX6" fmla="*/ 291 w 69610"/>
                        <a:gd name="connsiteY6" fmla="*/ 56490 h 96879"/>
                        <a:gd name="connsiteX7" fmla="*/ 24087 w 69610"/>
                        <a:gd name="connsiteY7" fmla="*/ 70292 h 96879"/>
                        <a:gd name="connsiteX8" fmla="*/ 24087 w 69610"/>
                        <a:gd name="connsiteY8" fmla="*/ 13785 h 96879"/>
                        <a:gd name="connsiteX9" fmla="*/ 291 w 69610"/>
                        <a:gd name="connsiteY9" fmla="*/ -17 h 968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9610" h="96879">
                          <a:moveTo>
                            <a:pt x="69901" y="40357"/>
                          </a:moveTo>
                          <a:lnTo>
                            <a:pt x="69901" y="96863"/>
                          </a:lnTo>
                          <a:lnTo>
                            <a:pt x="38174" y="78461"/>
                          </a:lnTo>
                          <a:lnTo>
                            <a:pt x="38174" y="21955"/>
                          </a:lnTo>
                          <a:lnTo>
                            <a:pt x="69901" y="40357"/>
                          </a:lnTo>
                          <a:close/>
                          <a:moveTo>
                            <a:pt x="291" y="-17"/>
                          </a:moveTo>
                          <a:lnTo>
                            <a:pt x="291" y="56490"/>
                          </a:lnTo>
                          <a:lnTo>
                            <a:pt x="24087" y="70292"/>
                          </a:lnTo>
                          <a:lnTo>
                            <a:pt x="24087" y="13785"/>
                          </a:lnTo>
                          <a:lnTo>
                            <a:pt x="291" y="-17"/>
                          </a:lnTo>
                          <a:close/>
                        </a:path>
                      </a:pathLst>
                    </a:custGeom>
                    <a:solidFill>
                      <a:srgbClr val="66667E"/>
                    </a:solidFill>
                    <a:ln w="15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9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pic>
            <p:nvPicPr>
              <p:cNvPr id="1356" name="Grafik 1355">
                <a:extLst>
                  <a:ext uri="{FF2B5EF4-FFF2-40B4-BE49-F238E27FC236}">
                    <a16:creationId xmlns:a16="http://schemas.microsoft.com/office/drawing/2014/main" id="{85FBBDA7-6C57-058F-4AFA-A718688B38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241329" y="2561762"/>
                <a:ext cx="112478" cy="142655"/>
              </a:xfrm>
              <a:prstGeom prst="rect">
                <a:avLst/>
              </a:prstGeom>
              <a:scene3d>
                <a:camera prst="isometricRightUp"/>
                <a:lightRig rig="threePt" dir="t"/>
              </a:scene3d>
            </p:spPr>
          </p:pic>
          <p:sp>
            <p:nvSpPr>
              <p:cNvPr id="1357" name="Freihandform: Form 1356">
                <a:extLst>
                  <a:ext uri="{FF2B5EF4-FFF2-40B4-BE49-F238E27FC236}">
                    <a16:creationId xmlns:a16="http://schemas.microsoft.com/office/drawing/2014/main" id="{06FDC938-93FE-52E7-63DD-F7A4F8F549C1}"/>
                  </a:ext>
                </a:extLst>
              </p:cNvPr>
              <p:cNvSpPr/>
              <p:nvPr/>
            </p:nvSpPr>
            <p:spPr>
              <a:xfrm>
                <a:off x="7987838" y="2516312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33353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8" name="Freihandform: Form 1357">
                <a:extLst>
                  <a:ext uri="{FF2B5EF4-FFF2-40B4-BE49-F238E27FC236}">
                    <a16:creationId xmlns:a16="http://schemas.microsoft.com/office/drawing/2014/main" id="{5EE96AE3-9772-5C7C-8D3B-52E973F3859B}"/>
                  </a:ext>
                </a:extLst>
              </p:cNvPr>
              <p:cNvSpPr/>
              <p:nvPr/>
            </p:nvSpPr>
            <p:spPr>
              <a:xfrm>
                <a:off x="7987838" y="2608466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33353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9" name="Freihandform: Form 1358">
                <a:extLst>
                  <a:ext uri="{FF2B5EF4-FFF2-40B4-BE49-F238E27FC236}">
                    <a16:creationId xmlns:a16="http://schemas.microsoft.com/office/drawing/2014/main" id="{29FD6A4F-06B6-69DA-7372-47ECF19AB17E}"/>
                  </a:ext>
                </a:extLst>
              </p:cNvPr>
              <p:cNvSpPr/>
              <p:nvPr/>
            </p:nvSpPr>
            <p:spPr>
              <a:xfrm flipH="1">
                <a:off x="8345121" y="2688070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0" name="Freihandform: Form 1359">
                <a:extLst>
                  <a:ext uri="{FF2B5EF4-FFF2-40B4-BE49-F238E27FC236}">
                    <a16:creationId xmlns:a16="http://schemas.microsoft.com/office/drawing/2014/main" id="{43D35291-4673-47C6-E56B-EE43E13D7CB6}"/>
                  </a:ext>
                </a:extLst>
              </p:cNvPr>
              <p:cNvSpPr/>
              <p:nvPr/>
            </p:nvSpPr>
            <p:spPr>
              <a:xfrm flipH="1">
                <a:off x="8345121" y="2780224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1" name="Freihandform: Form 1360">
                <a:extLst>
                  <a:ext uri="{FF2B5EF4-FFF2-40B4-BE49-F238E27FC236}">
                    <a16:creationId xmlns:a16="http://schemas.microsoft.com/office/drawing/2014/main" id="{5EA04C48-1A58-C5A7-AF33-0D26293A804D}"/>
                  </a:ext>
                </a:extLst>
              </p:cNvPr>
              <p:cNvSpPr/>
              <p:nvPr/>
            </p:nvSpPr>
            <p:spPr>
              <a:xfrm flipH="1">
                <a:off x="8345121" y="2876267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2" name="Freihandform: Form 1361">
                <a:extLst>
                  <a:ext uri="{FF2B5EF4-FFF2-40B4-BE49-F238E27FC236}">
                    <a16:creationId xmlns:a16="http://schemas.microsoft.com/office/drawing/2014/main" id="{EE60EF16-125E-20B7-3F01-3804EDAC2DF5}"/>
                  </a:ext>
                </a:extLst>
              </p:cNvPr>
              <p:cNvSpPr/>
              <p:nvPr/>
            </p:nvSpPr>
            <p:spPr>
              <a:xfrm flipH="1">
                <a:off x="8345121" y="2968421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31" name="Freihandform: Form 1230">
              <a:extLst>
                <a:ext uri="{FF2B5EF4-FFF2-40B4-BE49-F238E27FC236}">
                  <a16:creationId xmlns:a16="http://schemas.microsoft.com/office/drawing/2014/main" id="{A9D8BB06-B6AF-61BD-F033-3E928ABC7C9A}"/>
                </a:ext>
              </a:extLst>
            </p:cNvPr>
            <p:cNvSpPr/>
            <p:nvPr/>
          </p:nvSpPr>
          <p:spPr>
            <a:xfrm>
              <a:off x="4769906" y="3972546"/>
              <a:ext cx="584797" cy="336357"/>
            </a:xfrm>
            <a:custGeom>
              <a:avLst/>
              <a:gdLst>
                <a:gd name="connsiteX0" fmla="*/ 189261 w 584797"/>
                <a:gd name="connsiteY0" fmla="*/ 336358 h 336357"/>
                <a:gd name="connsiteX1" fmla="*/ 584798 w 584797"/>
                <a:gd name="connsiteY1" fmla="*/ 107988 h 336357"/>
                <a:gd name="connsiteX2" fmla="*/ 395536 w 584797"/>
                <a:gd name="connsiteY2" fmla="*/ 0 h 336357"/>
                <a:gd name="connsiteX3" fmla="*/ 0 w 584797"/>
                <a:gd name="connsiteY3" fmla="*/ 228369 h 336357"/>
                <a:gd name="connsiteX4" fmla="*/ 189261 w 584797"/>
                <a:gd name="connsiteY4" fmla="*/ 336358 h 336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797" h="336357">
                  <a:moveTo>
                    <a:pt x="189261" y="336358"/>
                  </a:moveTo>
                  <a:lnTo>
                    <a:pt x="584798" y="107988"/>
                  </a:lnTo>
                  <a:lnTo>
                    <a:pt x="395536" y="0"/>
                  </a:lnTo>
                  <a:lnTo>
                    <a:pt x="0" y="228369"/>
                  </a:lnTo>
                  <a:lnTo>
                    <a:pt x="189261" y="336358"/>
                  </a:lnTo>
                  <a:close/>
                </a:path>
              </a:pathLst>
            </a:custGeom>
            <a:solidFill>
              <a:srgbClr val="E5E5E9"/>
            </a:solidFill>
            <a:ln w="22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232" name="Grafik 20">
              <a:extLst>
                <a:ext uri="{FF2B5EF4-FFF2-40B4-BE49-F238E27FC236}">
                  <a16:creationId xmlns:a16="http://schemas.microsoft.com/office/drawing/2014/main" id="{BE2AA5C2-B305-6C1A-D22B-F90AE8202FA0}"/>
                </a:ext>
              </a:extLst>
            </p:cNvPr>
            <p:cNvGrpSpPr/>
            <p:nvPr/>
          </p:nvGrpSpPr>
          <p:grpSpPr>
            <a:xfrm>
              <a:off x="4964619" y="3968700"/>
              <a:ext cx="91646" cy="155495"/>
              <a:chOff x="8759755" y="3525360"/>
              <a:chExt cx="91646" cy="155495"/>
            </a:xfrm>
          </p:grpSpPr>
          <p:grpSp>
            <p:nvGrpSpPr>
              <p:cNvPr id="1351" name="Grafik 20">
                <a:extLst>
                  <a:ext uri="{FF2B5EF4-FFF2-40B4-BE49-F238E27FC236}">
                    <a16:creationId xmlns:a16="http://schemas.microsoft.com/office/drawing/2014/main" id="{BA472E5F-60F3-24E5-82F5-0839E3BE09A2}"/>
                  </a:ext>
                </a:extLst>
              </p:cNvPr>
              <p:cNvGrpSpPr/>
              <p:nvPr/>
            </p:nvGrpSpPr>
            <p:grpSpPr>
              <a:xfrm>
                <a:off x="8799258" y="3611712"/>
                <a:ext cx="12818" cy="69143"/>
                <a:chOff x="8799258" y="3611712"/>
                <a:chExt cx="12818" cy="69143"/>
              </a:xfrm>
              <a:solidFill>
                <a:srgbClr val="AAAA96"/>
              </a:solidFill>
            </p:grpSpPr>
            <p:sp>
              <p:nvSpPr>
                <p:cNvPr id="1353" name="Freihandform: Form 1352">
                  <a:extLst>
                    <a:ext uri="{FF2B5EF4-FFF2-40B4-BE49-F238E27FC236}">
                      <a16:creationId xmlns:a16="http://schemas.microsoft.com/office/drawing/2014/main" id="{9DF2CE1D-ADBB-B414-8D7A-C97BA4B44CA3}"/>
                    </a:ext>
                  </a:extLst>
                </p:cNvPr>
                <p:cNvSpPr/>
                <p:nvPr/>
              </p:nvSpPr>
              <p:spPr>
                <a:xfrm>
                  <a:off x="8799258" y="3615355"/>
                  <a:ext cx="12817" cy="65500"/>
                </a:xfrm>
                <a:custGeom>
                  <a:avLst/>
                  <a:gdLst>
                    <a:gd name="connsiteX0" fmla="*/ 13400 w 12817"/>
                    <a:gd name="connsiteY0" fmla="*/ 395 h 65500"/>
                    <a:gd name="connsiteX1" fmla="*/ 13226 w 12817"/>
                    <a:gd name="connsiteY1" fmla="*/ 62216 h 65500"/>
                    <a:gd name="connsiteX2" fmla="*/ 11386 w 12817"/>
                    <a:gd name="connsiteY2" fmla="*/ 64786 h 65500"/>
                    <a:gd name="connsiteX3" fmla="*/ 2449 w 12817"/>
                    <a:gd name="connsiteY3" fmla="*/ 64786 h 65500"/>
                    <a:gd name="connsiteX4" fmla="*/ 582 w 12817"/>
                    <a:gd name="connsiteY4" fmla="*/ 62179 h 65500"/>
                    <a:gd name="connsiteX5" fmla="*/ 757 w 12817"/>
                    <a:gd name="connsiteY5" fmla="*/ 358 h 65500"/>
                    <a:gd name="connsiteX6" fmla="*/ 2623 w 12817"/>
                    <a:gd name="connsiteY6" fmla="*/ 2965 h 65500"/>
                    <a:gd name="connsiteX7" fmla="*/ 11560 w 12817"/>
                    <a:gd name="connsiteY7" fmla="*/ 2965 h 65500"/>
                    <a:gd name="connsiteX8" fmla="*/ 13400 w 12817"/>
                    <a:gd name="connsiteY8" fmla="*/ 395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00" y="395"/>
                      </a:moveTo>
                      <a:lnTo>
                        <a:pt x="13226" y="62216"/>
                      </a:lnTo>
                      <a:cubicBezTo>
                        <a:pt x="13226" y="63147"/>
                        <a:pt x="12612" y="64078"/>
                        <a:pt x="11386" y="64786"/>
                      </a:cubicBezTo>
                      <a:cubicBezTo>
                        <a:pt x="8927" y="66214"/>
                        <a:pt x="4924" y="66219"/>
                        <a:pt x="2449" y="64786"/>
                      </a:cubicBezTo>
                      <a:cubicBezTo>
                        <a:pt x="1206" y="64067"/>
                        <a:pt x="582" y="63121"/>
                        <a:pt x="582" y="62179"/>
                      </a:cubicBezTo>
                      <a:lnTo>
                        <a:pt x="757" y="358"/>
                      </a:lnTo>
                      <a:cubicBezTo>
                        <a:pt x="757" y="1300"/>
                        <a:pt x="1376" y="2246"/>
                        <a:pt x="2623" y="2965"/>
                      </a:cubicBezTo>
                      <a:cubicBezTo>
                        <a:pt x="5104" y="4398"/>
                        <a:pt x="9101" y="4393"/>
                        <a:pt x="11560" y="2965"/>
                      </a:cubicBezTo>
                      <a:cubicBezTo>
                        <a:pt x="12782" y="2257"/>
                        <a:pt x="13395" y="1326"/>
                        <a:pt x="13400" y="395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54" name="Freihandform: Form 1353">
                  <a:extLst>
                    <a:ext uri="{FF2B5EF4-FFF2-40B4-BE49-F238E27FC236}">
                      <a16:creationId xmlns:a16="http://schemas.microsoft.com/office/drawing/2014/main" id="{A33CD33A-F40F-D760-0CA7-4D86D50BA4EA}"/>
                    </a:ext>
                  </a:extLst>
                </p:cNvPr>
                <p:cNvSpPr/>
                <p:nvPr/>
              </p:nvSpPr>
              <p:spPr>
                <a:xfrm>
                  <a:off x="8799440" y="3611712"/>
                  <a:ext cx="12636" cy="7322"/>
                </a:xfrm>
                <a:custGeom>
                  <a:avLst/>
                  <a:gdLst>
                    <a:gd name="connsiteX0" fmla="*/ 11351 w 12636"/>
                    <a:gd name="connsiteY0" fmla="*/ 1479 h 7322"/>
                    <a:gd name="connsiteX1" fmla="*/ 11383 w 12636"/>
                    <a:gd name="connsiteY1" fmla="*/ 6656 h 7322"/>
                    <a:gd name="connsiteX2" fmla="*/ 2446 w 12636"/>
                    <a:gd name="connsiteY2" fmla="*/ 6656 h 7322"/>
                    <a:gd name="connsiteX3" fmla="*/ 2415 w 12636"/>
                    <a:gd name="connsiteY3" fmla="*/ 1479 h 7322"/>
                    <a:gd name="connsiteX4" fmla="*/ 11351 w 12636"/>
                    <a:gd name="connsiteY4" fmla="*/ 1479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351" y="1479"/>
                      </a:moveTo>
                      <a:cubicBezTo>
                        <a:pt x="13831" y="2912"/>
                        <a:pt x="13842" y="5223"/>
                        <a:pt x="11383" y="6656"/>
                      </a:cubicBezTo>
                      <a:cubicBezTo>
                        <a:pt x="8924" y="8083"/>
                        <a:pt x="4921" y="8089"/>
                        <a:pt x="2446" y="6656"/>
                      </a:cubicBezTo>
                      <a:cubicBezTo>
                        <a:pt x="-29" y="5228"/>
                        <a:pt x="-39" y="2907"/>
                        <a:pt x="2415" y="1479"/>
                      </a:cubicBezTo>
                      <a:cubicBezTo>
                        <a:pt x="4879" y="46"/>
                        <a:pt x="8876" y="51"/>
                        <a:pt x="11351" y="147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52" name="Freihandform: Form 1351">
                <a:extLst>
                  <a:ext uri="{FF2B5EF4-FFF2-40B4-BE49-F238E27FC236}">
                    <a16:creationId xmlns:a16="http://schemas.microsoft.com/office/drawing/2014/main" id="{0398FDD0-5340-97E6-8515-334BBCA43922}"/>
                  </a:ext>
                </a:extLst>
              </p:cNvPr>
              <p:cNvSpPr/>
              <p:nvPr/>
            </p:nvSpPr>
            <p:spPr>
              <a:xfrm>
                <a:off x="8759755" y="3525360"/>
                <a:ext cx="91646" cy="111740"/>
              </a:xfrm>
              <a:custGeom>
                <a:avLst/>
                <a:gdLst>
                  <a:gd name="connsiteX0" fmla="*/ 92023 w 91646"/>
                  <a:gd name="connsiteY0" fmla="*/ 53065 h 111740"/>
                  <a:gd name="connsiteX1" fmla="*/ 48044 w 91646"/>
                  <a:gd name="connsiteY1" fmla="*/ 482 h 111740"/>
                  <a:gd name="connsiteX2" fmla="*/ 11879 w 91646"/>
                  <a:gd name="connsiteY2" fmla="*/ 20602 h 111740"/>
                  <a:gd name="connsiteX3" fmla="*/ 9553 w 91646"/>
                  <a:gd name="connsiteY3" fmla="*/ 90625 h 111740"/>
                  <a:gd name="connsiteX4" fmla="*/ 52914 w 91646"/>
                  <a:gd name="connsiteY4" fmla="*/ 111607 h 111740"/>
                  <a:gd name="connsiteX5" fmla="*/ 92028 w 91646"/>
                  <a:gd name="connsiteY5" fmla="*/ 53186 h 111740"/>
                  <a:gd name="connsiteX6" fmla="*/ 92028 w 91646"/>
                  <a:gd name="connsiteY6" fmla="*/ 53065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023" y="53065"/>
                    </a:moveTo>
                    <a:cubicBezTo>
                      <a:pt x="90638" y="28196"/>
                      <a:pt x="74314" y="1286"/>
                      <a:pt x="48044" y="482"/>
                    </a:cubicBezTo>
                    <a:cubicBezTo>
                      <a:pt x="33444" y="-84"/>
                      <a:pt x="19827" y="8620"/>
                      <a:pt x="11879" y="20602"/>
                    </a:cubicBezTo>
                    <a:cubicBezTo>
                      <a:pt x="-1726" y="40432"/>
                      <a:pt x="-3693" y="69843"/>
                      <a:pt x="9553" y="90625"/>
                    </a:cubicBezTo>
                    <a:cubicBezTo>
                      <a:pt x="18553" y="105198"/>
                      <a:pt x="35850" y="114717"/>
                      <a:pt x="52914" y="111607"/>
                    </a:cubicBezTo>
                    <a:cubicBezTo>
                      <a:pt x="78978" y="107255"/>
                      <a:pt x="94175" y="78806"/>
                      <a:pt x="92028" y="53186"/>
                    </a:cubicBezTo>
                    <a:lnTo>
                      <a:pt x="92028" y="53065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33" name="Grafik 20">
              <a:extLst>
                <a:ext uri="{FF2B5EF4-FFF2-40B4-BE49-F238E27FC236}">
                  <a16:creationId xmlns:a16="http://schemas.microsoft.com/office/drawing/2014/main" id="{7440D870-1745-EE69-67FF-CE53CB86611D}"/>
                </a:ext>
              </a:extLst>
            </p:cNvPr>
            <p:cNvGrpSpPr/>
            <p:nvPr/>
          </p:nvGrpSpPr>
          <p:grpSpPr>
            <a:xfrm>
              <a:off x="5095921" y="4022338"/>
              <a:ext cx="91646" cy="155494"/>
              <a:chOff x="8891057" y="3578998"/>
              <a:chExt cx="91646" cy="155494"/>
            </a:xfrm>
          </p:grpSpPr>
          <p:grpSp>
            <p:nvGrpSpPr>
              <p:cNvPr id="1347" name="Grafik 20">
                <a:extLst>
                  <a:ext uri="{FF2B5EF4-FFF2-40B4-BE49-F238E27FC236}">
                    <a16:creationId xmlns:a16="http://schemas.microsoft.com/office/drawing/2014/main" id="{3F273421-E1E9-D433-069A-9559802D46E6}"/>
                  </a:ext>
                </a:extLst>
              </p:cNvPr>
              <p:cNvGrpSpPr/>
              <p:nvPr/>
            </p:nvGrpSpPr>
            <p:grpSpPr>
              <a:xfrm>
                <a:off x="8930559" y="3665350"/>
                <a:ext cx="12819" cy="69142"/>
                <a:chOff x="8930559" y="3665350"/>
                <a:chExt cx="12819" cy="69142"/>
              </a:xfrm>
              <a:solidFill>
                <a:srgbClr val="AAAA96"/>
              </a:solidFill>
            </p:grpSpPr>
            <p:sp>
              <p:nvSpPr>
                <p:cNvPr id="1349" name="Freihandform: Form 1348">
                  <a:extLst>
                    <a:ext uri="{FF2B5EF4-FFF2-40B4-BE49-F238E27FC236}">
                      <a16:creationId xmlns:a16="http://schemas.microsoft.com/office/drawing/2014/main" id="{0E6984CC-D7BE-2A66-A7D1-FC5B4D11531D}"/>
                    </a:ext>
                  </a:extLst>
                </p:cNvPr>
                <p:cNvSpPr/>
                <p:nvPr/>
              </p:nvSpPr>
              <p:spPr>
                <a:xfrm>
                  <a:off x="8930559" y="3668992"/>
                  <a:ext cx="12817" cy="65500"/>
                </a:xfrm>
                <a:custGeom>
                  <a:avLst/>
                  <a:gdLst>
                    <a:gd name="connsiteX0" fmla="*/ 13457 w 12817"/>
                    <a:gd name="connsiteY0" fmla="*/ 419 h 65500"/>
                    <a:gd name="connsiteX1" fmla="*/ 13283 w 12817"/>
                    <a:gd name="connsiteY1" fmla="*/ 62240 h 65500"/>
                    <a:gd name="connsiteX2" fmla="*/ 11443 w 12817"/>
                    <a:gd name="connsiteY2" fmla="*/ 64810 h 65500"/>
                    <a:gd name="connsiteX3" fmla="*/ 2506 w 12817"/>
                    <a:gd name="connsiteY3" fmla="*/ 64810 h 65500"/>
                    <a:gd name="connsiteX4" fmla="*/ 639 w 12817"/>
                    <a:gd name="connsiteY4" fmla="*/ 62203 h 65500"/>
                    <a:gd name="connsiteX5" fmla="*/ 814 w 12817"/>
                    <a:gd name="connsiteY5" fmla="*/ 382 h 65500"/>
                    <a:gd name="connsiteX6" fmla="*/ 2681 w 12817"/>
                    <a:gd name="connsiteY6" fmla="*/ 2989 h 65500"/>
                    <a:gd name="connsiteX7" fmla="*/ 11617 w 12817"/>
                    <a:gd name="connsiteY7" fmla="*/ 2989 h 65500"/>
                    <a:gd name="connsiteX8" fmla="*/ 13457 w 12817"/>
                    <a:gd name="connsiteY8" fmla="*/ 419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57" y="419"/>
                      </a:moveTo>
                      <a:lnTo>
                        <a:pt x="13283" y="62240"/>
                      </a:lnTo>
                      <a:cubicBezTo>
                        <a:pt x="13283" y="63170"/>
                        <a:pt x="12669" y="64101"/>
                        <a:pt x="11443" y="64810"/>
                      </a:cubicBezTo>
                      <a:cubicBezTo>
                        <a:pt x="8984" y="66237"/>
                        <a:pt x="4981" y="66243"/>
                        <a:pt x="2506" y="64810"/>
                      </a:cubicBezTo>
                      <a:cubicBezTo>
                        <a:pt x="1263" y="64090"/>
                        <a:pt x="639" y="63144"/>
                        <a:pt x="639" y="62203"/>
                      </a:cubicBezTo>
                      <a:lnTo>
                        <a:pt x="814" y="382"/>
                      </a:lnTo>
                      <a:cubicBezTo>
                        <a:pt x="814" y="1323"/>
                        <a:pt x="1433" y="2269"/>
                        <a:pt x="2681" y="2989"/>
                      </a:cubicBezTo>
                      <a:cubicBezTo>
                        <a:pt x="5161" y="4422"/>
                        <a:pt x="9158" y="4416"/>
                        <a:pt x="11617" y="2989"/>
                      </a:cubicBezTo>
                      <a:cubicBezTo>
                        <a:pt x="12839" y="2280"/>
                        <a:pt x="13452" y="1349"/>
                        <a:pt x="13457" y="41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50" name="Freihandform: Form 1349">
                  <a:extLst>
                    <a:ext uri="{FF2B5EF4-FFF2-40B4-BE49-F238E27FC236}">
                      <a16:creationId xmlns:a16="http://schemas.microsoft.com/office/drawing/2014/main" id="{A3D2820D-A0EA-78E2-5586-DA548A649C92}"/>
                    </a:ext>
                  </a:extLst>
                </p:cNvPr>
                <p:cNvSpPr/>
                <p:nvPr/>
              </p:nvSpPr>
              <p:spPr>
                <a:xfrm>
                  <a:off x="8930742" y="3665350"/>
                  <a:ext cx="12636" cy="7322"/>
                </a:xfrm>
                <a:custGeom>
                  <a:avLst/>
                  <a:gdLst>
                    <a:gd name="connsiteX0" fmla="*/ 11408 w 12636"/>
                    <a:gd name="connsiteY0" fmla="*/ 1502 h 7322"/>
                    <a:gd name="connsiteX1" fmla="*/ 11440 w 12636"/>
                    <a:gd name="connsiteY1" fmla="*/ 6679 h 7322"/>
                    <a:gd name="connsiteX2" fmla="*/ 2503 w 12636"/>
                    <a:gd name="connsiteY2" fmla="*/ 6679 h 7322"/>
                    <a:gd name="connsiteX3" fmla="*/ 2472 w 12636"/>
                    <a:gd name="connsiteY3" fmla="*/ 1502 h 7322"/>
                    <a:gd name="connsiteX4" fmla="*/ 11408 w 12636"/>
                    <a:gd name="connsiteY4" fmla="*/ 1502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408" y="1502"/>
                      </a:moveTo>
                      <a:cubicBezTo>
                        <a:pt x="13888" y="2935"/>
                        <a:pt x="13899" y="5246"/>
                        <a:pt x="11440" y="6679"/>
                      </a:cubicBezTo>
                      <a:cubicBezTo>
                        <a:pt x="8981" y="8107"/>
                        <a:pt x="4978" y="8112"/>
                        <a:pt x="2503" y="6679"/>
                      </a:cubicBezTo>
                      <a:cubicBezTo>
                        <a:pt x="29" y="5251"/>
                        <a:pt x="18" y="2930"/>
                        <a:pt x="2472" y="1502"/>
                      </a:cubicBezTo>
                      <a:cubicBezTo>
                        <a:pt x="4936" y="69"/>
                        <a:pt x="8933" y="74"/>
                        <a:pt x="11408" y="1502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48" name="Freihandform: Form 1347">
                <a:extLst>
                  <a:ext uri="{FF2B5EF4-FFF2-40B4-BE49-F238E27FC236}">
                    <a16:creationId xmlns:a16="http://schemas.microsoft.com/office/drawing/2014/main" id="{37AFD864-4A7F-FC80-DF6B-4F64A781FAF6}"/>
                  </a:ext>
                </a:extLst>
              </p:cNvPr>
              <p:cNvSpPr/>
              <p:nvPr/>
            </p:nvSpPr>
            <p:spPr>
              <a:xfrm>
                <a:off x="8891057" y="3578998"/>
                <a:ext cx="91646" cy="111740"/>
              </a:xfrm>
              <a:custGeom>
                <a:avLst/>
                <a:gdLst>
                  <a:gd name="connsiteX0" fmla="*/ 92080 w 91646"/>
                  <a:gd name="connsiteY0" fmla="*/ 53088 h 111740"/>
                  <a:gd name="connsiteX1" fmla="*/ 48101 w 91646"/>
                  <a:gd name="connsiteY1" fmla="*/ 505 h 111740"/>
                  <a:gd name="connsiteX2" fmla="*/ 11937 w 91646"/>
                  <a:gd name="connsiteY2" fmla="*/ 20626 h 111740"/>
                  <a:gd name="connsiteX3" fmla="*/ 9610 w 91646"/>
                  <a:gd name="connsiteY3" fmla="*/ 90648 h 111740"/>
                  <a:gd name="connsiteX4" fmla="*/ 52971 w 91646"/>
                  <a:gd name="connsiteY4" fmla="*/ 111631 h 111740"/>
                  <a:gd name="connsiteX5" fmla="*/ 92086 w 91646"/>
                  <a:gd name="connsiteY5" fmla="*/ 53210 h 111740"/>
                  <a:gd name="connsiteX6" fmla="*/ 92086 w 91646"/>
                  <a:gd name="connsiteY6" fmla="*/ 53088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080" y="53088"/>
                    </a:moveTo>
                    <a:cubicBezTo>
                      <a:pt x="90695" y="28219"/>
                      <a:pt x="74371" y="1309"/>
                      <a:pt x="48101" y="505"/>
                    </a:cubicBezTo>
                    <a:cubicBezTo>
                      <a:pt x="33501" y="-61"/>
                      <a:pt x="19884" y="8643"/>
                      <a:pt x="11937" y="20626"/>
                    </a:cubicBezTo>
                    <a:cubicBezTo>
                      <a:pt x="-1669" y="40455"/>
                      <a:pt x="-3636" y="69867"/>
                      <a:pt x="9610" y="90648"/>
                    </a:cubicBezTo>
                    <a:cubicBezTo>
                      <a:pt x="18610" y="105222"/>
                      <a:pt x="35907" y="114740"/>
                      <a:pt x="52971" y="111631"/>
                    </a:cubicBezTo>
                    <a:cubicBezTo>
                      <a:pt x="79035" y="107279"/>
                      <a:pt x="94232" y="78830"/>
                      <a:pt x="92086" y="53210"/>
                    </a:cubicBezTo>
                    <a:lnTo>
                      <a:pt x="92086" y="53088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34" name="Grafik 20">
              <a:extLst>
                <a:ext uri="{FF2B5EF4-FFF2-40B4-BE49-F238E27FC236}">
                  <a16:creationId xmlns:a16="http://schemas.microsoft.com/office/drawing/2014/main" id="{18AEC310-76A8-16F7-8A7C-8A96A92AB1B3}"/>
                </a:ext>
              </a:extLst>
            </p:cNvPr>
            <p:cNvGrpSpPr/>
            <p:nvPr/>
          </p:nvGrpSpPr>
          <p:grpSpPr>
            <a:xfrm>
              <a:off x="4889922" y="4071331"/>
              <a:ext cx="91646" cy="155495"/>
              <a:chOff x="8685058" y="3627991"/>
              <a:chExt cx="91646" cy="155495"/>
            </a:xfrm>
          </p:grpSpPr>
          <p:grpSp>
            <p:nvGrpSpPr>
              <p:cNvPr id="1343" name="Grafik 20">
                <a:extLst>
                  <a:ext uri="{FF2B5EF4-FFF2-40B4-BE49-F238E27FC236}">
                    <a16:creationId xmlns:a16="http://schemas.microsoft.com/office/drawing/2014/main" id="{FBB6F111-BAA2-52B7-ADE8-10FD349B45B6}"/>
                  </a:ext>
                </a:extLst>
              </p:cNvPr>
              <p:cNvGrpSpPr/>
              <p:nvPr/>
            </p:nvGrpSpPr>
            <p:grpSpPr>
              <a:xfrm>
                <a:off x="8724560" y="3714343"/>
                <a:ext cx="12819" cy="69143"/>
                <a:chOff x="8724560" y="3714343"/>
                <a:chExt cx="12819" cy="69143"/>
              </a:xfrm>
              <a:solidFill>
                <a:srgbClr val="AAAA96"/>
              </a:solidFill>
            </p:grpSpPr>
            <p:sp>
              <p:nvSpPr>
                <p:cNvPr id="1345" name="Freihandform: Form 1344">
                  <a:extLst>
                    <a:ext uri="{FF2B5EF4-FFF2-40B4-BE49-F238E27FC236}">
                      <a16:creationId xmlns:a16="http://schemas.microsoft.com/office/drawing/2014/main" id="{F3FF83DD-2C82-BF74-BC63-434674B11271}"/>
                    </a:ext>
                  </a:extLst>
                </p:cNvPr>
                <p:cNvSpPr/>
                <p:nvPr/>
              </p:nvSpPr>
              <p:spPr>
                <a:xfrm>
                  <a:off x="8724560" y="3717986"/>
                  <a:ext cx="12817" cy="65500"/>
                </a:xfrm>
                <a:custGeom>
                  <a:avLst/>
                  <a:gdLst>
                    <a:gd name="connsiteX0" fmla="*/ 13368 w 12817"/>
                    <a:gd name="connsiteY0" fmla="*/ 440 h 65500"/>
                    <a:gd name="connsiteX1" fmla="*/ 13193 w 12817"/>
                    <a:gd name="connsiteY1" fmla="*/ 62261 h 65500"/>
                    <a:gd name="connsiteX2" fmla="*/ 11353 w 12817"/>
                    <a:gd name="connsiteY2" fmla="*/ 64831 h 65500"/>
                    <a:gd name="connsiteX3" fmla="*/ 2416 w 12817"/>
                    <a:gd name="connsiteY3" fmla="*/ 64831 h 65500"/>
                    <a:gd name="connsiteX4" fmla="*/ 550 w 12817"/>
                    <a:gd name="connsiteY4" fmla="*/ 62224 h 65500"/>
                    <a:gd name="connsiteX5" fmla="*/ 724 w 12817"/>
                    <a:gd name="connsiteY5" fmla="*/ 403 h 65500"/>
                    <a:gd name="connsiteX6" fmla="*/ 2591 w 12817"/>
                    <a:gd name="connsiteY6" fmla="*/ 3010 h 65500"/>
                    <a:gd name="connsiteX7" fmla="*/ 11528 w 12817"/>
                    <a:gd name="connsiteY7" fmla="*/ 3010 h 65500"/>
                    <a:gd name="connsiteX8" fmla="*/ 13368 w 12817"/>
                    <a:gd name="connsiteY8" fmla="*/ 440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368" y="440"/>
                      </a:moveTo>
                      <a:lnTo>
                        <a:pt x="13193" y="62261"/>
                      </a:lnTo>
                      <a:cubicBezTo>
                        <a:pt x="13193" y="63192"/>
                        <a:pt x="12580" y="64122"/>
                        <a:pt x="11353" y="64831"/>
                      </a:cubicBezTo>
                      <a:cubicBezTo>
                        <a:pt x="8894" y="66259"/>
                        <a:pt x="4891" y="66264"/>
                        <a:pt x="2416" y="64831"/>
                      </a:cubicBezTo>
                      <a:cubicBezTo>
                        <a:pt x="1174" y="64112"/>
                        <a:pt x="550" y="63165"/>
                        <a:pt x="550" y="62224"/>
                      </a:cubicBezTo>
                      <a:lnTo>
                        <a:pt x="724" y="403"/>
                      </a:lnTo>
                      <a:cubicBezTo>
                        <a:pt x="724" y="1344"/>
                        <a:pt x="1343" y="2291"/>
                        <a:pt x="2591" y="3010"/>
                      </a:cubicBezTo>
                      <a:cubicBezTo>
                        <a:pt x="5071" y="4443"/>
                        <a:pt x="9069" y="4438"/>
                        <a:pt x="11528" y="3010"/>
                      </a:cubicBezTo>
                      <a:cubicBezTo>
                        <a:pt x="12749" y="2301"/>
                        <a:pt x="13362" y="1371"/>
                        <a:pt x="13368" y="440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46" name="Freihandform: Form 1345">
                  <a:extLst>
                    <a:ext uri="{FF2B5EF4-FFF2-40B4-BE49-F238E27FC236}">
                      <a16:creationId xmlns:a16="http://schemas.microsoft.com/office/drawing/2014/main" id="{87893EB2-0DF2-5B4A-E367-DE445B9E33B4}"/>
                    </a:ext>
                  </a:extLst>
                </p:cNvPr>
                <p:cNvSpPr/>
                <p:nvPr/>
              </p:nvSpPr>
              <p:spPr>
                <a:xfrm>
                  <a:off x="8724743" y="3714343"/>
                  <a:ext cx="12636" cy="7322"/>
                </a:xfrm>
                <a:custGeom>
                  <a:avLst/>
                  <a:gdLst>
                    <a:gd name="connsiteX0" fmla="*/ 11319 w 12636"/>
                    <a:gd name="connsiteY0" fmla="*/ 1523 h 7322"/>
                    <a:gd name="connsiteX1" fmla="*/ 11350 w 12636"/>
                    <a:gd name="connsiteY1" fmla="*/ 6700 h 7322"/>
                    <a:gd name="connsiteX2" fmla="*/ 2414 w 12636"/>
                    <a:gd name="connsiteY2" fmla="*/ 6700 h 7322"/>
                    <a:gd name="connsiteX3" fmla="*/ 2382 w 12636"/>
                    <a:gd name="connsiteY3" fmla="*/ 1523 h 7322"/>
                    <a:gd name="connsiteX4" fmla="*/ 11319 w 12636"/>
                    <a:gd name="connsiteY4" fmla="*/ 1523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319" y="1523"/>
                      </a:moveTo>
                      <a:cubicBezTo>
                        <a:pt x="13799" y="2956"/>
                        <a:pt x="13809" y="5267"/>
                        <a:pt x="11350" y="6700"/>
                      </a:cubicBezTo>
                      <a:cubicBezTo>
                        <a:pt x="8891" y="8128"/>
                        <a:pt x="4888" y="8133"/>
                        <a:pt x="2414" y="6700"/>
                      </a:cubicBezTo>
                      <a:cubicBezTo>
                        <a:pt x="-61" y="5273"/>
                        <a:pt x="-72" y="2951"/>
                        <a:pt x="2382" y="1523"/>
                      </a:cubicBezTo>
                      <a:cubicBezTo>
                        <a:pt x="4846" y="90"/>
                        <a:pt x="8844" y="96"/>
                        <a:pt x="11319" y="1523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44" name="Freihandform: Form 1343">
                <a:extLst>
                  <a:ext uri="{FF2B5EF4-FFF2-40B4-BE49-F238E27FC236}">
                    <a16:creationId xmlns:a16="http://schemas.microsoft.com/office/drawing/2014/main" id="{3D439ECC-5D22-224B-D66E-BDE0A4111F96}"/>
                  </a:ext>
                </a:extLst>
              </p:cNvPr>
              <p:cNvSpPr/>
              <p:nvPr/>
            </p:nvSpPr>
            <p:spPr>
              <a:xfrm>
                <a:off x="8685058" y="3627991"/>
                <a:ext cx="91646" cy="111740"/>
              </a:xfrm>
              <a:custGeom>
                <a:avLst/>
                <a:gdLst>
                  <a:gd name="connsiteX0" fmla="*/ 91991 w 91646"/>
                  <a:gd name="connsiteY0" fmla="*/ 53109 h 111740"/>
                  <a:gd name="connsiteX1" fmla="*/ 48011 w 91646"/>
                  <a:gd name="connsiteY1" fmla="*/ 526 h 111740"/>
                  <a:gd name="connsiteX2" fmla="*/ 11847 w 91646"/>
                  <a:gd name="connsiteY2" fmla="*/ 20647 h 111740"/>
                  <a:gd name="connsiteX3" fmla="*/ 9520 w 91646"/>
                  <a:gd name="connsiteY3" fmla="*/ 90670 h 111740"/>
                  <a:gd name="connsiteX4" fmla="*/ 52881 w 91646"/>
                  <a:gd name="connsiteY4" fmla="*/ 111652 h 111740"/>
                  <a:gd name="connsiteX5" fmla="*/ 91996 w 91646"/>
                  <a:gd name="connsiteY5" fmla="*/ 53231 h 111740"/>
                  <a:gd name="connsiteX6" fmla="*/ 91996 w 91646"/>
                  <a:gd name="connsiteY6" fmla="*/ 53109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1991" y="53109"/>
                    </a:moveTo>
                    <a:cubicBezTo>
                      <a:pt x="90605" y="28240"/>
                      <a:pt x="74281" y="1330"/>
                      <a:pt x="48011" y="526"/>
                    </a:cubicBezTo>
                    <a:cubicBezTo>
                      <a:pt x="33411" y="-39"/>
                      <a:pt x="19795" y="8665"/>
                      <a:pt x="11847" y="20647"/>
                    </a:cubicBezTo>
                    <a:cubicBezTo>
                      <a:pt x="-1759" y="40477"/>
                      <a:pt x="-3726" y="69888"/>
                      <a:pt x="9520" y="90670"/>
                    </a:cubicBezTo>
                    <a:cubicBezTo>
                      <a:pt x="18520" y="105243"/>
                      <a:pt x="35817" y="114761"/>
                      <a:pt x="52881" y="111652"/>
                    </a:cubicBezTo>
                    <a:cubicBezTo>
                      <a:pt x="78945" y="107300"/>
                      <a:pt x="94143" y="78851"/>
                      <a:pt x="91996" y="53231"/>
                    </a:cubicBezTo>
                    <a:lnTo>
                      <a:pt x="91996" y="53109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35" name="Grafik 20">
              <a:extLst>
                <a:ext uri="{FF2B5EF4-FFF2-40B4-BE49-F238E27FC236}">
                  <a16:creationId xmlns:a16="http://schemas.microsoft.com/office/drawing/2014/main" id="{CBAE71A4-06D8-A6A2-BDC8-2BBC14AADA68}"/>
                </a:ext>
              </a:extLst>
            </p:cNvPr>
            <p:cNvGrpSpPr/>
            <p:nvPr/>
          </p:nvGrpSpPr>
          <p:grpSpPr>
            <a:xfrm>
              <a:off x="5175607" y="3912027"/>
              <a:ext cx="91646" cy="155495"/>
              <a:chOff x="8970743" y="3468687"/>
              <a:chExt cx="91646" cy="155495"/>
            </a:xfrm>
          </p:grpSpPr>
          <p:grpSp>
            <p:nvGrpSpPr>
              <p:cNvPr id="1339" name="Grafik 20">
                <a:extLst>
                  <a:ext uri="{FF2B5EF4-FFF2-40B4-BE49-F238E27FC236}">
                    <a16:creationId xmlns:a16="http://schemas.microsoft.com/office/drawing/2014/main" id="{3DAFA76C-91F1-99B1-6B3A-B667698179FF}"/>
                  </a:ext>
                </a:extLst>
              </p:cNvPr>
              <p:cNvGrpSpPr/>
              <p:nvPr/>
            </p:nvGrpSpPr>
            <p:grpSpPr>
              <a:xfrm>
                <a:off x="9010246" y="3555039"/>
                <a:ext cx="12818" cy="69143"/>
                <a:chOff x="9010246" y="3555039"/>
                <a:chExt cx="12818" cy="69143"/>
              </a:xfrm>
              <a:solidFill>
                <a:srgbClr val="AAAA96"/>
              </a:solidFill>
            </p:grpSpPr>
            <p:sp>
              <p:nvSpPr>
                <p:cNvPr id="1341" name="Freihandform: Form 1340">
                  <a:extLst>
                    <a:ext uri="{FF2B5EF4-FFF2-40B4-BE49-F238E27FC236}">
                      <a16:creationId xmlns:a16="http://schemas.microsoft.com/office/drawing/2014/main" id="{2D75DD62-B880-DACD-5695-2FA993F5EF7B}"/>
                    </a:ext>
                  </a:extLst>
                </p:cNvPr>
                <p:cNvSpPr/>
                <p:nvPr/>
              </p:nvSpPr>
              <p:spPr>
                <a:xfrm>
                  <a:off x="9010246" y="3558682"/>
                  <a:ext cx="12817" cy="65500"/>
                </a:xfrm>
                <a:custGeom>
                  <a:avLst/>
                  <a:gdLst>
                    <a:gd name="connsiteX0" fmla="*/ 13492 w 12817"/>
                    <a:gd name="connsiteY0" fmla="*/ 371 h 65500"/>
                    <a:gd name="connsiteX1" fmla="*/ 13318 w 12817"/>
                    <a:gd name="connsiteY1" fmla="*/ 62192 h 65500"/>
                    <a:gd name="connsiteX2" fmla="*/ 11477 w 12817"/>
                    <a:gd name="connsiteY2" fmla="*/ 64762 h 65500"/>
                    <a:gd name="connsiteX3" fmla="*/ 2541 w 12817"/>
                    <a:gd name="connsiteY3" fmla="*/ 64762 h 65500"/>
                    <a:gd name="connsiteX4" fmla="*/ 674 w 12817"/>
                    <a:gd name="connsiteY4" fmla="*/ 62155 h 65500"/>
                    <a:gd name="connsiteX5" fmla="*/ 849 w 12817"/>
                    <a:gd name="connsiteY5" fmla="*/ 334 h 65500"/>
                    <a:gd name="connsiteX6" fmla="*/ 2715 w 12817"/>
                    <a:gd name="connsiteY6" fmla="*/ 2941 h 65500"/>
                    <a:gd name="connsiteX7" fmla="*/ 11652 w 12817"/>
                    <a:gd name="connsiteY7" fmla="*/ 2941 h 65500"/>
                    <a:gd name="connsiteX8" fmla="*/ 13492 w 12817"/>
                    <a:gd name="connsiteY8" fmla="*/ 371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92" y="371"/>
                      </a:moveTo>
                      <a:lnTo>
                        <a:pt x="13318" y="62192"/>
                      </a:lnTo>
                      <a:cubicBezTo>
                        <a:pt x="13318" y="63122"/>
                        <a:pt x="12704" y="64053"/>
                        <a:pt x="11477" y="64762"/>
                      </a:cubicBezTo>
                      <a:cubicBezTo>
                        <a:pt x="9018" y="66189"/>
                        <a:pt x="5015" y="66195"/>
                        <a:pt x="2541" y="64762"/>
                      </a:cubicBezTo>
                      <a:cubicBezTo>
                        <a:pt x="1298" y="64043"/>
                        <a:pt x="674" y="63096"/>
                        <a:pt x="674" y="62155"/>
                      </a:cubicBezTo>
                      <a:lnTo>
                        <a:pt x="849" y="334"/>
                      </a:lnTo>
                      <a:cubicBezTo>
                        <a:pt x="849" y="1275"/>
                        <a:pt x="1467" y="2221"/>
                        <a:pt x="2715" y="2941"/>
                      </a:cubicBezTo>
                      <a:cubicBezTo>
                        <a:pt x="5195" y="4374"/>
                        <a:pt x="9193" y="4368"/>
                        <a:pt x="11652" y="2941"/>
                      </a:cubicBezTo>
                      <a:cubicBezTo>
                        <a:pt x="12873" y="2232"/>
                        <a:pt x="13487" y="1301"/>
                        <a:pt x="13492" y="371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42" name="Freihandform: Form 1341">
                  <a:extLst>
                    <a:ext uri="{FF2B5EF4-FFF2-40B4-BE49-F238E27FC236}">
                      <a16:creationId xmlns:a16="http://schemas.microsoft.com/office/drawing/2014/main" id="{ED74F32A-A5DB-3944-63FE-A9833B695A07}"/>
                    </a:ext>
                  </a:extLst>
                </p:cNvPr>
                <p:cNvSpPr/>
                <p:nvPr/>
              </p:nvSpPr>
              <p:spPr>
                <a:xfrm>
                  <a:off x="9010428" y="3555039"/>
                  <a:ext cx="12636" cy="7322"/>
                </a:xfrm>
                <a:custGeom>
                  <a:avLst/>
                  <a:gdLst>
                    <a:gd name="connsiteX0" fmla="*/ 11443 w 12636"/>
                    <a:gd name="connsiteY0" fmla="*/ 1454 h 7322"/>
                    <a:gd name="connsiteX1" fmla="*/ 11475 w 12636"/>
                    <a:gd name="connsiteY1" fmla="*/ 6631 h 7322"/>
                    <a:gd name="connsiteX2" fmla="*/ 2538 w 12636"/>
                    <a:gd name="connsiteY2" fmla="*/ 6631 h 7322"/>
                    <a:gd name="connsiteX3" fmla="*/ 2506 w 12636"/>
                    <a:gd name="connsiteY3" fmla="*/ 1454 h 7322"/>
                    <a:gd name="connsiteX4" fmla="*/ 11443 w 12636"/>
                    <a:gd name="connsiteY4" fmla="*/ 1454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443" y="1454"/>
                      </a:moveTo>
                      <a:cubicBezTo>
                        <a:pt x="13923" y="2887"/>
                        <a:pt x="13933" y="5198"/>
                        <a:pt x="11475" y="6631"/>
                      </a:cubicBezTo>
                      <a:cubicBezTo>
                        <a:pt x="9016" y="8059"/>
                        <a:pt x="5013" y="8064"/>
                        <a:pt x="2538" y="6631"/>
                      </a:cubicBezTo>
                      <a:cubicBezTo>
                        <a:pt x="63" y="5203"/>
                        <a:pt x="53" y="2882"/>
                        <a:pt x="2506" y="1454"/>
                      </a:cubicBezTo>
                      <a:cubicBezTo>
                        <a:pt x="4970" y="21"/>
                        <a:pt x="8968" y="26"/>
                        <a:pt x="11443" y="1454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40" name="Freihandform: Form 1339">
                <a:extLst>
                  <a:ext uri="{FF2B5EF4-FFF2-40B4-BE49-F238E27FC236}">
                    <a16:creationId xmlns:a16="http://schemas.microsoft.com/office/drawing/2014/main" id="{88B02644-9F63-8CC6-8962-333CBAE02FA3}"/>
                  </a:ext>
                </a:extLst>
              </p:cNvPr>
              <p:cNvSpPr/>
              <p:nvPr/>
            </p:nvSpPr>
            <p:spPr>
              <a:xfrm>
                <a:off x="8970743" y="3468687"/>
                <a:ext cx="91646" cy="111740"/>
              </a:xfrm>
              <a:custGeom>
                <a:avLst/>
                <a:gdLst>
                  <a:gd name="connsiteX0" fmla="*/ 92115 w 91646"/>
                  <a:gd name="connsiteY0" fmla="*/ 53040 h 111740"/>
                  <a:gd name="connsiteX1" fmla="*/ 48135 w 91646"/>
                  <a:gd name="connsiteY1" fmla="*/ 457 h 111740"/>
                  <a:gd name="connsiteX2" fmla="*/ 11971 w 91646"/>
                  <a:gd name="connsiteY2" fmla="*/ 20578 h 111740"/>
                  <a:gd name="connsiteX3" fmla="*/ 9645 w 91646"/>
                  <a:gd name="connsiteY3" fmla="*/ 90600 h 111740"/>
                  <a:gd name="connsiteX4" fmla="*/ 53005 w 91646"/>
                  <a:gd name="connsiteY4" fmla="*/ 111583 h 111740"/>
                  <a:gd name="connsiteX5" fmla="*/ 92120 w 91646"/>
                  <a:gd name="connsiteY5" fmla="*/ 53162 h 111740"/>
                  <a:gd name="connsiteX6" fmla="*/ 92120 w 91646"/>
                  <a:gd name="connsiteY6" fmla="*/ 53040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115" y="53040"/>
                    </a:moveTo>
                    <a:cubicBezTo>
                      <a:pt x="90729" y="28171"/>
                      <a:pt x="74406" y="1261"/>
                      <a:pt x="48135" y="457"/>
                    </a:cubicBezTo>
                    <a:cubicBezTo>
                      <a:pt x="33535" y="-109"/>
                      <a:pt x="19919" y="8595"/>
                      <a:pt x="11971" y="20578"/>
                    </a:cubicBezTo>
                    <a:cubicBezTo>
                      <a:pt x="-1635" y="40407"/>
                      <a:pt x="-3602" y="69819"/>
                      <a:pt x="9645" y="90600"/>
                    </a:cubicBezTo>
                    <a:cubicBezTo>
                      <a:pt x="18645" y="105174"/>
                      <a:pt x="35941" y="114692"/>
                      <a:pt x="53005" y="111583"/>
                    </a:cubicBezTo>
                    <a:cubicBezTo>
                      <a:pt x="79070" y="107231"/>
                      <a:pt x="94267" y="78782"/>
                      <a:pt x="92120" y="53162"/>
                    </a:cubicBezTo>
                    <a:lnTo>
                      <a:pt x="92120" y="53040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36" name="Gruppieren 1235">
              <a:extLst>
                <a:ext uri="{FF2B5EF4-FFF2-40B4-BE49-F238E27FC236}">
                  <a16:creationId xmlns:a16="http://schemas.microsoft.com/office/drawing/2014/main" id="{FCAE5AA3-C9BC-27BA-2CE9-50C2C2DCE0B2}"/>
                </a:ext>
              </a:extLst>
            </p:cNvPr>
            <p:cNvGrpSpPr/>
            <p:nvPr/>
          </p:nvGrpSpPr>
          <p:grpSpPr>
            <a:xfrm>
              <a:off x="3865079" y="3096822"/>
              <a:ext cx="450149" cy="866096"/>
              <a:chOff x="7660215" y="2653482"/>
              <a:chExt cx="450149" cy="866096"/>
            </a:xfrm>
          </p:grpSpPr>
          <p:sp>
            <p:nvSpPr>
              <p:cNvPr id="1320" name="Freihandform: Form 1319">
                <a:extLst>
                  <a:ext uri="{FF2B5EF4-FFF2-40B4-BE49-F238E27FC236}">
                    <a16:creationId xmlns:a16="http://schemas.microsoft.com/office/drawing/2014/main" id="{30803529-0947-FDE0-C905-9681D230464D}"/>
                  </a:ext>
                </a:extLst>
              </p:cNvPr>
              <p:cNvSpPr/>
              <p:nvPr/>
            </p:nvSpPr>
            <p:spPr>
              <a:xfrm>
                <a:off x="7884941" y="2781850"/>
                <a:ext cx="225423" cy="737728"/>
              </a:xfrm>
              <a:custGeom>
                <a:avLst/>
                <a:gdLst>
                  <a:gd name="connsiteX0" fmla="*/ 225567 w 225423"/>
                  <a:gd name="connsiteY0" fmla="*/ 62 h 737728"/>
                  <a:gd name="connsiteX1" fmla="*/ 225567 w 225423"/>
                  <a:gd name="connsiteY1" fmla="*/ 607850 h 737728"/>
                  <a:gd name="connsiteX2" fmla="*/ 143 w 225423"/>
                  <a:gd name="connsiteY2" fmla="*/ 737790 h 737728"/>
                  <a:gd name="connsiteX3" fmla="*/ 143 w 225423"/>
                  <a:gd name="connsiteY3" fmla="*/ 130002 h 737728"/>
                  <a:gd name="connsiteX4" fmla="*/ 225567 w 225423"/>
                  <a:gd name="connsiteY4" fmla="*/ 62 h 73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423" h="737728">
                    <a:moveTo>
                      <a:pt x="225567" y="62"/>
                    </a:moveTo>
                    <a:lnTo>
                      <a:pt x="225567" y="607850"/>
                    </a:lnTo>
                    <a:lnTo>
                      <a:pt x="143" y="737790"/>
                    </a:lnTo>
                    <a:lnTo>
                      <a:pt x="143" y="130002"/>
                    </a:lnTo>
                    <a:lnTo>
                      <a:pt x="225567" y="62"/>
                    </a:lnTo>
                    <a:close/>
                  </a:path>
                </a:pathLst>
              </a:custGeom>
              <a:solidFill>
                <a:srgbClr val="E5E5E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1" name="Freihandform: Form 1320">
                <a:extLst>
                  <a:ext uri="{FF2B5EF4-FFF2-40B4-BE49-F238E27FC236}">
                    <a16:creationId xmlns:a16="http://schemas.microsoft.com/office/drawing/2014/main" id="{1A4B3E88-9C3A-79D3-3152-5CA430C21358}"/>
                  </a:ext>
                </a:extLst>
              </p:cNvPr>
              <p:cNvSpPr/>
              <p:nvPr/>
            </p:nvSpPr>
            <p:spPr>
              <a:xfrm>
                <a:off x="7660215" y="2781834"/>
                <a:ext cx="224725" cy="737743"/>
              </a:xfrm>
              <a:custGeom>
                <a:avLst/>
                <a:gdLst>
                  <a:gd name="connsiteX0" fmla="*/ 224913 w 224725"/>
                  <a:gd name="connsiteY0" fmla="*/ 737806 h 737743"/>
                  <a:gd name="connsiteX1" fmla="*/ 187 w 224725"/>
                  <a:gd name="connsiteY1" fmla="*/ 607866 h 737743"/>
                  <a:gd name="connsiteX2" fmla="*/ 187 w 224725"/>
                  <a:gd name="connsiteY2" fmla="*/ 62 h 737743"/>
                  <a:gd name="connsiteX3" fmla="*/ 224913 w 224725"/>
                  <a:gd name="connsiteY3" fmla="*/ 130018 h 737743"/>
                  <a:gd name="connsiteX4" fmla="*/ 224913 w 224725"/>
                  <a:gd name="connsiteY4" fmla="*/ 737806 h 737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725" h="737743">
                    <a:moveTo>
                      <a:pt x="224913" y="737806"/>
                    </a:moveTo>
                    <a:lnTo>
                      <a:pt x="187" y="607866"/>
                    </a:lnTo>
                    <a:lnTo>
                      <a:pt x="187" y="62"/>
                    </a:lnTo>
                    <a:lnTo>
                      <a:pt x="224913" y="130018"/>
                    </a:lnTo>
                    <a:lnTo>
                      <a:pt x="224913" y="737806"/>
                    </a:lnTo>
                    <a:close/>
                  </a:path>
                </a:pathLst>
              </a:custGeom>
              <a:solidFill>
                <a:srgbClr val="9999A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322" name="Grafik 20">
                <a:extLst>
                  <a:ext uri="{FF2B5EF4-FFF2-40B4-BE49-F238E27FC236}">
                    <a16:creationId xmlns:a16="http://schemas.microsoft.com/office/drawing/2014/main" id="{C43F229D-5F8D-6EB0-60D3-930EF41B14DC}"/>
                  </a:ext>
                </a:extLst>
              </p:cNvPr>
              <p:cNvGrpSpPr/>
              <p:nvPr/>
            </p:nvGrpSpPr>
            <p:grpSpPr>
              <a:xfrm>
                <a:off x="7884941" y="2836834"/>
                <a:ext cx="225423" cy="634312"/>
                <a:chOff x="7884941" y="2836834"/>
                <a:chExt cx="225423" cy="634312"/>
              </a:xfrm>
              <a:solidFill>
                <a:srgbClr val="CCCCD4"/>
              </a:solidFill>
            </p:grpSpPr>
            <p:sp>
              <p:nvSpPr>
                <p:cNvPr id="1332" name="Freihandform: Form 1331">
                  <a:extLst>
                    <a:ext uri="{FF2B5EF4-FFF2-40B4-BE49-F238E27FC236}">
                      <a16:creationId xmlns:a16="http://schemas.microsoft.com/office/drawing/2014/main" id="{EC7BBFA5-C1B5-37CD-6543-59FE52ACE72D}"/>
                    </a:ext>
                  </a:extLst>
                </p:cNvPr>
                <p:cNvSpPr/>
                <p:nvPr/>
              </p:nvSpPr>
              <p:spPr>
                <a:xfrm>
                  <a:off x="7884941" y="3108406"/>
                  <a:ext cx="225423" cy="181671"/>
                </a:xfrm>
                <a:custGeom>
                  <a:avLst/>
                  <a:gdLst>
                    <a:gd name="connsiteX0" fmla="*/ 143 w 225423"/>
                    <a:gd name="connsiteY0" fmla="*/ 181724 h 181671"/>
                    <a:gd name="connsiteX1" fmla="*/ 143 w 225423"/>
                    <a:gd name="connsiteY1" fmla="*/ 130008 h 181671"/>
                    <a:gd name="connsiteX2" fmla="*/ 225567 w 225423"/>
                    <a:gd name="connsiteY2" fmla="*/ 52 h 181671"/>
                    <a:gd name="connsiteX3" fmla="*/ 225567 w 225423"/>
                    <a:gd name="connsiteY3" fmla="*/ 51768 h 181671"/>
                    <a:gd name="connsiteX4" fmla="*/ 143 w 225423"/>
                    <a:gd name="connsiteY4" fmla="*/ 181724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143" y="181724"/>
                      </a:moveTo>
                      <a:lnTo>
                        <a:pt x="143" y="130008"/>
                      </a:lnTo>
                      <a:lnTo>
                        <a:pt x="225567" y="52"/>
                      </a:lnTo>
                      <a:lnTo>
                        <a:pt x="225567" y="51768"/>
                      </a:lnTo>
                      <a:lnTo>
                        <a:pt x="143" y="181724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1333" name="Grafik 20">
                  <a:extLst>
                    <a:ext uri="{FF2B5EF4-FFF2-40B4-BE49-F238E27FC236}">
                      <a16:creationId xmlns:a16="http://schemas.microsoft.com/office/drawing/2014/main" id="{14B81B0A-21D4-F40E-1AEB-77324FF955A7}"/>
                    </a:ext>
                  </a:extLst>
                </p:cNvPr>
                <p:cNvGrpSpPr/>
                <p:nvPr/>
              </p:nvGrpSpPr>
              <p:grpSpPr>
                <a:xfrm>
                  <a:off x="7884941" y="3198956"/>
                  <a:ext cx="225423" cy="272190"/>
                  <a:chOff x="7884941" y="3198956"/>
                  <a:chExt cx="225423" cy="272190"/>
                </a:xfrm>
                <a:solidFill>
                  <a:srgbClr val="CCCCD4"/>
                </a:solidFill>
              </p:grpSpPr>
              <p:sp>
                <p:nvSpPr>
                  <p:cNvPr id="1337" name="Freihandform: Form 1336">
                    <a:extLst>
                      <a:ext uri="{FF2B5EF4-FFF2-40B4-BE49-F238E27FC236}">
                        <a16:creationId xmlns:a16="http://schemas.microsoft.com/office/drawing/2014/main" id="{7E06C72E-C68F-6178-7F0D-3FB8A3A8632F}"/>
                      </a:ext>
                    </a:extLst>
                  </p:cNvPr>
                  <p:cNvSpPr/>
                  <p:nvPr/>
                </p:nvSpPr>
                <p:spPr>
                  <a:xfrm>
                    <a:off x="7884941" y="3289475"/>
                    <a:ext cx="225423" cy="181671"/>
                  </a:xfrm>
                  <a:custGeom>
                    <a:avLst/>
                    <a:gdLst>
                      <a:gd name="connsiteX0" fmla="*/ 143 w 225423"/>
                      <a:gd name="connsiteY0" fmla="*/ 181689 h 181671"/>
                      <a:gd name="connsiteX1" fmla="*/ 143 w 225423"/>
                      <a:gd name="connsiteY1" fmla="*/ 129973 h 181671"/>
                      <a:gd name="connsiteX2" fmla="*/ 225567 w 225423"/>
                      <a:gd name="connsiteY2" fmla="*/ 17 h 181671"/>
                      <a:gd name="connsiteX3" fmla="*/ 225567 w 225423"/>
                      <a:gd name="connsiteY3" fmla="*/ 51749 h 181671"/>
                      <a:gd name="connsiteX4" fmla="*/ 143 w 225423"/>
                      <a:gd name="connsiteY4" fmla="*/ 181689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423" h="181671">
                        <a:moveTo>
                          <a:pt x="143" y="181689"/>
                        </a:moveTo>
                        <a:lnTo>
                          <a:pt x="143" y="129973"/>
                        </a:lnTo>
                        <a:lnTo>
                          <a:pt x="225567" y="17"/>
                        </a:lnTo>
                        <a:lnTo>
                          <a:pt x="225567" y="51749"/>
                        </a:lnTo>
                        <a:lnTo>
                          <a:pt x="143" y="181689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38" name="Freihandform: Form 1337">
                    <a:extLst>
                      <a:ext uri="{FF2B5EF4-FFF2-40B4-BE49-F238E27FC236}">
                        <a16:creationId xmlns:a16="http://schemas.microsoft.com/office/drawing/2014/main" id="{B956E6B9-4651-5DA1-C458-F68B05182296}"/>
                      </a:ext>
                    </a:extLst>
                  </p:cNvPr>
                  <p:cNvSpPr/>
                  <p:nvPr/>
                </p:nvSpPr>
                <p:spPr>
                  <a:xfrm>
                    <a:off x="7884941" y="3198956"/>
                    <a:ext cx="225423" cy="181671"/>
                  </a:xfrm>
                  <a:custGeom>
                    <a:avLst/>
                    <a:gdLst>
                      <a:gd name="connsiteX0" fmla="*/ 143 w 225423"/>
                      <a:gd name="connsiteY0" fmla="*/ 181706 h 181671"/>
                      <a:gd name="connsiteX1" fmla="*/ 143 w 225423"/>
                      <a:gd name="connsiteY1" fmla="*/ 129975 h 181671"/>
                      <a:gd name="connsiteX2" fmla="*/ 225567 w 225423"/>
                      <a:gd name="connsiteY2" fmla="*/ 35 h 181671"/>
                      <a:gd name="connsiteX3" fmla="*/ 225567 w 225423"/>
                      <a:gd name="connsiteY3" fmla="*/ 51750 h 181671"/>
                      <a:gd name="connsiteX4" fmla="*/ 143 w 225423"/>
                      <a:gd name="connsiteY4" fmla="*/ 181706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423" h="181671">
                        <a:moveTo>
                          <a:pt x="143" y="181706"/>
                        </a:moveTo>
                        <a:lnTo>
                          <a:pt x="143" y="129975"/>
                        </a:lnTo>
                        <a:lnTo>
                          <a:pt x="225567" y="35"/>
                        </a:lnTo>
                        <a:lnTo>
                          <a:pt x="225567" y="51750"/>
                        </a:lnTo>
                        <a:lnTo>
                          <a:pt x="143" y="181706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1334" name="Freihandform: Form 1333">
                  <a:extLst>
                    <a:ext uri="{FF2B5EF4-FFF2-40B4-BE49-F238E27FC236}">
                      <a16:creationId xmlns:a16="http://schemas.microsoft.com/office/drawing/2014/main" id="{094B2136-1476-73E3-E86A-449A5FDEA2D8}"/>
                    </a:ext>
                  </a:extLst>
                </p:cNvPr>
                <p:cNvSpPr/>
                <p:nvPr/>
              </p:nvSpPr>
              <p:spPr>
                <a:xfrm>
                  <a:off x="7884941" y="3017887"/>
                  <a:ext cx="225423" cy="181671"/>
                </a:xfrm>
                <a:custGeom>
                  <a:avLst/>
                  <a:gdLst>
                    <a:gd name="connsiteX0" fmla="*/ 143 w 225423"/>
                    <a:gd name="connsiteY0" fmla="*/ 181742 h 181671"/>
                    <a:gd name="connsiteX1" fmla="*/ 143 w 225423"/>
                    <a:gd name="connsiteY1" fmla="*/ 130010 h 181671"/>
                    <a:gd name="connsiteX2" fmla="*/ 225567 w 225423"/>
                    <a:gd name="connsiteY2" fmla="*/ 70 h 181671"/>
                    <a:gd name="connsiteX3" fmla="*/ 225567 w 225423"/>
                    <a:gd name="connsiteY3" fmla="*/ 51786 h 181671"/>
                    <a:gd name="connsiteX4" fmla="*/ 143 w 225423"/>
                    <a:gd name="connsiteY4" fmla="*/ 181742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143" y="181742"/>
                      </a:moveTo>
                      <a:lnTo>
                        <a:pt x="143" y="130010"/>
                      </a:lnTo>
                      <a:lnTo>
                        <a:pt x="225567" y="70"/>
                      </a:lnTo>
                      <a:lnTo>
                        <a:pt x="225567" y="51786"/>
                      </a:lnTo>
                      <a:lnTo>
                        <a:pt x="143" y="181742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5" name="Freihandform: Form 1334">
                  <a:extLst>
                    <a:ext uri="{FF2B5EF4-FFF2-40B4-BE49-F238E27FC236}">
                      <a16:creationId xmlns:a16="http://schemas.microsoft.com/office/drawing/2014/main" id="{A744BD8A-CCE3-5E77-E274-EF9C84C9BE6B}"/>
                    </a:ext>
                  </a:extLst>
                </p:cNvPr>
                <p:cNvSpPr/>
                <p:nvPr/>
              </p:nvSpPr>
              <p:spPr>
                <a:xfrm>
                  <a:off x="7884941" y="2927369"/>
                  <a:ext cx="225423" cy="181671"/>
                </a:xfrm>
                <a:custGeom>
                  <a:avLst/>
                  <a:gdLst>
                    <a:gd name="connsiteX0" fmla="*/ 143 w 225423"/>
                    <a:gd name="connsiteY0" fmla="*/ 181759 h 181671"/>
                    <a:gd name="connsiteX1" fmla="*/ 143 w 225423"/>
                    <a:gd name="connsiteY1" fmla="*/ 130028 h 181671"/>
                    <a:gd name="connsiteX2" fmla="*/ 225567 w 225423"/>
                    <a:gd name="connsiteY2" fmla="*/ 88 h 181671"/>
                    <a:gd name="connsiteX3" fmla="*/ 225567 w 225423"/>
                    <a:gd name="connsiteY3" fmla="*/ 51819 h 181671"/>
                    <a:gd name="connsiteX4" fmla="*/ 143 w 225423"/>
                    <a:gd name="connsiteY4" fmla="*/ 181759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143" y="181759"/>
                      </a:moveTo>
                      <a:lnTo>
                        <a:pt x="143" y="130028"/>
                      </a:lnTo>
                      <a:lnTo>
                        <a:pt x="225567" y="88"/>
                      </a:lnTo>
                      <a:lnTo>
                        <a:pt x="225567" y="51819"/>
                      </a:lnTo>
                      <a:lnTo>
                        <a:pt x="143" y="181759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6" name="Freihandform: Form 1335">
                  <a:extLst>
                    <a:ext uri="{FF2B5EF4-FFF2-40B4-BE49-F238E27FC236}">
                      <a16:creationId xmlns:a16="http://schemas.microsoft.com/office/drawing/2014/main" id="{4FCF6E8D-41D8-4C3B-4083-F7BCB285AB54}"/>
                    </a:ext>
                  </a:extLst>
                </p:cNvPr>
                <p:cNvSpPr/>
                <p:nvPr/>
              </p:nvSpPr>
              <p:spPr>
                <a:xfrm>
                  <a:off x="7884941" y="2836834"/>
                  <a:ext cx="225423" cy="181687"/>
                </a:xfrm>
                <a:custGeom>
                  <a:avLst/>
                  <a:gdLst>
                    <a:gd name="connsiteX0" fmla="*/ 143 w 225423"/>
                    <a:gd name="connsiteY0" fmla="*/ 181793 h 181687"/>
                    <a:gd name="connsiteX1" fmla="*/ 143 w 225423"/>
                    <a:gd name="connsiteY1" fmla="*/ 130061 h 181687"/>
                    <a:gd name="connsiteX2" fmla="*/ 225567 w 225423"/>
                    <a:gd name="connsiteY2" fmla="*/ 105 h 181687"/>
                    <a:gd name="connsiteX3" fmla="*/ 225567 w 225423"/>
                    <a:gd name="connsiteY3" fmla="*/ 51837 h 181687"/>
                    <a:gd name="connsiteX4" fmla="*/ 143 w 225423"/>
                    <a:gd name="connsiteY4" fmla="*/ 181793 h 181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87">
                      <a:moveTo>
                        <a:pt x="143" y="181793"/>
                      </a:moveTo>
                      <a:lnTo>
                        <a:pt x="143" y="130061"/>
                      </a:lnTo>
                      <a:lnTo>
                        <a:pt x="225567" y="105"/>
                      </a:lnTo>
                      <a:lnTo>
                        <a:pt x="225567" y="51837"/>
                      </a:lnTo>
                      <a:lnTo>
                        <a:pt x="143" y="181793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23" name="Freihandform: Form 1322">
                <a:extLst>
                  <a:ext uri="{FF2B5EF4-FFF2-40B4-BE49-F238E27FC236}">
                    <a16:creationId xmlns:a16="http://schemas.microsoft.com/office/drawing/2014/main" id="{159ABA38-8F49-06FA-4DB5-71633163F209}"/>
                  </a:ext>
                </a:extLst>
              </p:cNvPr>
              <p:cNvSpPr/>
              <p:nvPr/>
            </p:nvSpPr>
            <p:spPr>
              <a:xfrm>
                <a:off x="7660215" y="2836834"/>
                <a:ext cx="224725" cy="634312"/>
              </a:xfrm>
              <a:custGeom>
                <a:avLst/>
                <a:gdLst>
                  <a:gd name="connsiteX0" fmla="*/ 224913 w 224725"/>
                  <a:gd name="connsiteY0" fmla="*/ 453304 h 634312"/>
                  <a:gd name="connsiteX1" fmla="*/ 187 w 224725"/>
                  <a:gd name="connsiteY1" fmla="*/ 323349 h 634312"/>
                  <a:gd name="connsiteX2" fmla="*/ 187 w 224725"/>
                  <a:gd name="connsiteY2" fmla="*/ 271633 h 634312"/>
                  <a:gd name="connsiteX3" fmla="*/ 224913 w 224725"/>
                  <a:gd name="connsiteY3" fmla="*/ 401589 h 634312"/>
                  <a:gd name="connsiteX4" fmla="*/ 224913 w 224725"/>
                  <a:gd name="connsiteY4" fmla="*/ 453304 h 634312"/>
                  <a:gd name="connsiteX5" fmla="*/ 224913 w 224725"/>
                  <a:gd name="connsiteY5" fmla="*/ 582657 h 634312"/>
                  <a:gd name="connsiteX6" fmla="*/ 187 w 224725"/>
                  <a:gd name="connsiteY6" fmla="*/ 452702 h 634312"/>
                  <a:gd name="connsiteX7" fmla="*/ 187 w 224725"/>
                  <a:gd name="connsiteY7" fmla="*/ 504417 h 634312"/>
                  <a:gd name="connsiteX8" fmla="*/ 224913 w 224725"/>
                  <a:gd name="connsiteY8" fmla="*/ 634373 h 634312"/>
                  <a:gd name="connsiteX9" fmla="*/ 224913 w 224725"/>
                  <a:gd name="connsiteY9" fmla="*/ 582657 h 634312"/>
                  <a:gd name="connsiteX10" fmla="*/ 224913 w 224725"/>
                  <a:gd name="connsiteY10" fmla="*/ 492139 h 634312"/>
                  <a:gd name="connsiteX11" fmla="*/ 187 w 224725"/>
                  <a:gd name="connsiteY11" fmla="*/ 362183 h 634312"/>
                  <a:gd name="connsiteX12" fmla="*/ 187 w 224725"/>
                  <a:gd name="connsiteY12" fmla="*/ 413915 h 634312"/>
                  <a:gd name="connsiteX13" fmla="*/ 224913 w 224725"/>
                  <a:gd name="connsiteY13" fmla="*/ 543871 h 634312"/>
                  <a:gd name="connsiteX14" fmla="*/ 224913 w 224725"/>
                  <a:gd name="connsiteY14" fmla="*/ 492139 h 634312"/>
                  <a:gd name="connsiteX15" fmla="*/ 224913 w 224725"/>
                  <a:gd name="connsiteY15" fmla="*/ 311054 h 634312"/>
                  <a:gd name="connsiteX16" fmla="*/ 187 w 224725"/>
                  <a:gd name="connsiteY16" fmla="*/ 181114 h 634312"/>
                  <a:gd name="connsiteX17" fmla="*/ 187 w 224725"/>
                  <a:gd name="connsiteY17" fmla="*/ 232830 h 634312"/>
                  <a:gd name="connsiteX18" fmla="*/ 224913 w 224725"/>
                  <a:gd name="connsiteY18" fmla="*/ 362786 h 634312"/>
                  <a:gd name="connsiteX19" fmla="*/ 224913 w 224725"/>
                  <a:gd name="connsiteY19" fmla="*/ 311070 h 634312"/>
                  <a:gd name="connsiteX20" fmla="*/ 224913 w 224725"/>
                  <a:gd name="connsiteY20" fmla="*/ 220536 h 634312"/>
                  <a:gd name="connsiteX21" fmla="*/ 187 w 224725"/>
                  <a:gd name="connsiteY21" fmla="*/ 90580 h 634312"/>
                  <a:gd name="connsiteX22" fmla="*/ 187 w 224725"/>
                  <a:gd name="connsiteY22" fmla="*/ 142311 h 634312"/>
                  <a:gd name="connsiteX23" fmla="*/ 224913 w 224725"/>
                  <a:gd name="connsiteY23" fmla="*/ 272267 h 634312"/>
                  <a:gd name="connsiteX24" fmla="*/ 224913 w 224725"/>
                  <a:gd name="connsiteY24" fmla="*/ 220536 h 634312"/>
                  <a:gd name="connsiteX25" fmla="*/ 224913 w 224725"/>
                  <a:gd name="connsiteY25" fmla="*/ 130017 h 634312"/>
                  <a:gd name="connsiteX26" fmla="*/ 187 w 224725"/>
                  <a:gd name="connsiteY26" fmla="*/ 61 h 634312"/>
                  <a:gd name="connsiteX27" fmla="*/ 187 w 224725"/>
                  <a:gd name="connsiteY27" fmla="*/ 51793 h 634312"/>
                  <a:gd name="connsiteX28" fmla="*/ 224913 w 224725"/>
                  <a:gd name="connsiteY28" fmla="*/ 181749 h 634312"/>
                  <a:gd name="connsiteX29" fmla="*/ 224913 w 224725"/>
                  <a:gd name="connsiteY29" fmla="*/ 130017 h 63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24725" h="634312">
                    <a:moveTo>
                      <a:pt x="224913" y="453304"/>
                    </a:moveTo>
                    <a:lnTo>
                      <a:pt x="187" y="323349"/>
                    </a:lnTo>
                    <a:lnTo>
                      <a:pt x="187" y="271633"/>
                    </a:lnTo>
                    <a:lnTo>
                      <a:pt x="224913" y="401589"/>
                    </a:lnTo>
                    <a:lnTo>
                      <a:pt x="224913" y="453304"/>
                    </a:lnTo>
                    <a:close/>
                    <a:moveTo>
                      <a:pt x="224913" y="582657"/>
                    </a:moveTo>
                    <a:lnTo>
                      <a:pt x="187" y="452702"/>
                    </a:lnTo>
                    <a:lnTo>
                      <a:pt x="187" y="504417"/>
                    </a:lnTo>
                    <a:lnTo>
                      <a:pt x="224913" y="634373"/>
                    </a:lnTo>
                    <a:lnTo>
                      <a:pt x="224913" y="582657"/>
                    </a:lnTo>
                    <a:close/>
                    <a:moveTo>
                      <a:pt x="224913" y="492139"/>
                    </a:moveTo>
                    <a:lnTo>
                      <a:pt x="187" y="362183"/>
                    </a:lnTo>
                    <a:lnTo>
                      <a:pt x="187" y="413915"/>
                    </a:lnTo>
                    <a:lnTo>
                      <a:pt x="224913" y="543871"/>
                    </a:lnTo>
                    <a:lnTo>
                      <a:pt x="224913" y="492139"/>
                    </a:lnTo>
                    <a:close/>
                    <a:moveTo>
                      <a:pt x="224913" y="311054"/>
                    </a:moveTo>
                    <a:lnTo>
                      <a:pt x="187" y="181114"/>
                    </a:lnTo>
                    <a:lnTo>
                      <a:pt x="187" y="232830"/>
                    </a:lnTo>
                    <a:lnTo>
                      <a:pt x="224913" y="362786"/>
                    </a:lnTo>
                    <a:lnTo>
                      <a:pt x="224913" y="311070"/>
                    </a:lnTo>
                    <a:close/>
                    <a:moveTo>
                      <a:pt x="224913" y="220536"/>
                    </a:moveTo>
                    <a:lnTo>
                      <a:pt x="187" y="90580"/>
                    </a:lnTo>
                    <a:lnTo>
                      <a:pt x="187" y="142311"/>
                    </a:lnTo>
                    <a:lnTo>
                      <a:pt x="224913" y="272267"/>
                    </a:lnTo>
                    <a:lnTo>
                      <a:pt x="224913" y="220536"/>
                    </a:lnTo>
                    <a:close/>
                    <a:moveTo>
                      <a:pt x="224913" y="130017"/>
                    </a:moveTo>
                    <a:lnTo>
                      <a:pt x="187" y="61"/>
                    </a:lnTo>
                    <a:lnTo>
                      <a:pt x="187" y="51793"/>
                    </a:lnTo>
                    <a:lnTo>
                      <a:pt x="224913" y="181749"/>
                    </a:lnTo>
                    <a:lnTo>
                      <a:pt x="224913" y="130017"/>
                    </a:lnTo>
                    <a:close/>
                  </a:path>
                </a:pathLst>
              </a:custGeom>
              <a:solidFill>
                <a:srgbClr val="66667E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4" name="Freihandform: Form 1323">
                <a:extLst>
                  <a:ext uri="{FF2B5EF4-FFF2-40B4-BE49-F238E27FC236}">
                    <a16:creationId xmlns:a16="http://schemas.microsoft.com/office/drawing/2014/main" id="{F894AB03-36E2-97DF-4B22-07E47107A458}"/>
                  </a:ext>
                </a:extLst>
              </p:cNvPr>
              <p:cNvSpPr/>
              <p:nvPr/>
            </p:nvSpPr>
            <p:spPr>
              <a:xfrm>
                <a:off x="7660215" y="2653482"/>
                <a:ext cx="450149" cy="259895"/>
              </a:xfrm>
              <a:custGeom>
                <a:avLst/>
                <a:gdLst>
                  <a:gd name="connsiteX0" fmla="*/ 224890 w 450149"/>
                  <a:gd name="connsiteY0" fmla="*/ 260030 h 259895"/>
                  <a:gd name="connsiteX1" fmla="*/ 165 w 450149"/>
                  <a:gd name="connsiteY1" fmla="*/ 130074 h 259895"/>
                  <a:gd name="connsiteX2" fmla="*/ 224890 w 450149"/>
                  <a:gd name="connsiteY2" fmla="*/ 134 h 259895"/>
                  <a:gd name="connsiteX3" fmla="*/ 450314 w 450149"/>
                  <a:gd name="connsiteY3" fmla="*/ 130090 h 259895"/>
                  <a:gd name="connsiteX4" fmla="*/ 224890 w 450149"/>
                  <a:gd name="connsiteY4" fmla="*/ 260030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890" y="260030"/>
                    </a:moveTo>
                    <a:lnTo>
                      <a:pt x="165" y="130074"/>
                    </a:lnTo>
                    <a:lnTo>
                      <a:pt x="224890" y="134"/>
                    </a:lnTo>
                    <a:lnTo>
                      <a:pt x="450314" y="130090"/>
                    </a:lnTo>
                    <a:lnTo>
                      <a:pt x="224890" y="260030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325" name="Gruppieren 1324">
                <a:extLst>
                  <a:ext uri="{FF2B5EF4-FFF2-40B4-BE49-F238E27FC236}">
                    <a16:creationId xmlns:a16="http://schemas.microsoft.com/office/drawing/2014/main" id="{D0A43CBF-D0A3-1AFE-2C43-D99455901DF0}"/>
                  </a:ext>
                </a:extLst>
              </p:cNvPr>
              <p:cNvGrpSpPr/>
              <p:nvPr/>
            </p:nvGrpSpPr>
            <p:grpSpPr>
              <a:xfrm>
                <a:off x="7716975" y="2669573"/>
                <a:ext cx="338461" cy="226786"/>
                <a:chOff x="7716975" y="2669573"/>
                <a:chExt cx="338461" cy="226786"/>
              </a:xfrm>
            </p:grpSpPr>
            <p:sp>
              <p:nvSpPr>
                <p:cNvPr id="1326" name="Freihandform: Form 1325">
                  <a:extLst>
                    <a:ext uri="{FF2B5EF4-FFF2-40B4-BE49-F238E27FC236}">
                      <a16:creationId xmlns:a16="http://schemas.microsoft.com/office/drawing/2014/main" id="{1043EA69-AADD-54DA-94D2-B8E59F29F41D}"/>
                    </a:ext>
                  </a:extLst>
                </p:cNvPr>
                <p:cNvSpPr/>
                <p:nvPr/>
              </p:nvSpPr>
              <p:spPr>
                <a:xfrm>
                  <a:off x="7716975" y="2754467"/>
                  <a:ext cx="195450" cy="141892"/>
                </a:xfrm>
                <a:custGeom>
                  <a:avLst/>
                  <a:gdLst>
                    <a:gd name="connsiteX0" fmla="*/ 24347 w 195450"/>
                    <a:gd name="connsiteY0" fmla="*/ 60 h 141892"/>
                    <a:gd name="connsiteX1" fmla="*/ 195618 w 195450"/>
                    <a:gd name="connsiteY1" fmla="*/ 99381 h 141892"/>
                    <a:gd name="connsiteX2" fmla="*/ 171439 w 195450"/>
                    <a:gd name="connsiteY2" fmla="*/ 141953 h 141892"/>
                    <a:gd name="connsiteX3" fmla="*/ 168 w 195450"/>
                    <a:gd name="connsiteY3" fmla="*/ 42632 h 141892"/>
                    <a:gd name="connsiteX4" fmla="*/ 24347 w 195450"/>
                    <a:gd name="connsiteY4" fmla="*/ 60 h 14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450" h="141892">
                      <a:moveTo>
                        <a:pt x="24347" y="60"/>
                      </a:moveTo>
                      <a:lnTo>
                        <a:pt x="195618" y="99381"/>
                      </a:lnTo>
                      <a:lnTo>
                        <a:pt x="171439" y="141953"/>
                      </a:lnTo>
                      <a:lnTo>
                        <a:pt x="168" y="42632"/>
                      </a:lnTo>
                      <a:lnTo>
                        <a:pt x="24347" y="60"/>
                      </a:lnTo>
                      <a:close/>
                    </a:path>
                  </a:pathLst>
                </a:custGeom>
                <a:solidFill>
                  <a:srgbClr val="333353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7" name="Freihandform: Form 1326">
                  <a:extLst>
                    <a:ext uri="{FF2B5EF4-FFF2-40B4-BE49-F238E27FC236}">
                      <a16:creationId xmlns:a16="http://schemas.microsoft.com/office/drawing/2014/main" id="{321AC4FD-6A72-8B80-E154-CB7DF3C44D28}"/>
                    </a:ext>
                  </a:extLst>
                </p:cNvPr>
                <p:cNvSpPr/>
                <p:nvPr/>
              </p:nvSpPr>
              <p:spPr>
                <a:xfrm>
                  <a:off x="7793193" y="2784642"/>
                  <a:ext cx="69707" cy="97015"/>
                </a:xfrm>
                <a:custGeom>
                  <a:avLst/>
                  <a:gdLst>
                    <a:gd name="connsiteX0" fmla="*/ 69866 w 69707"/>
                    <a:gd name="connsiteY0" fmla="*/ 40483 h 97015"/>
                    <a:gd name="connsiteX1" fmla="*/ 69866 w 69707"/>
                    <a:gd name="connsiteY1" fmla="*/ 97070 h 97015"/>
                    <a:gd name="connsiteX2" fmla="*/ 38091 w 69707"/>
                    <a:gd name="connsiteY2" fmla="*/ 78642 h 97015"/>
                    <a:gd name="connsiteX3" fmla="*/ 38091 w 69707"/>
                    <a:gd name="connsiteY3" fmla="*/ 22055 h 97015"/>
                    <a:gd name="connsiteX4" fmla="*/ 69866 w 69707"/>
                    <a:gd name="connsiteY4" fmla="*/ 40483 h 97015"/>
                    <a:gd name="connsiteX5" fmla="*/ 159 w 69707"/>
                    <a:gd name="connsiteY5" fmla="*/ 55 h 97015"/>
                    <a:gd name="connsiteX6" fmla="*/ 159 w 69707"/>
                    <a:gd name="connsiteY6" fmla="*/ 56642 h 97015"/>
                    <a:gd name="connsiteX7" fmla="*/ 23985 w 69707"/>
                    <a:gd name="connsiteY7" fmla="*/ 70468 h 97015"/>
                    <a:gd name="connsiteX8" fmla="*/ 23985 w 69707"/>
                    <a:gd name="connsiteY8" fmla="*/ 13881 h 97015"/>
                    <a:gd name="connsiteX9" fmla="*/ 159 w 69707"/>
                    <a:gd name="connsiteY9" fmla="*/ 55 h 97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707" h="97015">
                      <a:moveTo>
                        <a:pt x="69866" y="40483"/>
                      </a:moveTo>
                      <a:lnTo>
                        <a:pt x="69866" y="97070"/>
                      </a:lnTo>
                      <a:lnTo>
                        <a:pt x="38091" y="78642"/>
                      </a:lnTo>
                      <a:lnTo>
                        <a:pt x="38091" y="22055"/>
                      </a:lnTo>
                      <a:lnTo>
                        <a:pt x="69866" y="40483"/>
                      </a:lnTo>
                      <a:close/>
                      <a:moveTo>
                        <a:pt x="159" y="55"/>
                      </a:moveTo>
                      <a:lnTo>
                        <a:pt x="159" y="56642"/>
                      </a:lnTo>
                      <a:lnTo>
                        <a:pt x="23985" y="70468"/>
                      </a:lnTo>
                      <a:lnTo>
                        <a:pt x="23985" y="13881"/>
                      </a:lnTo>
                      <a:lnTo>
                        <a:pt x="159" y="55"/>
                      </a:lnTo>
                      <a:close/>
                    </a:path>
                  </a:pathLst>
                </a:custGeom>
                <a:solidFill>
                  <a:srgbClr val="66667E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8" name="Freihandform: Form 1327">
                  <a:extLst>
                    <a:ext uri="{FF2B5EF4-FFF2-40B4-BE49-F238E27FC236}">
                      <a16:creationId xmlns:a16="http://schemas.microsoft.com/office/drawing/2014/main" id="{A3DAC002-8481-9D9E-0B96-F8A6CA491376}"/>
                    </a:ext>
                  </a:extLst>
                </p:cNvPr>
                <p:cNvSpPr/>
                <p:nvPr/>
              </p:nvSpPr>
              <p:spPr>
                <a:xfrm>
                  <a:off x="7790372" y="2712149"/>
                  <a:ext cx="195450" cy="141892"/>
                </a:xfrm>
                <a:custGeom>
                  <a:avLst/>
                  <a:gdLst>
                    <a:gd name="connsiteX0" fmla="*/ 24289 w 195450"/>
                    <a:gd name="connsiteY0" fmla="*/ 89 h 141892"/>
                    <a:gd name="connsiteX1" fmla="*/ 195569 w 195450"/>
                    <a:gd name="connsiteY1" fmla="*/ 99410 h 141892"/>
                    <a:gd name="connsiteX2" fmla="*/ 171389 w 195450"/>
                    <a:gd name="connsiteY2" fmla="*/ 141981 h 141892"/>
                    <a:gd name="connsiteX3" fmla="*/ 118 w 195450"/>
                    <a:gd name="connsiteY3" fmla="*/ 42660 h 141892"/>
                    <a:gd name="connsiteX4" fmla="*/ 24289 w 195450"/>
                    <a:gd name="connsiteY4" fmla="*/ 89 h 14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450" h="141892">
                      <a:moveTo>
                        <a:pt x="24289" y="89"/>
                      </a:moveTo>
                      <a:lnTo>
                        <a:pt x="195569" y="99410"/>
                      </a:lnTo>
                      <a:lnTo>
                        <a:pt x="171389" y="141981"/>
                      </a:lnTo>
                      <a:lnTo>
                        <a:pt x="118" y="42660"/>
                      </a:lnTo>
                      <a:lnTo>
                        <a:pt x="24289" y="89"/>
                      </a:lnTo>
                      <a:close/>
                    </a:path>
                  </a:pathLst>
                </a:custGeom>
                <a:solidFill>
                  <a:srgbClr val="333353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9" name="Freihandform: Form 1328">
                  <a:extLst>
                    <a:ext uri="{FF2B5EF4-FFF2-40B4-BE49-F238E27FC236}">
                      <a16:creationId xmlns:a16="http://schemas.microsoft.com/office/drawing/2014/main" id="{330BABB3-46E9-7E06-F742-53A5457FAB8F}"/>
                    </a:ext>
                  </a:extLst>
                </p:cNvPr>
                <p:cNvSpPr/>
                <p:nvPr/>
              </p:nvSpPr>
              <p:spPr>
                <a:xfrm>
                  <a:off x="7866581" y="2742323"/>
                  <a:ext cx="69716" cy="97015"/>
                </a:xfrm>
                <a:custGeom>
                  <a:avLst/>
                  <a:gdLst>
                    <a:gd name="connsiteX0" fmla="*/ 69826 w 69716"/>
                    <a:gd name="connsiteY0" fmla="*/ 40512 h 97015"/>
                    <a:gd name="connsiteX1" fmla="*/ 69826 w 69716"/>
                    <a:gd name="connsiteY1" fmla="*/ 97099 h 97015"/>
                    <a:gd name="connsiteX2" fmla="*/ 38051 w 69716"/>
                    <a:gd name="connsiteY2" fmla="*/ 78670 h 97015"/>
                    <a:gd name="connsiteX3" fmla="*/ 38051 w 69716"/>
                    <a:gd name="connsiteY3" fmla="*/ 22083 h 97015"/>
                    <a:gd name="connsiteX4" fmla="*/ 69826 w 69716"/>
                    <a:gd name="connsiteY4" fmla="*/ 40512 h 97015"/>
                    <a:gd name="connsiteX5" fmla="*/ 109 w 69716"/>
                    <a:gd name="connsiteY5" fmla="*/ 83 h 97015"/>
                    <a:gd name="connsiteX6" fmla="*/ 109 w 69716"/>
                    <a:gd name="connsiteY6" fmla="*/ 56670 h 97015"/>
                    <a:gd name="connsiteX7" fmla="*/ 23936 w 69716"/>
                    <a:gd name="connsiteY7" fmla="*/ 70496 h 97015"/>
                    <a:gd name="connsiteX8" fmla="*/ 23936 w 69716"/>
                    <a:gd name="connsiteY8" fmla="*/ 13909 h 97015"/>
                    <a:gd name="connsiteX9" fmla="*/ 109 w 69716"/>
                    <a:gd name="connsiteY9" fmla="*/ 83 h 97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716" h="97015">
                      <a:moveTo>
                        <a:pt x="69826" y="40512"/>
                      </a:moveTo>
                      <a:lnTo>
                        <a:pt x="69826" y="97099"/>
                      </a:lnTo>
                      <a:lnTo>
                        <a:pt x="38051" y="78670"/>
                      </a:lnTo>
                      <a:lnTo>
                        <a:pt x="38051" y="22083"/>
                      </a:lnTo>
                      <a:lnTo>
                        <a:pt x="69826" y="40512"/>
                      </a:lnTo>
                      <a:close/>
                      <a:moveTo>
                        <a:pt x="109" y="83"/>
                      </a:moveTo>
                      <a:lnTo>
                        <a:pt x="109" y="56670"/>
                      </a:lnTo>
                      <a:lnTo>
                        <a:pt x="23936" y="70496"/>
                      </a:lnTo>
                      <a:lnTo>
                        <a:pt x="23936" y="13909"/>
                      </a:lnTo>
                      <a:lnTo>
                        <a:pt x="109" y="83"/>
                      </a:lnTo>
                      <a:close/>
                    </a:path>
                  </a:pathLst>
                </a:custGeom>
                <a:solidFill>
                  <a:srgbClr val="66667E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0" name="Freihandform: Form 1329">
                  <a:extLst>
                    <a:ext uri="{FF2B5EF4-FFF2-40B4-BE49-F238E27FC236}">
                      <a16:creationId xmlns:a16="http://schemas.microsoft.com/office/drawing/2014/main" id="{E1CAA8D8-3791-1031-40FA-FB9D53AB0CE8}"/>
                    </a:ext>
                  </a:extLst>
                </p:cNvPr>
                <p:cNvSpPr/>
                <p:nvPr/>
              </p:nvSpPr>
              <p:spPr>
                <a:xfrm>
                  <a:off x="7859986" y="2669573"/>
                  <a:ext cx="195450" cy="141892"/>
                </a:xfrm>
                <a:custGeom>
                  <a:avLst/>
                  <a:gdLst>
                    <a:gd name="connsiteX0" fmla="*/ 24289 w 195450"/>
                    <a:gd name="connsiteY0" fmla="*/ 89 h 141892"/>
                    <a:gd name="connsiteX1" fmla="*/ 195569 w 195450"/>
                    <a:gd name="connsiteY1" fmla="*/ 99410 h 141892"/>
                    <a:gd name="connsiteX2" fmla="*/ 171389 w 195450"/>
                    <a:gd name="connsiteY2" fmla="*/ 141981 h 141892"/>
                    <a:gd name="connsiteX3" fmla="*/ 118 w 195450"/>
                    <a:gd name="connsiteY3" fmla="*/ 42660 h 141892"/>
                    <a:gd name="connsiteX4" fmla="*/ 24289 w 195450"/>
                    <a:gd name="connsiteY4" fmla="*/ 89 h 14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450" h="141892">
                      <a:moveTo>
                        <a:pt x="24289" y="89"/>
                      </a:moveTo>
                      <a:lnTo>
                        <a:pt x="195569" y="99410"/>
                      </a:lnTo>
                      <a:lnTo>
                        <a:pt x="171389" y="141981"/>
                      </a:lnTo>
                      <a:lnTo>
                        <a:pt x="118" y="42660"/>
                      </a:lnTo>
                      <a:lnTo>
                        <a:pt x="24289" y="89"/>
                      </a:lnTo>
                      <a:close/>
                    </a:path>
                  </a:pathLst>
                </a:custGeom>
                <a:solidFill>
                  <a:srgbClr val="333353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1" name="Freihandform: Form 1330">
                  <a:extLst>
                    <a:ext uri="{FF2B5EF4-FFF2-40B4-BE49-F238E27FC236}">
                      <a16:creationId xmlns:a16="http://schemas.microsoft.com/office/drawing/2014/main" id="{85F1EBDE-82D0-CB5D-E0C6-7F832FEC78BA}"/>
                    </a:ext>
                  </a:extLst>
                </p:cNvPr>
                <p:cNvSpPr/>
                <p:nvPr/>
              </p:nvSpPr>
              <p:spPr>
                <a:xfrm>
                  <a:off x="7936195" y="2699747"/>
                  <a:ext cx="69716" cy="97015"/>
                </a:xfrm>
                <a:custGeom>
                  <a:avLst/>
                  <a:gdLst>
                    <a:gd name="connsiteX0" fmla="*/ 69826 w 69716"/>
                    <a:gd name="connsiteY0" fmla="*/ 40512 h 97015"/>
                    <a:gd name="connsiteX1" fmla="*/ 69826 w 69716"/>
                    <a:gd name="connsiteY1" fmla="*/ 97099 h 97015"/>
                    <a:gd name="connsiteX2" fmla="*/ 38051 w 69716"/>
                    <a:gd name="connsiteY2" fmla="*/ 78670 h 97015"/>
                    <a:gd name="connsiteX3" fmla="*/ 38051 w 69716"/>
                    <a:gd name="connsiteY3" fmla="*/ 22083 h 97015"/>
                    <a:gd name="connsiteX4" fmla="*/ 69826 w 69716"/>
                    <a:gd name="connsiteY4" fmla="*/ 40512 h 97015"/>
                    <a:gd name="connsiteX5" fmla="*/ 109 w 69716"/>
                    <a:gd name="connsiteY5" fmla="*/ 83 h 97015"/>
                    <a:gd name="connsiteX6" fmla="*/ 109 w 69716"/>
                    <a:gd name="connsiteY6" fmla="*/ 56670 h 97015"/>
                    <a:gd name="connsiteX7" fmla="*/ 23936 w 69716"/>
                    <a:gd name="connsiteY7" fmla="*/ 70496 h 97015"/>
                    <a:gd name="connsiteX8" fmla="*/ 23936 w 69716"/>
                    <a:gd name="connsiteY8" fmla="*/ 13909 h 97015"/>
                    <a:gd name="connsiteX9" fmla="*/ 109 w 69716"/>
                    <a:gd name="connsiteY9" fmla="*/ 83 h 97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716" h="97015">
                      <a:moveTo>
                        <a:pt x="69826" y="40512"/>
                      </a:moveTo>
                      <a:lnTo>
                        <a:pt x="69826" y="97099"/>
                      </a:lnTo>
                      <a:lnTo>
                        <a:pt x="38051" y="78670"/>
                      </a:lnTo>
                      <a:lnTo>
                        <a:pt x="38051" y="22083"/>
                      </a:lnTo>
                      <a:lnTo>
                        <a:pt x="69826" y="40512"/>
                      </a:lnTo>
                      <a:close/>
                      <a:moveTo>
                        <a:pt x="109" y="83"/>
                      </a:moveTo>
                      <a:lnTo>
                        <a:pt x="109" y="56670"/>
                      </a:lnTo>
                      <a:lnTo>
                        <a:pt x="23936" y="70496"/>
                      </a:lnTo>
                      <a:lnTo>
                        <a:pt x="23936" y="13909"/>
                      </a:lnTo>
                      <a:lnTo>
                        <a:pt x="109" y="83"/>
                      </a:lnTo>
                      <a:close/>
                    </a:path>
                  </a:pathLst>
                </a:custGeom>
                <a:solidFill>
                  <a:srgbClr val="66667E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237" name="Gruppieren 1236">
              <a:extLst>
                <a:ext uri="{FF2B5EF4-FFF2-40B4-BE49-F238E27FC236}">
                  <a16:creationId xmlns:a16="http://schemas.microsoft.com/office/drawing/2014/main" id="{2721C4D6-25FC-6295-1AAF-D22C2844AF75}"/>
                </a:ext>
              </a:extLst>
            </p:cNvPr>
            <p:cNvGrpSpPr/>
            <p:nvPr/>
          </p:nvGrpSpPr>
          <p:grpSpPr>
            <a:xfrm>
              <a:off x="4204157" y="3450465"/>
              <a:ext cx="903173" cy="765458"/>
              <a:chOff x="7942347" y="3007125"/>
              <a:chExt cx="960120" cy="813721"/>
            </a:xfrm>
          </p:grpSpPr>
          <p:grpSp>
            <p:nvGrpSpPr>
              <p:cNvPr id="1284" name="Gruppieren 1283">
                <a:extLst>
                  <a:ext uri="{FF2B5EF4-FFF2-40B4-BE49-F238E27FC236}">
                    <a16:creationId xmlns:a16="http://schemas.microsoft.com/office/drawing/2014/main" id="{C2036BB4-9CFF-B219-5D52-ECBE7E544B6C}"/>
                  </a:ext>
                </a:extLst>
              </p:cNvPr>
              <p:cNvGrpSpPr/>
              <p:nvPr/>
            </p:nvGrpSpPr>
            <p:grpSpPr>
              <a:xfrm>
                <a:off x="7942347" y="3007125"/>
                <a:ext cx="960120" cy="813721"/>
                <a:chOff x="6220619" y="2016083"/>
                <a:chExt cx="960120" cy="813721"/>
              </a:xfrm>
            </p:grpSpPr>
            <p:grpSp>
              <p:nvGrpSpPr>
                <p:cNvPr id="1287" name="Grafik 1070">
                  <a:extLst>
                    <a:ext uri="{FF2B5EF4-FFF2-40B4-BE49-F238E27FC236}">
                      <a16:creationId xmlns:a16="http://schemas.microsoft.com/office/drawing/2014/main" id="{ADB0B912-DFED-735F-062C-5152159D2FDB}"/>
                    </a:ext>
                  </a:extLst>
                </p:cNvPr>
                <p:cNvGrpSpPr/>
                <p:nvPr/>
              </p:nvGrpSpPr>
              <p:grpSpPr>
                <a:xfrm>
                  <a:off x="6220619" y="2016083"/>
                  <a:ext cx="960120" cy="813721"/>
                  <a:chOff x="8142443" y="3579399"/>
                  <a:chExt cx="960120" cy="813721"/>
                </a:xfrm>
              </p:grpSpPr>
              <p:sp>
                <p:nvSpPr>
                  <p:cNvPr id="1297" name="Freihandform: Form 1296">
                    <a:extLst>
                      <a:ext uri="{FF2B5EF4-FFF2-40B4-BE49-F238E27FC236}">
                        <a16:creationId xmlns:a16="http://schemas.microsoft.com/office/drawing/2014/main" id="{325C5AC0-09CF-EC64-7FF3-A4E314BD058D}"/>
                      </a:ext>
                    </a:extLst>
                  </p:cNvPr>
                  <p:cNvSpPr/>
                  <p:nvPr/>
                </p:nvSpPr>
                <p:spPr>
                  <a:xfrm>
                    <a:off x="8616787" y="3579399"/>
                    <a:ext cx="485775" cy="336042"/>
                  </a:xfrm>
                  <a:custGeom>
                    <a:avLst/>
                    <a:gdLst>
                      <a:gd name="connsiteX0" fmla="*/ 367093 w 485775"/>
                      <a:gd name="connsiteY0" fmla="*/ 336042 h 336042"/>
                      <a:gd name="connsiteX1" fmla="*/ 0 w 485775"/>
                      <a:gd name="connsiteY1" fmla="*/ 127159 h 336042"/>
                      <a:gd name="connsiteX2" fmla="*/ 118681 w 485775"/>
                      <a:gd name="connsiteY2" fmla="*/ 0 h 336042"/>
                      <a:gd name="connsiteX3" fmla="*/ 485775 w 485775"/>
                      <a:gd name="connsiteY3" fmla="*/ 208883 h 336042"/>
                      <a:gd name="connsiteX4" fmla="*/ 367093 w 485775"/>
                      <a:gd name="connsiteY4" fmla="*/ 336042 h 336042"/>
                      <a:gd name="connsiteX5" fmla="*/ 367093 w 485775"/>
                      <a:gd name="connsiteY5" fmla="*/ 336042 h 336042"/>
                      <a:gd name="connsiteX6" fmla="*/ 367093 w 485775"/>
                      <a:gd name="connsiteY6" fmla="*/ 336042 h 3360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85775" h="336042">
                        <a:moveTo>
                          <a:pt x="367093" y="336042"/>
                        </a:moveTo>
                        <a:lnTo>
                          <a:pt x="0" y="127159"/>
                        </a:lnTo>
                        <a:lnTo>
                          <a:pt x="118681" y="0"/>
                        </a:lnTo>
                        <a:lnTo>
                          <a:pt x="485775" y="208883"/>
                        </a:lnTo>
                        <a:lnTo>
                          <a:pt x="367093" y="336042"/>
                        </a:lnTo>
                        <a:lnTo>
                          <a:pt x="367093" y="336042"/>
                        </a:lnTo>
                        <a:lnTo>
                          <a:pt x="367093" y="336042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98" name="Freihandform: Form 1297">
                    <a:extLst>
                      <a:ext uri="{FF2B5EF4-FFF2-40B4-BE49-F238E27FC236}">
                        <a16:creationId xmlns:a16="http://schemas.microsoft.com/office/drawing/2014/main" id="{25ED720C-6E7B-AEAF-5179-2F422067D670}"/>
                      </a:ext>
                    </a:extLst>
                  </p:cNvPr>
                  <p:cNvSpPr/>
                  <p:nvPr/>
                </p:nvSpPr>
                <p:spPr>
                  <a:xfrm>
                    <a:off x="8497915" y="3647978"/>
                    <a:ext cx="485775" cy="336042"/>
                  </a:xfrm>
                  <a:custGeom>
                    <a:avLst/>
                    <a:gdLst>
                      <a:gd name="connsiteX0" fmla="*/ 367094 w 485775"/>
                      <a:gd name="connsiteY0" fmla="*/ 336042 h 336042"/>
                      <a:gd name="connsiteX1" fmla="*/ 0 w 485775"/>
                      <a:gd name="connsiteY1" fmla="*/ 127159 h 336042"/>
                      <a:gd name="connsiteX2" fmla="*/ 118681 w 485775"/>
                      <a:gd name="connsiteY2" fmla="*/ 0 h 336042"/>
                      <a:gd name="connsiteX3" fmla="*/ 485775 w 485775"/>
                      <a:gd name="connsiteY3" fmla="*/ 208883 h 336042"/>
                      <a:gd name="connsiteX4" fmla="*/ 367094 w 485775"/>
                      <a:gd name="connsiteY4" fmla="*/ 336042 h 336042"/>
                      <a:gd name="connsiteX5" fmla="*/ 367094 w 485775"/>
                      <a:gd name="connsiteY5" fmla="*/ 336042 h 336042"/>
                      <a:gd name="connsiteX6" fmla="*/ 367094 w 485775"/>
                      <a:gd name="connsiteY6" fmla="*/ 336042 h 3360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85775" h="336042">
                        <a:moveTo>
                          <a:pt x="367094" y="336042"/>
                        </a:moveTo>
                        <a:lnTo>
                          <a:pt x="0" y="127159"/>
                        </a:lnTo>
                        <a:lnTo>
                          <a:pt x="118681" y="0"/>
                        </a:lnTo>
                        <a:lnTo>
                          <a:pt x="485775" y="208883"/>
                        </a:lnTo>
                        <a:lnTo>
                          <a:pt x="367094" y="336042"/>
                        </a:lnTo>
                        <a:lnTo>
                          <a:pt x="367094" y="336042"/>
                        </a:lnTo>
                        <a:lnTo>
                          <a:pt x="367094" y="336042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99" name="Freihandform: Form 1298">
                    <a:extLst>
                      <a:ext uri="{FF2B5EF4-FFF2-40B4-BE49-F238E27FC236}">
                        <a16:creationId xmlns:a16="http://schemas.microsoft.com/office/drawing/2014/main" id="{EEC07D3C-45F8-D3CC-856C-8B4C771B4481}"/>
                      </a:ext>
                    </a:extLst>
                  </p:cNvPr>
                  <p:cNvSpPr/>
                  <p:nvPr/>
                </p:nvSpPr>
                <p:spPr>
                  <a:xfrm>
                    <a:off x="8380186" y="3716559"/>
                    <a:ext cx="484631" cy="336041"/>
                  </a:xfrm>
                  <a:custGeom>
                    <a:avLst/>
                    <a:gdLst>
                      <a:gd name="connsiteX0" fmla="*/ 366236 w 484631"/>
                      <a:gd name="connsiteY0" fmla="*/ 336042 h 336041"/>
                      <a:gd name="connsiteX1" fmla="*/ 0 w 484631"/>
                      <a:gd name="connsiteY1" fmla="*/ 127159 h 336041"/>
                      <a:gd name="connsiteX2" fmla="*/ 118396 w 484631"/>
                      <a:gd name="connsiteY2" fmla="*/ 0 h 336041"/>
                      <a:gd name="connsiteX3" fmla="*/ 484632 w 484631"/>
                      <a:gd name="connsiteY3" fmla="*/ 208883 h 336041"/>
                      <a:gd name="connsiteX4" fmla="*/ 366236 w 484631"/>
                      <a:gd name="connsiteY4" fmla="*/ 336042 h 336041"/>
                      <a:gd name="connsiteX5" fmla="*/ 366236 w 484631"/>
                      <a:gd name="connsiteY5" fmla="*/ 336042 h 336041"/>
                      <a:gd name="connsiteX6" fmla="*/ 366236 w 484631"/>
                      <a:gd name="connsiteY6" fmla="*/ 336042 h 3360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84631" h="336041">
                        <a:moveTo>
                          <a:pt x="366236" y="336042"/>
                        </a:moveTo>
                        <a:lnTo>
                          <a:pt x="0" y="127159"/>
                        </a:lnTo>
                        <a:lnTo>
                          <a:pt x="118396" y="0"/>
                        </a:lnTo>
                        <a:lnTo>
                          <a:pt x="484632" y="208883"/>
                        </a:lnTo>
                        <a:lnTo>
                          <a:pt x="366236" y="336042"/>
                        </a:lnTo>
                        <a:lnTo>
                          <a:pt x="366236" y="336042"/>
                        </a:lnTo>
                        <a:lnTo>
                          <a:pt x="366236" y="336042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0" name="Freihandform: Form 1299">
                    <a:extLst>
                      <a:ext uri="{FF2B5EF4-FFF2-40B4-BE49-F238E27FC236}">
                        <a16:creationId xmlns:a16="http://schemas.microsoft.com/office/drawing/2014/main" id="{A7018328-2BE5-2E26-2B80-74BAF5B97DDA}"/>
                      </a:ext>
                    </a:extLst>
                  </p:cNvPr>
                  <p:cNvSpPr/>
                  <p:nvPr/>
                </p:nvSpPr>
                <p:spPr>
                  <a:xfrm>
                    <a:off x="8142443" y="3978211"/>
                    <a:ext cx="366903" cy="414908"/>
                  </a:xfrm>
                  <a:custGeom>
                    <a:avLst/>
                    <a:gdLst>
                      <a:gd name="connsiteX0" fmla="*/ 366903 w 366903"/>
                      <a:gd name="connsiteY0" fmla="*/ 414909 h 414908"/>
                      <a:gd name="connsiteX1" fmla="*/ 476 w 366903"/>
                      <a:gd name="connsiteY1" fmla="*/ 205740 h 414908"/>
                      <a:gd name="connsiteX2" fmla="*/ 0 w 366903"/>
                      <a:gd name="connsiteY2" fmla="*/ 0 h 414908"/>
                      <a:gd name="connsiteX3" fmla="*/ 366427 w 366903"/>
                      <a:gd name="connsiteY3" fmla="*/ 209169 h 414908"/>
                      <a:gd name="connsiteX4" fmla="*/ 366903 w 366903"/>
                      <a:gd name="connsiteY4" fmla="*/ 414909 h 414908"/>
                      <a:gd name="connsiteX5" fmla="*/ 366903 w 366903"/>
                      <a:gd name="connsiteY5" fmla="*/ 414909 h 414908"/>
                      <a:gd name="connsiteX6" fmla="*/ 366903 w 366903"/>
                      <a:gd name="connsiteY6" fmla="*/ 414909 h 4149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03" h="414908">
                        <a:moveTo>
                          <a:pt x="366903" y="414909"/>
                        </a:moveTo>
                        <a:lnTo>
                          <a:pt x="476" y="205740"/>
                        </a:lnTo>
                        <a:lnTo>
                          <a:pt x="0" y="0"/>
                        </a:lnTo>
                        <a:lnTo>
                          <a:pt x="366427" y="209169"/>
                        </a:lnTo>
                        <a:lnTo>
                          <a:pt x="366903" y="414909"/>
                        </a:lnTo>
                        <a:lnTo>
                          <a:pt x="366903" y="414909"/>
                        </a:lnTo>
                        <a:lnTo>
                          <a:pt x="366903" y="414909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1" name="Freihandform: Form 1300">
                    <a:extLst>
                      <a:ext uri="{FF2B5EF4-FFF2-40B4-BE49-F238E27FC236}">
                        <a16:creationId xmlns:a16="http://schemas.microsoft.com/office/drawing/2014/main" id="{40C6D680-F5EB-B780-BA50-782CE292BEEA}"/>
                      </a:ext>
                    </a:extLst>
                  </p:cNvPr>
                  <p:cNvSpPr/>
                  <p:nvPr/>
                </p:nvSpPr>
                <p:spPr>
                  <a:xfrm>
                    <a:off x="8261314" y="3785138"/>
                    <a:ext cx="484632" cy="336041"/>
                  </a:xfrm>
                  <a:custGeom>
                    <a:avLst/>
                    <a:gdLst>
                      <a:gd name="connsiteX0" fmla="*/ 366236 w 484632"/>
                      <a:gd name="connsiteY0" fmla="*/ 336042 h 336041"/>
                      <a:gd name="connsiteX1" fmla="*/ 0 w 484632"/>
                      <a:gd name="connsiteY1" fmla="*/ 127159 h 336041"/>
                      <a:gd name="connsiteX2" fmla="*/ 118396 w 484632"/>
                      <a:gd name="connsiteY2" fmla="*/ 0 h 336041"/>
                      <a:gd name="connsiteX3" fmla="*/ 484632 w 484632"/>
                      <a:gd name="connsiteY3" fmla="*/ 208883 h 336041"/>
                      <a:gd name="connsiteX4" fmla="*/ 366236 w 484632"/>
                      <a:gd name="connsiteY4" fmla="*/ 336042 h 336041"/>
                      <a:gd name="connsiteX5" fmla="*/ 366236 w 484632"/>
                      <a:gd name="connsiteY5" fmla="*/ 336042 h 336041"/>
                      <a:gd name="connsiteX6" fmla="*/ 366236 w 484632"/>
                      <a:gd name="connsiteY6" fmla="*/ 336042 h 3360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84632" h="336041">
                        <a:moveTo>
                          <a:pt x="366236" y="336042"/>
                        </a:moveTo>
                        <a:lnTo>
                          <a:pt x="0" y="127159"/>
                        </a:lnTo>
                        <a:lnTo>
                          <a:pt x="118396" y="0"/>
                        </a:lnTo>
                        <a:lnTo>
                          <a:pt x="484632" y="208883"/>
                        </a:lnTo>
                        <a:lnTo>
                          <a:pt x="366236" y="336042"/>
                        </a:lnTo>
                        <a:lnTo>
                          <a:pt x="366236" y="336042"/>
                        </a:lnTo>
                        <a:lnTo>
                          <a:pt x="366236" y="336042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2" name="Freihandform: Form 1301">
                    <a:extLst>
                      <a:ext uri="{FF2B5EF4-FFF2-40B4-BE49-F238E27FC236}">
                        <a16:creationId xmlns:a16="http://schemas.microsoft.com/office/drawing/2014/main" id="{F8E4FC53-6E17-7465-51C3-17701634D198}"/>
                      </a:ext>
                    </a:extLst>
                  </p:cNvPr>
                  <p:cNvSpPr/>
                  <p:nvPr/>
                </p:nvSpPr>
                <p:spPr>
                  <a:xfrm>
                    <a:off x="8142443" y="3853718"/>
                    <a:ext cx="484632" cy="336041"/>
                  </a:xfrm>
                  <a:custGeom>
                    <a:avLst/>
                    <a:gdLst>
                      <a:gd name="connsiteX0" fmla="*/ 366236 w 484632"/>
                      <a:gd name="connsiteY0" fmla="*/ 336042 h 336041"/>
                      <a:gd name="connsiteX1" fmla="*/ 0 w 484632"/>
                      <a:gd name="connsiteY1" fmla="*/ 127159 h 336041"/>
                      <a:gd name="connsiteX2" fmla="*/ 118396 w 484632"/>
                      <a:gd name="connsiteY2" fmla="*/ 0 h 336041"/>
                      <a:gd name="connsiteX3" fmla="*/ 484632 w 484632"/>
                      <a:gd name="connsiteY3" fmla="*/ 208883 h 336041"/>
                      <a:gd name="connsiteX4" fmla="*/ 366236 w 484632"/>
                      <a:gd name="connsiteY4" fmla="*/ 336042 h 336041"/>
                      <a:gd name="connsiteX5" fmla="*/ 366236 w 484632"/>
                      <a:gd name="connsiteY5" fmla="*/ 336042 h 336041"/>
                      <a:gd name="connsiteX6" fmla="*/ 366236 w 484632"/>
                      <a:gd name="connsiteY6" fmla="*/ 336042 h 3360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84632" h="336041">
                        <a:moveTo>
                          <a:pt x="366236" y="336042"/>
                        </a:moveTo>
                        <a:lnTo>
                          <a:pt x="0" y="127159"/>
                        </a:lnTo>
                        <a:lnTo>
                          <a:pt x="118396" y="0"/>
                        </a:lnTo>
                        <a:lnTo>
                          <a:pt x="484632" y="208883"/>
                        </a:lnTo>
                        <a:lnTo>
                          <a:pt x="366236" y="336042"/>
                        </a:lnTo>
                        <a:lnTo>
                          <a:pt x="366236" y="336042"/>
                        </a:lnTo>
                        <a:lnTo>
                          <a:pt x="366236" y="336042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3" name="Freihandform: Form 1302">
                    <a:extLst>
                      <a:ext uri="{FF2B5EF4-FFF2-40B4-BE49-F238E27FC236}">
                        <a16:creationId xmlns:a16="http://schemas.microsoft.com/office/drawing/2014/main" id="{AF208487-FCB7-8290-FD7A-F35E13CF4D4E}"/>
                      </a:ext>
                    </a:extLst>
                  </p:cNvPr>
                  <p:cNvSpPr/>
                  <p:nvPr/>
                </p:nvSpPr>
                <p:spPr>
                  <a:xfrm>
                    <a:off x="8509346" y="3786187"/>
                    <a:ext cx="593217" cy="606933"/>
                  </a:xfrm>
                  <a:custGeom>
                    <a:avLst/>
                    <a:gdLst>
                      <a:gd name="connsiteX0" fmla="*/ 592550 w 593217"/>
                      <a:gd name="connsiteY0" fmla="*/ 0 h 606933"/>
                      <a:gd name="connsiteX1" fmla="*/ 592646 w 593217"/>
                      <a:gd name="connsiteY1" fmla="*/ 58769 h 606933"/>
                      <a:gd name="connsiteX2" fmla="*/ 593217 w 593217"/>
                      <a:gd name="connsiteY2" fmla="*/ 264319 h 606933"/>
                      <a:gd name="connsiteX3" fmla="*/ 120015 w 593217"/>
                      <a:gd name="connsiteY3" fmla="*/ 537972 h 606933"/>
                      <a:gd name="connsiteX4" fmla="*/ 108204 w 593217"/>
                      <a:gd name="connsiteY4" fmla="*/ 532638 h 606933"/>
                      <a:gd name="connsiteX5" fmla="*/ 18288 w 593217"/>
                      <a:gd name="connsiteY5" fmla="*/ 584454 h 606933"/>
                      <a:gd name="connsiteX6" fmla="*/ 18288 w 593217"/>
                      <a:gd name="connsiteY6" fmla="*/ 596741 h 606933"/>
                      <a:gd name="connsiteX7" fmla="*/ 476 w 593217"/>
                      <a:gd name="connsiteY7" fmla="*/ 606933 h 606933"/>
                      <a:gd name="connsiteX8" fmla="*/ 0 w 593217"/>
                      <a:gd name="connsiteY8" fmla="*/ 401384 h 606933"/>
                      <a:gd name="connsiteX9" fmla="*/ 118396 w 593217"/>
                      <a:gd name="connsiteY9" fmla="*/ 274130 h 606933"/>
                      <a:gd name="connsiteX10" fmla="*/ 118586 w 593217"/>
                      <a:gd name="connsiteY10" fmla="*/ 332804 h 606933"/>
                      <a:gd name="connsiteX11" fmla="*/ 236887 w 593217"/>
                      <a:gd name="connsiteY11" fmla="*/ 205550 h 606933"/>
                      <a:gd name="connsiteX12" fmla="*/ 237077 w 593217"/>
                      <a:gd name="connsiteY12" fmla="*/ 264319 h 606933"/>
                      <a:gd name="connsiteX13" fmla="*/ 355473 w 593217"/>
                      <a:gd name="connsiteY13" fmla="*/ 137065 h 606933"/>
                      <a:gd name="connsiteX14" fmla="*/ 355664 w 593217"/>
                      <a:gd name="connsiteY14" fmla="*/ 195739 h 606933"/>
                      <a:gd name="connsiteX15" fmla="*/ 473964 w 593217"/>
                      <a:gd name="connsiteY15" fmla="*/ 68485 h 606933"/>
                      <a:gd name="connsiteX16" fmla="*/ 474155 w 593217"/>
                      <a:gd name="connsiteY16" fmla="*/ 127254 h 606933"/>
                      <a:gd name="connsiteX17" fmla="*/ 592550 w 593217"/>
                      <a:gd name="connsiteY17" fmla="*/ 0 h 606933"/>
                      <a:gd name="connsiteX18" fmla="*/ 592550 w 593217"/>
                      <a:gd name="connsiteY18" fmla="*/ 0 h 606933"/>
                      <a:gd name="connsiteX19" fmla="*/ 592550 w 593217"/>
                      <a:gd name="connsiteY19" fmla="*/ 0 h 6069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593217" h="606933">
                        <a:moveTo>
                          <a:pt x="592550" y="0"/>
                        </a:moveTo>
                        <a:lnTo>
                          <a:pt x="592646" y="58769"/>
                        </a:lnTo>
                        <a:lnTo>
                          <a:pt x="593217" y="264319"/>
                        </a:lnTo>
                        <a:lnTo>
                          <a:pt x="120015" y="537972"/>
                        </a:lnTo>
                        <a:lnTo>
                          <a:pt x="108204" y="532638"/>
                        </a:lnTo>
                        <a:lnTo>
                          <a:pt x="18288" y="584454"/>
                        </a:lnTo>
                        <a:lnTo>
                          <a:pt x="18288" y="596741"/>
                        </a:lnTo>
                        <a:lnTo>
                          <a:pt x="476" y="606933"/>
                        </a:lnTo>
                        <a:lnTo>
                          <a:pt x="0" y="401384"/>
                        </a:lnTo>
                        <a:lnTo>
                          <a:pt x="118396" y="274130"/>
                        </a:lnTo>
                        <a:lnTo>
                          <a:pt x="118586" y="332804"/>
                        </a:lnTo>
                        <a:lnTo>
                          <a:pt x="236887" y="205550"/>
                        </a:lnTo>
                        <a:lnTo>
                          <a:pt x="237077" y="264319"/>
                        </a:lnTo>
                        <a:lnTo>
                          <a:pt x="355473" y="137065"/>
                        </a:lnTo>
                        <a:lnTo>
                          <a:pt x="355664" y="195739"/>
                        </a:lnTo>
                        <a:lnTo>
                          <a:pt x="473964" y="68485"/>
                        </a:lnTo>
                        <a:lnTo>
                          <a:pt x="474155" y="127254"/>
                        </a:lnTo>
                        <a:lnTo>
                          <a:pt x="592550" y="0"/>
                        </a:lnTo>
                        <a:lnTo>
                          <a:pt x="592550" y="0"/>
                        </a:lnTo>
                        <a:lnTo>
                          <a:pt x="592550" y="0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4" name="Freihandform: Form 1303">
                    <a:extLst>
                      <a:ext uri="{FF2B5EF4-FFF2-40B4-BE49-F238E27FC236}">
                        <a16:creationId xmlns:a16="http://schemas.microsoft.com/office/drawing/2014/main" id="{0F7777E8-66CC-6A99-5B4A-DDA279092CD2}"/>
                      </a:ext>
                    </a:extLst>
                  </p:cNvPr>
                  <p:cNvSpPr/>
                  <p:nvPr/>
                </p:nvSpPr>
                <p:spPr>
                  <a:xfrm>
                    <a:off x="8159587" y="4023931"/>
                    <a:ext cx="101726" cy="101726"/>
                  </a:xfrm>
                  <a:custGeom>
                    <a:avLst/>
                    <a:gdLst>
                      <a:gd name="connsiteX0" fmla="*/ 0 w 101726"/>
                      <a:gd name="connsiteY0" fmla="*/ 0 h 101726"/>
                      <a:gd name="connsiteX1" fmla="*/ 0 w 101726"/>
                      <a:gd name="connsiteY1" fmla="*/ 43624 h 101726"/>
                      <a:gd name="connsiteX2" fmla="*/ 101727 w 101726"/>
                      <a:gd name="connsiteY2" fmla="*/ 101727 h 101726"/>
                      <a:gd name="connsiteX3" fmla="*/ 101727 w 101726"/>
                      <a:gd name="connsiteY3" fmla="*/ 58102 h 101726"/>
                      <a:gd name="connsiteX4" fmla="*/ 0 w 101726"/>
                      <a:gd name="connsiteY4" fmla="*/ 0 h 101726"/>
                      <a:gd name="connsiteX5" fmla="*/ 0 w 101726"/>
                      <a:gd name="connsiteY5" fmla="*/ 0 h 101726"/>
                      <a:gd name="connsiteX6" fmla="*/ 0 w 101726"/>
                      <a:gd name="connsiteY6" fmla="*/ 0 h 101726"/>
                      <a:gd name="connsiteX7" fmla="*/ 0 w 101726"/>
                      <a:gd name="connsiteY7" fmla="*/ 0 h 101726"/>
                      <a:gd name="connsiteX8" fmla="*/ 0 w 101726"/>
                      <a:gd name="connsiteY8" fmla="*/ 0 h 101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6" h="101726">
                        <a:moveTo>
                          <a:pt x="0" y="0"/>
                        </a:moveTo>
                        <a:lnTo>
                          <a:pt x="0" y="43624"/>
                        </a:lnTo>
                        <a:lnTo>
                          <a:pt x="101727" y="101727"/>
                        </a:lnTo>
                        <a:lnTo>
                          <a:pt x="101727" y="5810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6667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5" name="Freihandform: Form 1304">
                    <a:extLst>
                      <a:ext uri="{FF2B5EF4-FFF2-40B4-BE49-F238E27FC236}">
                        <a16:creationId xmlns:a16="http://schemas.microsoft.com/office/drawing/2014/main" id="{0A41F316-AD42-DF48-534C-84FBA9E482A2}"/>
                      </a:ext>
                    </a:extLst>
                  </p:cNvPr>
                  <p:cNvSpPr/>
                  <p:nvPr/>
                </p:nvSpPr>
                <p:spPr>
                  <a:xfrm>
                    <a:off x="8159587" y="4045648"/>
                    <a:ext cx="101726" cy="80009"/>
                  </a:xfrm>
                  <a:custGeom>
                    <a:avLst/>
                    <a:gdLst>
                      <a:gd name="connsiteX0" fmla="*/ 0 w 101726"/>
                      <a:gd name="connsiteY0" fmla="*/ 21812 h 80009"/>
                      <a:gd name="connsiteX1" fmla="*/ 38100 w 101726"/>
                      <a:gd name="connsiteY1" fmla="*/ 0 h 80009"/>
                      <a:gd name="connsiteX2" fmla="*/ 101727 w 101726"/>
                      <a:gd name="connsiteY2" fmla="*/ 36385 h 80009"/>
                      <a:gd name="connsiteX3" fmla="*/ 101727 w 101726"/>
                      <a:gd name="connsiteY3" fmla="*/ 80010 h 80009"/>
                      <a:gd name="connsiteX4" fmla="*/ 0 w 101726"/>
                      <a:gd name="connsiteY4" fmla="*/ 21812 h 80009"/>
                      <a:gd name="connsiteX5" fmla="*/ 0 w 101726"/>
                      <a:gd name="connsiteY5" fmla="*/ 21812 h 80009"/>
                      <a:gd name="connsiteX6" fmla="*/ 0 w 101726"/>
                      <a:gd name="connsiteY6" fmla="*/ 21812 h 80009"/>
                      <a:gd name="connsiteX7" fmla="*/ 0 w 101726"/>
                      <a:gd name="connsiteY7" fmla="*/ 21812 h 80009"/>
                      <a:gd name="connsiteX8" fmla="*/ 0 w 101726"/>
                      <a:gd name="connsiteY8" fmla="*/ 21812 h 800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6" h="80009">
                        <a:moveTo>
                          <a:pt x="0" y="21812"/>
                        </a:moveTo>
                        <a:lnTo>
                          <a:pt x="38100" y="0"/>
                        </a:lnTo>
                        <a:lnTo>
                          <a:pt x="101727" y="36385"/>
                        </a:lnTo>
                        <a:lnTo>
                          <a:pt x="101727" y="80010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6" name="Freihandform: Form 1305">
                    <a:extLst>
                      <a:ext uri="{FF2B5EF4-FFF2-40B4-BE49-F238E27FC236}">
                        <a16:creationId xmlns:a16="http://schemas.microsoft.com/office/drawing/2014/main" id="{A6967D2A-813B-429D-F5EE-1F3BF8DCB91E}"/>
                      </a:ext>
                    </a:extLst>
                  </p:cNvPr>
                  <p:cNvSpPr/>
                  <p:nvPr/>
                </p:nvSpPr>
                <p:spPr>
                  <a:xfrm>
                    <a:off x="8273888" y="4089082"/>
                    <a:ext cx="101726" cy="102870"/>
                  </a:xfrm>
                  <a:custGeom>
                    <a:avLst/>
                    <a:gdLst>
                      <a:gd name="connsiteX0" fmla="*/ 0 w 101726"/>
                      <a:gd name="connsiteY0" fmla="*/ 0 h 102870"/>
                      <a:gd name="connsiteX1" fmla="*/ 0 w 101726"/>
                      <a:gd name="connsiteY1" fmla="*/ 44101 h 102870"/>
                      <a:gd name="connsiteX2" fmla="*/ 101727 w 101726"/>
                      <a:gd name="connsiteY2" fmla="*/ 102870 h 102870"/>
                      <a:gd name="connsiteX3" fmla="*/ 101727 w 101726"/>
                      <a:gd name="connsiteY3" fmla="*/ 58769 h 102870"/>
                      <a:gd name="connsiteX4" fmla="*/ 0 w 101726"/>
                      <a:gd name="connsiteY4" fmla="*/ 0 h 102870"/>
                      <a:gd name="connsiteX5" fmla="*/ 0 w 101726"/>
                      <a:gd name="connsiteY5" fmla="*/ 0 h 102870"/>
                      <a:gd name="connsiteX6" fmla="*/ 0 w 101726"/>
                      <a:gd name="connsiteY6" fmla="*/ 0 h 102870"/>
                      <a:gd name="connsiteX7" fmla="*/ 0 w 101726"/>
                      <a:gd name="connsiteY7" fmla="*/ 0 h 102870"/>
                      <a:gd name="connsiteX8" fmla="*/ 0 w 101726"/>
                      <a:gd name="connsiteY8" fmla="*/ 0 h 1028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6" h="102870">
                        <a:moveTo>
                          <a:pt x="0" y="0"/>
                        </a:moveTo>
                        <a:lnTo>
                          <a:pt x="0" y="44101"/>
                        </a:lnTo>
                        <a:lnTo>
                          <a:pt x="101727" y="102870"/>
                        </a:lnTo>
                        <a:lnTo>
                          <a:pt x="101727" y="5876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6667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7" name="Freihandform: Form 1306">
                    <a:extLst>
                      <a:ext uri="{FF2B5EF4-FFF2-40B4-BE49-F238E27FC236}">
                        <a16:creationId xmlns:a16="http://schemas.microsoft.com/office/drawing/2014/main" id="{473FFAF8-6CBA-A29E-FE03-B0B358BCCF67}"/>
                      </a:ext>
                    </a:extLst>
                  </p:cNvPr>
                  <p:cNvSpPr/>
                  <p:nvPr/>
                </p:nvSpPr>
                <p:spPr>
                  <a:xfrm>
                    <a:off x="8273888" y="4110799"/>
                    <a:ext cx="101726" cy="81153"/>
                  </a:xfrm>
                  <a:custGeom>
                    <a:avLst/>
                    <a:gdLst>
                      <a:gd name="connsiteX0" fmla="*/ 0 w 101726"/>
                      <a:gd name="connsiteY0" fmla="*/ 22098 h 81153"/>
                      <a:gd name="connsiteX1" fmla="*/ 38195 w 101726"/>
                      <a:gd name="connsiteY1" fmla="*/ 0 h 81153"/>
                      <a:gd name="connsiteX2" fmla="*/ 101727 w 101726"/>
                      <a:gd name="connsiteY2" fmla="*/ 36862 h 81153"/>
                      <a:gd name="connsiteX3" fmla="*/ 101727 w 101726"/>
                      <a:gd name="connsiteY3" fmla="*/ 81153 h 81153"/>
                      <a:gd name="connsiteX4" fmla="*/ 0 w 101726"/>
                      <a:gd name="connsiteY4" fmla="*/ 22098 h 81153"/>
                      <a:gd name="connsiteX5" fmla="*/ 0 w 101726"/>
                      <a:gd name="connsiteY5" fmla="*/ 22098 h 81153"/>
                      <a:gd name="connsiteX6" fmla="*/ 0 w 101726"/>
                      <a:gd name="connsiteY6" fmla="*/ 22098 h 81153"/>
                      <a:gd name="connsiteX7" fmla="*/ 0 w 101726"/>
                      <a:gd name="connsiteY7" fmla="*/ 22098 h 81153"/>
                      <a:gd name="connsiteX8" fmla="*/ 0 w 101726"/>
                      <a:gd name="connsiteY8" fmla="*/ 22098 h 81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6" h="81153">
                        <a:moveTo>
                          <a:pt x="0" y="22098"/>
                        </a:moveTo>
                        <a:lnTo>
                          <a:pt x="38195" y="0"/>
                        </a:lnTo>
                        <a:lnTo>
                          <a:pt x="101727" y="36862"/>
                        </a:lnTo>
                        <a:lnTo>
                          <a:pt x="101727" y="81153"/>
                        </a:lnTo>
                        <a:lnTo>
                          <a:pt x="0" y="22098"/>
                        </a:lnTo>
                        <a:lnTo>
                          <a:pt x="0" y="22098"/>
                        </a:lnTo>
                        <a:lnTo>
                          <a:pt x="0" y="22098"/>
                        </a:lnTo>
                        <a:lnTo>
                          <a:pt x="0" y="22098"/>
                        </a:lnTo>
                        <a:lnTo>
                          <a:pt x="0" y="22098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8" name="Freihandform: Form 1307">
                    <a:extLst>
                      <a:ext uri="{FF2B5EF4-FFF2-40B4-BE49-F238E27FC236}">
                        <a16:creationId xmlns:a16="http://schemas.microsoft.com/office/drawing/2014/main" id="{3CCC9E15-71AD-FF6D-1344-959027D3AD5F}"/>
                      </a:ext>
                    </a:extLst>
                  </p:cNvPr>
                  <p:cNvSpPr/>
                  <p:nvPr/>
                </p:nvSpPr>
                <p:spPr>
                  <a:xfrm>
                    <a:off x="8388187" y="4155375"/>
                    <a:ext cx="101727" cy="101727"/>
                  </a:xfrm>
                  <a:custGeom>
                    <a:avLst/>
                    <a:gdLst>
                      <a:gd name="connsiteX0" fmla="*/ 0 w 101727"/>
                      <a:gd name="connsiteY0" fmla="*/ 0 h 101727"/>
                      <a:gd name="connsiteX1" fmla="*/ 0 w 101727"/>
                      <a:gd name="connsiteY1" fmla="*/ 43625 h 101727"/>
                      <a:gd name="connsiteX2" fmla="*/ 101727 w 101727"/>
                      <a:gd name="connsiteY2" fmla="*/ 101727 h 101727"/>
                      <a:gd name="connsiteX3" fmla="*/ 101727 w 101727"/>
                      <a:gd name="connsiteY3" fmla="*/ 58103 h 101727"/>
                      <a:gd name="connsiteX4" fmla="*/ 0 w 101727"/>
                      <a:gd name="connsiteY4" fmla="*/ 0 h 101727"/>
                      <a:gd name="connsiteX5" fmla="*/ 0 w 101727"/>
                      <a:gd name="connsiteY5" fmla="*/ 0 h 101727"/>
                      <a:gd name="connsiteX6" fmla="*/ 0 w 101727"/>
                      <a:gd name="connsiteY6" fmla="*/ 0 h 101727"/>
                      <a:gd name="connsiteX7" fmla="*/ 0 w 101727"/>
                      <a:gd name="connsiteY7" fmla="*/ 0 h 101727"/>
                      <a:gd name="connsiteX8" fmla="*/ 0 w 101727"/>
                      <a:gd name="connsiteY8" fmla="*/ 0 h 1017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7" h="101727">
                        <a:moveTo>
                          <a:pt x="0" y="0"/>
                        </a:moveTo>
                        <a:lnTo>
                          <a:pt x="0" y="43625"/>
                        </a:lnTo>
                        <a:lnTo>
                          <a:pt x="101727" y="101727"/>
                        </a:lnTo>
                        <a:lnTo>
                          <a:pt x="101727" y="58103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6667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9" name="Freihandform: Form 1308">
                    <a:extLst>
                      <a:ext uri="{FF2B5EF4-FFF2-40B4-BE49-F238E27FC236}">
                        <a16:creationId xmlns:a16="http://schemas.microsoft.com/office/drawing/2014/main" id="{DC47405D-43A2-5CE7-6158-8CAE48708AD1}"/>
                      </a:ext>
                    </a:extLst>
                  </p:cNvPr>
                  <p:cNvSpPr/>
                  <p:nvPr/>
                </p:nvSpPr>
                <p:spPr>
                  <a:xfrm>
                    <a:off x="8388187" y="4177092"/>
                    <a:ext cx="101727" cy="80010"/>
                  </a:xfrm>
                  <a:custGeom>
                    <a:avLst/>
                    <a:gdLst>
                      <a:gd name="connsiteX0" fmla="*/ 0 w 101727"/>
                      <a:gd name="connsiteY0" fmla="*/ 21812 h 80010"/>
                      <a:gd name="connsiteX1" fmla="*/ 38195 w 101727"/>
                      <a:gd name="connsiteY1" fmla="*/ 0 h 80010"/>
                      <a:gd name="connsiteX2" fmla="*/ 101727 w 101727"/>
                      <a:gd name="connsiteY2" fmla="*/ 36386 h 80010"/>
                      <a:gd name="connsiteX3" fmla="*/ 101727 w 101727"/>
                      <a:gd name="connsiteY3" fmla="*/ 80010 h 80010"/>
                      <a:gd name="connsiteX4" fmla="*/ 0 w 101727"/>
                      <a:gd name="connsiteY4" fmla="*/ 21812 h 80010"/>
                      <a:gd name="connsiteX5" fmla="*/ 0 w 101727"/>
                      <a:gd name="connsiteY5" fmla="*/ 21812 h 80010"/>
                      <a:gd name="connsiteX6" fmla="*/ 0 w 101727"/>
                      <a:gd name="connsiteY6" fmla="*/ 21812 h 80010"/>
                      <a:gd name="connsiteX7" fmla="*/ 0 w 101727"/>
                      <a:gd name="connsiteY7" fmla="*/ 21812 h 80010"/>
                      <a:gd name="connsiteX8" fmla="*/ 0 w 101727"/>
                      <a:gd name="connsiteY8" fmla="*/ 21812 h 80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7" h="80010">
                        <a:moveTo>
                          <a:pt x="0" y="21812"/>
                        </a:moveTo>
                        <a:lnTo>
                          <a:pt x="38195" y="0"/>
                        </a:lnTo>
                        <a:lnTo>
                          <a:pt x="101727" y="36386"/>
                        </a:lnTo>
                        <a:lnTo>
                          <a:pt x="101727" y="80010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lnTo>
                          <a:pt x="0" y="21812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0" name="Freihandform: Form 1309">
                    <a:extLst>
                      <a:ext uri="{FF2B5EF4-FFF2-40B4-BE49-F238E27FC236}">
                        <a16:creationId xmlns:a16="http://schemas.microsoft.com/office/drawing/2014/main" id="{7FC8311A-1F2F-11DD-5C96-9F7991DE1DA8}"/>
                      </a:ext>
                    </a:extLst>
                  </p:cNvPr>
                  <p:cNvSpPr/>
                  <p:nvPr/>
                </p:nvSpPr>
                <p:spPr>
                  <a:xfrm>
                    <a:off x="8756234" y="4023931"/>
                    <a:ext cx="101727" cy="101726"/>
                  </a:xfrm>
                  <a:custGeom>
                    <a:avLst/>
                    <a:gdLst>
                      <a:gd name="connsiteX0" fmla="*/ 101727 w 101727"/>
                      <a:gd name="connsiteY0" fmla="*/ 0 h 101726"/>
                      <a:gd name="connsiteX1" fmla="*/ 101727 w 101727"/>
                      <a:gd name="connsiteY1" fmla="*/ 43624 h 101726"/>
                      <a:gd name="connsiteX2" fmla="*/ 0 w 101727"/>
                      <a:gd name="connsiteY2" fmla="*/ 101727 h 101726"/>
                      <a:gd name="connsiteX3" fmla="*/ 0 w 101727"/>
                      <a:gd name="connsiteY3" fmla="*/ 58102 h 101726"/>
                      <a:gd name="connsiteX4" fmla="*/ 101727 w 101727"/>
                      <a:gd name="connsiteY4" fmla="*/ 0 h 101726"/>
                      <a:gd name="connsiteX5" fmla="*/ 101727 w 101727"/>
                      <a:gd name="connsiteY5" fmla="*/ 0 h 101726"/>
                      <a:gd name="connsiteX6" fmla="*/ 101727 w 101727"/>
                      <a:gd name="connsiteY6" fmla="*/ 0 h 101726"/>
                      <a:gd name="connsiteX7" fmla="*/ 101727 w 101727"/>
                      <a:gd name="connsiteY7" fmla="*/ 0 h 101726"/>
                      <a:gd name="connsiteX8" fmla="*/ 101727 w 101727"/>
                      <a:gd name="connsiteY8" fmla="*/ 0 h 101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7" h="101726">
                        <a:moveTo>
                          <a:pt x="101727" y="0"/>
                        </a:moveTo>
                        <a:lnTo>
                          <a:pt x="101727" y="43624"/>
                        </a:lnTo>
                        <a:lnTo>
                          <a:pt x="0" y="101727"/>
                        </a:lnTo>
                        <a:lnTo>
                          <a:pt x="0" y="58102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1" name="Freihandform: Form 1310">
                    <a:extLst>
                      <a:ext uri="{FF2B5EF4-FFF2-40B4-BE49-F238E27FC236}">
                        <a16:creationId xmlns:a16="http://schemas.microsoft.com/office/drawing/2014/main" id="{67ADF0A1-F8EB-327C-AC49-850238C10B88}"/>
                      </a:ext>
                    </a:extLst>
                  </p:cNvPr>
                  <p:cNvSpPr/>
                  <p:nvPr/>
                </p:nvSpPr>
                <p:spPr>
                  <a:xfrm>
                    <a:off x="8756234" y="4045648"/>
                    <a:ext cx="101727" cy="80009"/>
                  </a:xfrm>
                  <a:custGeom>
                    <a:avLst/>
                    <a:gdLst>
                      <a:gd name="connsiteX0" fmla="*/ 101727 w 101727"/>
                      <a:gd name="connsiteY0" fmla="*/ 21812 h 80009"/>
                      <a:gd name="connsiteX1" fmla="*/ 63627 w 101727"/>
                      <a:gd name="connsiteY1" fmla="*/ 0 h 80009"/>
                      <a:gd name="connsiteX2" fmla="*/ 0 w 101727"/>
                      <a:gd name="connsiteY2" fmla="*/ 36385 h 80009"/>
                      <a:gd name="connsiteX3" fmla="*/ 0 w 101727"/>
                      <a:gd name="connsiteY3" fmla="*/ 80010 h 80009"/>
                      <a:gd name="connsiteX4" fmla="*/ 101727 w 101727"/>
                      <a:gd name="connsiteY4" fmla="*/ 21812 h 80009"/>
                      <a:gd name="connsiteX5" fmla="*/ 101727 w 101727"/>
                      <a:gd name="connsiteY5" fmla="*/ 21812 h 80009"/>
                      <a:gd name="connsiteX6" fmla="*/ 101727 w 101727"/>
                      <a:gd name="connsiteY6" fmla="*/ 21812 h 80009"/>
                      <a:gd name="connsiteX7" fmla="*/ 101727 w 101727"/>
                      <a:gd name="connsiteY7" fmla="*/ 21812 h 80009"/>
                      <a:gd name="connsiteX8" fmla="*/ 101727 w 101727"/>
                      <a:gd name="connsiteY8" fmla="*/ 21812 h 800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7" h="80009">
                        <a:moveTo>
                          <a:pt x="101727" y="21812"/>
                        </a:moveTo>
                        <a:lnTo>
                          <a:pt x="63627" y="0"/>
                        </a:lnTo>
                        <a:lnTo>
                          <a:pt x="0" y="36385"/>
                        </a:lnTo>
                        <a:lnTo>
                          <a:pt x="0" y="80010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2" name="Freihandform: Form 1311">
                    <a:extLst>
                      <a:ext uri="{FF2B5EF4-FFF2-40B4-BE49-F238E27FC236}">
                        <a16:creationId xmlns:a16="http://schemas.microsoft.com/office/drawing/2014/main" id="{3BED4238-7557-E107-F31E-06C138BE661C}"/>
                      </a:ext>
                    </a:extLst>
                  </p:cNvPr>
                  <p:cNvSpPr/>
                  <p:nvPr/>
                </p:nvSpPr>
                <p:spPr>
                  <a:xfrm>
                    <a:off x="8641933" y="4089082"/>
                    <a:ext cx="100584" cy="102870"/>
                  </a:xfrm>
                  <a:custGeom>
                    <a:avLst/>
                    <a:gdLst>
                      <a:gd name="connsiteX0" fmla="*/ 100584 w 100584"/>
                      <a:gd name="connsiteY0" fmla="*/ 0 h 102870"/>
                      <a:gd name="connsiteX1" fmla="*/ 100584 w 100584"/>
                      <a:gd name="connsiteY1" fmla="*/ 44101 h 102870"/>
                      <a:gd name="connsiteX2" fmla="*/ 0 w 100584"/>
                      <a:gd name="connsiteY2" fmla="*/ 102870 h 102870"/>
                      <a:gd name="connsiteX3" fmla="*/ 0 w 100584"/>
                      <a:gd name="connsiteY3" fmla="*/ 58769 h 102870"/>
                      <a:gd name="connsiteX4" fmla="*/ 100584 w 100584"/>
                      <a:gd name="connsiteY4" fmla="*/ 0 h 102870"/>
                      <a:gd name="connsiteX5" fmla="*/ 100584 w 100584"/>
                      <a:gd name="connsiteY5" fmla="*/ 0 h 102870"/>
                      <a:gd name="connsiteX6" fmla="*/ 100584 w 100584"/>
                      <a:gd name="connsiteY6" fmla="*/ 0 h 102870"/>
                      <a:gd name="connsiteX7" fmla="*/ 100584 w 100584"/>
                      <a:gd name="connsiteY7" fmla="*/ 0 h 102870"/>
                      <a:gd name="connsiteX8" fmla="*/ 100584 w 100584"/>
                      <a:gd name="connsiteY8" fmla="*/ 0 h 1028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0584" h="102870">
                        <a:moveTo>
                          <a:pt x="100584" y="0"/>
                        </a:moveTo>
                        <a:lnTo>
                          <a:pt x="100584" y="44101"/>
                        </a:lnTo>
                        <a:lnTo>
                          <a:pt x="0" y="102870"/>
                        </a:lnTo>
                        <a:lnTo>
                          <a:pt x="0" y="58769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3" name="Freihandform: Form 1312">
                    <a:extLst>
                      <a:ext uri="{FF2B5EF4-FFF2-40B4-BE49-F238E27FC236}">
                        <a16:creationId xmlns:a16="http://schemas.microsoft.com/office/drawing/2014/main" id="{7143B945-4D07-46A4-4905-EBAA0743BB74}"/>
                      </a:ext>
                    </a:extLst>
                  </p:cNvPr>
                  <p:cNvSpPr/>
                  <p:nvPr/>
                </p:nvSpPr>
                <p:spPr>
                  <a:xfrm>
                    <a:off x="8641933" y="4110799"/>
                    <a:ext cx="100584" cy="81153"/>
                  </a:xfrm>
                  <a:custGeom>
                    <a:avLst/>
                    <a:gdLst>
                      <a:gd name="connsiteX0" fmla="*/ 100584 w 100584"/>
                      <a:gd name="connsiteY0" fmla="*/ 22098 h 81153"/>
                      <a:gd name="connsiteX1" fmla="*/ 62865 w 100584"/>
                      <a:gd name="connsiteY1" fmla="*/ 0 h 81153"/>
                      <a:gd name="connsiteX2" fmla="*/ 0 w 100584"/>
                      <a:gd name="connsiteY2" fmla="*/ 36862 h 81153"/>
                      <a:gd name="connsiteX3" fmla="*/ 0 w 100584"/>
                      <a:gd name="connsiteY3" fmla="*/ 81153 h 81153"/>
                      <a:gd name="connsiteX4" fmla="*/ 100584 w 100584"/>
                      <a:gd name="connsiteY4" fmla="*/ 22098 h 81153"/>
                      <a:gd name="connsiteX5" fmla="*/ 100584 w 100584"/>
                      <a:gd name="connsiteY5" fmla="*/ 22098 h 81153"/>
                      <a:gd name="connsiteX6" fmla="*/ 100584 w 100584"/>
                      <a:gd name="connsiteY6" fmla="*/ 22098 h 81153"/>
                      <a:gd name="connsiteX7" fmla="*/ 100584 w 100584"/>
                      <a:gd name="connsiteY7" fmla="*/ 22098 h 81153"/>
                      <a:gd name="connsiteX8" fmla="*/ 100584 w 100584"/>
                      <a:gd name="connsiteY8" fmla="*/ 22098 h 81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0584" h="81153">
                        <a:moveTo>
                          <a:pt x="100584" y="22098"/>
                        </a:moveTo>
                        <a:lnTo>
                          <a:pt x="62865" y="0"/>
                        </a:lnTo>
                        <a:lnTo>
                          <a:pt x="0" y="36862"/>
                        </a:lnTo>
                        <a:lnTo>
                          <a:pt x="0" y="81153"/>
                        </a:lnTo>
                        <a:lnTo>
                          <a:pt x="100584" y="22098"/>
                        </a:lnTo>
                        <a:lnTo>
                          <a:pt x="100584" y="22098"/>
                        </a:lnTo>
                        <a:lnTo>
                          <a:pt x="100584" y="22098"/>
                        </a:lnTo>
                        <a:lnTo>
                          <a:pt x="100584" y="22098"/>
                        </a:lnTo>
                        <a:lnTo>
                          <a:pt x="100584" y="22098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4" name="Freihandform: Form 1313">
                    <a:extLst>
                      <a:ext uri="{FF2B5EF4-FFF2-40B4-BE49-F238E27FC236}">
                        <a16:creationId xmlns:a16="http://schemas.microsoft.com/office/drawing/2014/main" id="{446909ED-CEB3-9199-568D-0190AF15B368}"/>
                      </a:ext>
                    </a:extLst>
                  </p:cNvPr>
                  <p:cNvSpPr/>
                  <p:nvPr/>
                </p:nvSpPr>
                <p:spPr>
                  <a:xfrm>
                    <a:off x="8983690" y="3892486"/>
                    <a:ext cx="101727" cy="101726"/>
                  </a:xfrm>
                  <a:custGeom>
                    <a:avLst/>
                    <a:gdLst>
                      <a:gd name="connsiteX0" fmla="*/ 101727 w 101727"/>
                      <a:gd name="connsiteY0" fmla="*/ 0 h 101726"/>
                      <a:gd name="connsiteX1" fmla="*/ 101727 w 101727"/>
                      <a:gd name="connsiteY1" fmla="*/ 43625 h 101726"/>
                      <a:gd name="connsiteX2" fmla="*/ 0 w 101727"/>
                      <a:gd name="connsiteY2" fmla="*/ 101727 h 101726"/>
                      <a:gd name="connsiteX3" fmla="*/ 0 w 101727"/>
                      <a:gd name="connsiteY3" fmla="*/ 58102 h 101726"/>
                      <a:gd name="connsiteX4" fmla="*/ 101727 w 101727"/>
                      <a:gd name="connsiteY4" fmla="*/ 0 h 101726"/>
                      <a:gd name="connsiteX5" fmla="*/ 101727 w 101727"/>
                      <a:gd name="connsiteY5" fmla="*/ 0 h 101726"/>
                      <a:gd name="connsiteX6" fmla="*/ 101727 w 101727"/>
                      <a:gd name="connsiteY6" fmla="*/ 0 h 101726"/>
                      <a:gd name="connsiteX7" fmla="*/ 101727 w 101727"/>
                      <a:gd name="connsiteY7" fmla="*/ 0 h 101726"/>
                      <a:gd name="connsiteX8" fmla="*/ 101727 w 101727"/>
                      <a:gd name="connsiteY8" fmla="*/ 0 h 101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7" h="101726">
                        <a:moveTo>
                          <a:pt x="101727" y="0"/>
                        </a:moveTo>
                        <a:lnTo>
                          <a:pt x="101727" y="43625"/>
                        </a:lnTo>
                        <a:lnTo>
                          <a:pt x="0" y="101727"/>
                        </a:lnTo>
                        <a:lnTo>
                          <a:pt x="0" y="58102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lnTo>
                          <a:pt x="101727" y="0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5" name="Freihandform: Form 1314">
                    <a:extLst>
                      <a:ext uri="{FF2B5EF4-FFF2-40B4-BE49-F238E27FC236}">
                        <a16:creationId xmlns:a16="http://schemas.microsoft.com/office/drawing/2014/main" id="{CE9EC6A6-410D-049F-5D78-4531255E24D6}"/>
                      </a:ext>
                    </a:extLst>
                  </p:cNvPr>
                  <p:cNvSpPr/>
                  <p:nvPr/>
                </p:nvSpPr>
                <p:spPr>
                  <a:xfrm>
                    <a:off x="8983690" y="3914203"/>
                    <a:ext cx="101727" cy="80009"/>
                  </a:xfrm>
                  <a:custGeom>
                    <a:avLst/>
                    <a:gdLst>
                      <a:gd name="connsiteX0" fmla="*/ 101727 w 101727"/>
                      <a:gd name="connsiteY0" fmla="*/ 21812 h 80009"/>
                      <a:gd name="connsiteX1" fmla="*/ 63532 w 101727"/>
                      <a:gd name="connsiteY1" fmla="*/ 0 h 80009"/>
                      <a:gd name="connsiteX2" fmla="*/ 0 w 101727"/>
                      <a:gd name="connsiteY2" fmla="*/ 36385 h 80009"/>
                      <a:gd name="connsiteX3" fmla="*/ 0 w 101727"/>
                      <a:gd name="connsiteY3" fmla="*/ 80010 h 80009"/>
                      <a:gd name="connsiteX4" fmla="*/ 101727 w 101727"/>
                      <a:gd name="connsiteY4" fmla="*/ 21812 h 80009"/>
                      <a:gd name="connsiteX5" fmla="*/ 101727 w 101727"/>
                      <a:gd name="connsiteY5" fmla="*/ 21812 h 80009"/>
                      <a:gd name="connsiteX6" fmla="*/ 101727 w 101727"/>
                      <a:gd name="connsiteY6" fmla="*/ 21812 h 80009"/>
                      <a:gd name="connsiteX7" fmla="*/ 101727 w 101727"/>
                      <a:gd name="connsiteY7" fmla="*/ 21812 h 80009"/>
                      <a:gd name="connsiteX8" fmla="*/ 101727 w 101727"/>
                      <a:gd name="connsiteY8" fmla="*/ 21812 h 800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1727" h="80009">
                        <a:moveTo>
                          <a:pt x="101727" y="21812"/>
                        </a:moveTo>
                        <a:lnTo>
                          <a:pt x="63532" y="0"/>
                        </a:lnTo>
                        <a:lnTo>
                          <a:pt x="0" y="36385"/>
                        </a:lnTo>
                        <a:lnTo>
                          <a:pt x="0" y="80010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lnTo>
                          <a:pt x="101727" y="21812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6" name="Freihandform: Form 1315">
                    <a:extLst>
                      <a:ext uri="{FF2B5EF4-FFF2-40B4-BE49-F238E27FC236}">
                        <a16:creationId xmlns:a16="http://schemas.microsoft.com/office/drawing/2014/main" id="{B2D0AB01-B787-CA43-9484-B35B714C3CBF}"/>
                      </a:ext>
                    </a:extLst>
                  </p:cNvPr>
                  <p:cNvSpPr/>
                  <p:nvPr/>
                </p:nvSpPr>
                <p:spPr>
                  <a:xfrm>
                    <a:off x="8870534" y="3957637"/>
                    <a:ext cx="100583" cy="102870"/>
                  </a:xfrm>
                  <a:custGeom>
                    <a:avLst/>
                    <a:gdLst>
                      <a:gd name="connsiteX0" fmla="*/ 100584 w 100583"/>
                      <a:gd name="connsiteY0" fmla="*/ 0 h 102870"/>
                      <a:gd name="connsiteX1" fmla="*/ 100584 w 100583"/>
                      <a:gd name="connsiteY1" fmla="*/ 44101 h 102870"/>
                      <a:gd name="connsiteX2" fmla="*/ 0 w 100583"/>
                      <a:gd name="connsiteY2" fmla="*/ 102870 h 102870"/>
                      <a:gd name="connsiteX3" fmla="*/ 0 w 100583"/>
                      <a:gd name="connsiteY3" fmla="*/ 58769 h 102870"/>
                      <a:gd name="connsiteX4" fmla="*/ 100584 w 100583"/>
                      <a:gd name="connsiteY4" fmla="*/ 0 h 102870"/>
                      <a:gd name="connsiteX5" fmla="*/ 100584 w 100583"/>
                      <a:gd name="connsiteY5" fmla="*/ 0 h 102870"/>
                      <a:gd name="connsiteX6" fmla="*/ 100584 w 100583"/>
                      <a:gd name="connsiteY6" fmla="*/ 0 h 102870"/>
                      <a:gd name="connsiteX7" fmla="*/ 100584 w 100583"/>
                      <a:gd name="connsiteY7" fmla="*/ 0 h 102870"/>
                      <a:gd name="connsiteX8" fmla="*/ 100584 w 100583"/>
                      <a:gd name="connsiteY8" fmla="*/ 0 h 1028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0583" h="102870">
                        <a:moveTo>
                          <a:pt x="100584" y="0"/>
                        </a:moveTo>
                        <a:lnTo>
                          <a:pt x="100584" y="44101"/>
                        </a:lnTo>
                        <a:lnTo>
                          <a:pt x="0" y="102870"/>
                        </a:lnTo>
                        <a:lnTo>
                          <a:pt x="0" y="58769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lnTo>
                          <a:pt x="100584" y="0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7" name="Freihandform: Form 1316">
                    <a:extLst>
                      <a:ext uri="{FF2B5EF4-FFF2-40B4-BE49-F238E27FC236}">
                        <a16:creationId xmlns:a16="http://schemas.microsoft.com/office/drawing/2014/main" id="{9F585DBD-CAB7-07C4-BCB9-76154992D22E}"/>
                      </a:ext>
                    </a:extLst>
                  </p:cNvPr>
                  <p:cNvSpPr/>
                  <p:nvPr/>
                </p:nvSpPr>
                <p:spPr>
                  <a:xfrm>
                    <a:off x="8870534" y="3980496"/>
                    <a:ext cx="100583" cy="80010"/>
                  </a:xfrm>
                  <a:custGeom>
                    <a:avLst/>
                    <a:gdLst>
                      <a:gd name="connsiteX0" fmla="*/ 100584 w 100583"/>
                      <a:gd name="connsiteY0" fmla="*/ 21812 h 80010"/>
                      <a:gd name="connsiteX1" fmla="*/ 62865 w 100583"/>
                      <a:gd name="connsiteY1" fmla="*/ 0 h 80010"/>
                      <a:gd name="connsiteX2" fmla="*/ 0 w 100583"/>
                      <a:gd name="connsiteY2" fmla="*/ 36386 h 80010"/>
                      <a:gd name="connsiteX3" fmla="*/ 0 w 100583"/>
                      <a:gd name="connsiteY3" fmla="*/ 80010 h 80010"/>
                      <a:gd name="connsiteX4" fmla="*/ 100584 w 100583"/>
                      <a:gd name="connsiteY4" fmla="*/ 21812 h 80010"/>
                      <a:gd name="connsiteX5" fmla="*/ 100584 w 100583"/>
                      <a:gd name="connsiteY5" fmla="*/ 21812 h 80010"/>
                      <a:gd name="connsiteX6" fmla="*/ 100584 w 100583"/>
                      <a:gd name="connsiteY6" fmla="*/ 21812 h 80010"/>
                      <a:gd name="connsiteX7" fmla="*/ 100584 w 100583"/>
                      <a:gd name="connsiteY7" fmla="*/ 21812 h 80010"/>
                      <a:gd name="connsiteX8" fmla="*/ 100584 w 100583"/>
                      <a:gd name="connsiteY8" fmla="*/ 21812 h 80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0583" h="80010">
                        <a:moveTo>
                          <a:pt x="100584" y="21812"/>
                        </a:moveTo>
                        <a:lnTo>
                          <a:pt x="62865" y="0"/>
                        </a:lnTo>
                        <a:lnTo>
                          <a:pt x="0" y="36386"/>
                        </a:lnTo>
                        <a:lnTo>
                          <a:pt x="0" y="80010"/>
                        </a:lnTo>
                        <a:lnTo>
                          <a:pt x="100584" y="21812"/>
                        </a:lnTo>
                        <a:lnTo>
                          <a:pt x="100584" y="21812"/>
                        </a:lnTo>
                        <a:lnTo>
                          <a:pt x="100584" y="21812"/>
                        </a:lnTo>
                        <a:lnTo>
                          <a:pt x="100584" y="21812"/>
                        </a:lnTo>
                        <a:lnTo>
                          <a:pt x="100584" y="21812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8" name="Freihandform: Form 1317">
                    <a:extLst>
                      <a:ext uri="{FF2B5EF4-FFF2-40B4-BE49-F238E27FC236}">
                        <a16:creationId xmlns:a16="http://schemas.microsoft.com/office/drawing/2014/main" id="{54690FB9-99AB-83BB-A4A7-CD9FD96CABB9}"/>
                      </a:ext>
                    </a:extLst>
                  </p:cNvPr>
                  <p:cNvSpPr/>
                  <p:nvPr/>
                </p:nvSpPr>
                <p:spPr>
                  <a:xfrm>
                    <a:off x="8617550" y="4155375"/>
                    <a:ext cx="11810" cy="168783"/>
                  </a:xfrm>
                  <a:custGeom>
                    <a:avLst/>
                    <a:gdLst>
                      <a:gd name="connsiteX0" fmla="*/ 11811 w 11810"/>
                      <a:gd name="connsiteY0" fmla="*/ 0 h 168783"/>
                      <a:gd name="connsiteX1" fmla="*/ 11811 w 11810"/>
                      <a:gd name="connsiteY1" fmla="*/ 168783 h 168783"/>
                      <a:gd name="connsiteX2" fmla="*/ 0 w 11810"/>
                      <a:gd name="connsiteY2" fmla="*/ 163449 h 168783"/>
                      <a:gd name="connsiteX3" fmla="*/ 0 w 11810"/>
                      <a:gd name="connsiteY3" fmla="*/ 6858 h 168783"/>
                      <a:gd name="connsiteX4" fmla="*/ 11811 w 11810"/>
                      <a:gd name="connsiteY4" fmla="*/ 0 h 168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10" h="168783">
                        <a:moveTo>
                          <a:pt x="11811" y="0"/>
                        </a:moveTo>
                        <a:lnTo>
                          <a:pt x="11811" y="168783"/>
                        </a:lnTo>
                        <a:lnTo>
                          <a:pt x="0" y="163449"/>
                        </a:lnTo>
                        <a:lnTo>
                          <a:pt x="0" y="6858"/>
                        </a:lnTo>
                        <a:lnTo>
                          <a:pt x="11811" y="0"/>
                        </a:lnTo>
                        <a:close/>
                      </a:path>
                    </a:pathLst>
                  </a:custGeom>
                  <a:solidFill>
                    <a:srgbClr val="66667E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9" name="Freihandform: Form 1318">
                    <a:extLst>
                      <a:ext uri="{FF2B5EF4-FFF2-40B4-BE49-F238E27FC236}">
                        <a16:creationId xmlns:a16="http://schemas.microsoft.com/office/drawing/2014/main" id="{5FF0EC91-0CFC-6B38-3C45-2A0B4D7C02BC}"/>
                      </a:ext>
                    </a:extLst>
                  </p:cNvPr>
                  <p:cNvSpPr/>
                  <p:nvPr/>
                </p:nvSpPr>
                <p:spPr>
                  <a:xfrm>
                    <a:off x="8527633" y="4162233"/>
                    <a:ext cx="89916" cy="208407"/>
                  </a:xfrm>
                  <a:custGeom>
                    <a:avLst/>
                    <a:gdLst>
                      <a:gd name="connsiteX0" fmla="*/ 89916 w 89916"/>
                      <a:gd name="connsiteY0" fmla="*/ 0 h 208407"/>
                      <a:gd name="connsiteX1" fmla="*/ 89916 w 89916"/>
                      <a:gd name="connsiteY1" fmla="*/ 156591 h 208407"/>
                      <a:gd name="connsiteX2" fmla="*/ 0 w 89916"/>
                      <a:gd name="connsiteY2" fmla="*/ 208407 h 208407"/>
                      <a:gd name="connsiteX3" fmla="*/ 0 w 89916"/>
                      <a:gd name="connsiteY3" fmla="*/ 51816 h 208407"/>
                      <a:gd name="connsiteX4" fmla="*/ 89916 w 89916"/>
                      <a:gd name="connsiteY4" fmla="*/ 0 h 2084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916" h="208407">
                        <a:moveTo>
                          <a:pt x="89916" y="0"/>
                        </a:moveTo>
                        <a:lnTo>
                          <a:pt x="89916" y="156591"/>
                        </a:lnTo>
                        <a:lnTo>
                          <a:pt x="0" y="208407"/>
                        </a:lnTo>
                        <a:lnTo>
                          <a:pt x="0" y="51816"/>
                        </a:lnTo>
                        <a:lnTo>
                          <a:pt x="89916" y="0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288" name="Grafik 1070">
                  <a:extLst>
                    <a:ext uri="{FF2B5EF4-FFF2-40B4-BE49-F238E27FC236}">
                      <a16:creationId xmlns:a16="http://schemas.microsoft.com/office/drawing/2014/main" id="{20301DC8-E4EB-42F3-1D2E-36ECB40D3511}"/>
                    </a:ext>
                  </a:extLst>
                </p:cNvPr>
                <p:cNvGrpSpPr/>
                <p:nvPr/>
              </p:nvGrpSpPr>
              <p:grpSpPr>
                <a:xfrm>
                  <a:off x="6532372" y="2190486"/>
                  <a:ext cx="318325" cy="231076"/>
                  <a:chOff x="8454196" y="3753802"/>
                  <a:chExt cx="318325" cy="231076"/>
                </a:xfrm>
              </p:grpSpPr>
              <p:sp>
                <p:nvSpPr>
                  <p:cNvPr id="1295" name="Freihandform: Form 1294">
                    <a:extLst>
                      <a:ext uri="{FF2B5EF4-FFF2-40B4-BE49-F238E27FC236}">
                        <a16:creationId xmlns:a16="http://schemas.microsoft.com/office/drawing/2014/main" id="{B52F12FC-AF7F-3F8A-94CB-9C0F91E22764}"/>
                      </a:ext>
                    </a:extLst>
                  </p:cNvPr>
                  <p:cNvSpPr/>
                  <p:nvPr/>
                </p:nvSpPr>
                <p:spPr>
                  <a:xfrm>
                    <a:off x="8454196" y="3753802"/>
                    <a:ext cx="318325" cy="231076"/>
                  </a:xfrm>
                  <a:custGeom>
                    <a:avLst/>
                    <a:gdLst>
                      <a:gd name="connsiteX0" fmla="*/ 39338 w 318325"/>
                      <a:gd name="connsiteY0" fmla="*/ 0 h 231076"/>
                      <a:gd name="connsiteX1" fmla="*/ 318326 w 318325"/>
                      <a:gd name="connsiteY1" fmla="*/ 161830 h 231076"/>
                      <a:gd name="connsiteX2" fmla="*/ 278987 w 318325"/>
                      <a:gd name="connsiteY2" fmla="*/ 231076 h 231076"/>
                      <a:gd name="connsiteX3" fmla="*/ 0 w 318325"/>
                      <a:gd name="connsiteY3" fmla="*/ 69342 h 231076"/>
                      <a:gd name="connsiteX4" fmla="*/ 39338 w 318325"/>
                      <a:gd name="connsiteY4" fmla="*/ 0 h 231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8325" h="231076">
                        <a:moveTo>
                          <a:pt x="39338" y="0"/>
                        </a:moveTo>
                        <a:lnTo>
                          <a:pt x="318326" y="161830"/>
                        </a:lnTo>
                        <a:lnTo>
                          <a:pt x="278987" y="231076"/>
                        </a:lnTo>
                        <a:lnTo>
                          <a:pt x="0" y="69342"/>
                        </a:lnTo>
                        <a:lnTo>
                          <a:pt x="39338" y="0"/>
                        </a:lnTo>
                        <a:close/>
                      </a:path>
                    </a:pathLst>
                  </a:custGeom>
                  <a:solidFill>
                    <a:srgbClr val="39355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96" name="Freihandform: Form 1295">
                    <a:extLst>
                      <a:ext uri="{FF2B5EF4-FFF2-40B4-BE49-F238E27FC236}">
                        <a16:creationId xmlns:a16="http://schemas.microsoft.com/office/drawing/2014/main" id="{5D4914BE-B182-055C-9EED-15750145F75E}"/>
                      </a:ext>
                    </a:extLst>
                  </p:cNvPr>
                  <p:cNvSpPr/>
                  <p:nvPr/>
                </p:nvSpPr>
                <p:spPr>
                  <a:xfrm>
                    <a:off x="8578306" y="3802950"/>
                    <a:ext cx="113538" cy="158019"/>
                  </a:xfrm>
                  <a:custGeom>
                    <a:avLst/>
                    <a:gdLst>
                      <a:gd name="connsiteX0" fmla="*/ 113538 w 113538"/>
                      <a:gd name="connsiteY0" fmla="*/ 65818 h 158019"/>
                      <a:gd name="connsiteX1" fmla="*/ 113538 w 113538"/>
                      <a:gd name="connsiteY1" fmla="*/ 158020 h 158019"/>
                      <a:gd name="connsiteX2" fmla="*/ 61817 w 113538"/>
                      <a:gd name="connsiteY2" fmla="*/ 128016 h 158019"/>
                      <a:gd name="connsiteX3" fmla="*/ 61817 w 113538"/>
                      <a:gd name="connsiteY3" fmla="*/ 35814 h 158019"/>
                      <a:gd name="connsiteX4" fmla="*/ 113538 w 113538"/>
                      <a:gd name="connsiteY4" fmla="*/ 65818 h 158019"/>
                      <a:gd name="connsiteX5" fmla="*/ 0 w 113538"/>
                      <a:gd name="connsiteY5" fmla="*/ 0 h 158019"/>
                      <a:gd name="connsiteX6" fmla="*/ 0 w 113538"/>
                      <a:gd name="connsiteY6" fmla="*/ 92202 h 158019"/>
                      <a:gd name="connsiteX7" fmla="*/ 38862 w 113538"/>
                      <a:gd name="connsiteY7" fmla="*/ 114681 h 158019"/>
                      <a:gd name="connsiteX8" fmla="*/ 38862 w 113538"/>
                      <a:gd name="connsiteY8" fmla="*/ 22479 h 158019"/>
                      <a:gd name="connsiteX9" fmla="*/ 0 w 113538"/>
                      <a:gd name="connsiteY9" fmla="*/ 0 h 158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3538" h="158019">
                        <a:moveTo>
                          <a:pt x="113538" y="65818"/>
                        </a:moveTo>
                        <a:lnTo>
                          <a:pt x="113538" y="158020"/>
                        </a:lnTo>
                        <a:lnTo>
                          <a:pt x="61817" y="128016"/>
                        </a:lnTo>
                        <a:lnTo>
                          <a:pt x="61817" y="35814"/>
                        </a:lnTo>
                        <a:lnTo>
                          <a:pt x="113538" y="65818"/>
                        </a:lnTo>
                        <a:close/>
                        <a:moveTo>
                          <a:pt x="0" y="0"/>
                        </a:moveTo>
                        <a:lnTo>
                          <a:pt x="0" y="92202"/>
                        </a:lnTo>
                        <a:lnTo>
                          <a:pt x="38862" y="114681"/>
                        </a:lnTo>
                        <a:lnTo>
                          <a:pt x="38862" y="2247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706E8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289" name="Grafik 1070">
                  <a:extLst>
                    <a:ext uri="{FF2B5EF4-FFF2-40B4-BE49-F238E27FC236}">
                      <a16:creationId xmlns:a16="http://schemas.microsoft.com/office/drawing/2014/main" id="{D40ED457-F675-E745-9615-A2499A56EBC4}"/>
                    </a:ext>
                  </a:extLst>
                </p:cNvPr>
                <p:cNvGrpSpPr/>
                <p:nvPr/>
              </p:nvGrpSpPr>
              <p:grpSpPr>
                <a:xfrm>
                  <a:off x="6643624" y="2118096"/>
                  <a:ext cx="318325" cy="231076"/>
                  <a:chOff x="8565448" y="3681412"/>
                  <a:chExt cx="318325" cy="231076"/>
                </a:xfrm>
              </p:grpSpPr>
              <p:sp>
                <p:nvSpPr>
                  <p:cNvPr id="1293" name="Freihandform: Form 1292">
                    <a:extLst>
                      <a:ext uri="{FF2B5EF4-FFF2-40B4-BE49-F238E27FC236}">
                        <a16:creationId xmlns:a16="http://schemas.microsoft.com/office/drawing/2014/main" id="{127C9B53-EFAD-7020-B12A-95DD96892BF4}"/>
                      </a:ext>
                    </a:extLst>
                  </p:cNvPr>
                  <p:cNvSpPr/>
                  <p:nvPr/>
                </p:nvSpPr>
                <p:spPr>
                  <a:xfrm>
                    <a:off x="8565448" y="3681412"/>
                    <a:ext cx="318325" cy="231076"/>
                  </a:xfrm>
                  <a:custGeom>
                    <a:avLst/>
                    <a:gdLst>
                      <a:gd name="connsiteX0" fmla="*/ 39338 w 318325"/>
                      <a:gd name="connsiteY0" fmla="*/ 0 h 231076"/>
                      <a:gd name="connsiteX1" fmla="*/ 318326 w 318325"/>
                      <a:gd name="connsiteY1" fmla="*/ 161734 h 231076"/>
                      <a:gd name="connsiteX2" fmla="*/ 278987 w 318325"/>
                      <a:gd name="connsiteY2" fmla="*/ 231076 h 231076"/>
                      <a:gd name="connsiteX3" fmla="*/ 0 w 318325"/>
                      <a:gd name="connsiteY3" fmla="*/ 69342 h 231076"/>
                      <a:gd name="connsiteX4" fmla="*/ 39338 w 318325"/>
                      <a:gd name="connsiteY4" fmla="*/ 0 h 231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8325" h="231076">
                        <a:moveTo>
                          <a:pt x="39338" y="0"/>
                        </a:moveTo>
                        <a:lnTo>
                          <a:pt x="318326" y="161734"/>
                        </a:lnTo>
                        <a:lnTo>
                          <a:pt x="278987" y="231076"/>
                        </a:lnTo>
                        <a:lnTo>
                          <a:pt x="0" y="69342"/>
                        </a:lnTo>
                        <a:lnTo>
                          <a:pt x="39338" y="0"/>
                        </a:lnTo>
                        <a:close/>
                      </a:path>
                    </a:pathLst>
                  </a:custGeom>
                  <a:solidFill>
                    <a:srgbClr val="39355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94" name="Freihandform: Form 1293">
                    <a:extLst>
                      <a:ext uri="{FF2B5EF4-FFF2-40B4-BE49-F238E27FC236}">
                        <a16:creationId xmlns:a16="http://schemas.microsoft.com/office/drawing/2014/main" id="{41E28292-5998-73D1-0DB3-5658DCC6F33F}"/>
                      </a:ext>
                    </a:extLst>
                  </p:cNvPr>
                  <p:cNvSpPr/>
                  <p:nvPr/>
                </p:nvSpPr>
                <p:spPr>
                  <a:xfrm>
                    <a:off x="8689558" y="3730561"/>
                    <a:ext cx="113538" cy="158019"/>
                  </a:xfrm>
                  <a:custGeom>
                    <a:avLst/>
                    <a:gdLst>
                      <a:gd name="connsiteX0" fmla="*/ 113538 w 113538"/>
                      <a:gd name="connsiteY0" fmla="*/ 65818 h 158019"/>
                      <a:gd name="connsiteX1" fmla="*/ 113538 w 113538"/>
                      <a:gd name="connsiteY1" fmla="*/ 158020 h 158019"/>
                      <a:gd name="connsiteX2" fmla="*/ 61817 w 113538"/>
                      <a:gd name="connsiteY2" fmla="*/ 128016 h 158019"/>
                      <a:gd name="connsiteX3" fmla="*/ 61817 w 113538"/>
                      <a:gd name="connsiteY3" fmla="*/ 35814 h 158019"/>
                      <a:gd name="connsiteX4" fmla="*/ 113538 w 113538"/>
                      <a:gd name="connsiteY4" fmla="*/ 65818 h 158019"/>
                      <a:gd name="connsiteX5" fmla="*/ 0 w 113538"/>
                      <a:gd name="connsiteY5" fmla="*/ 0 h 158019"/>
                      <a:gd name="connsiteX6" fmla="*/ 0 w 113538"/>
                      <a:gd name="connsiteY6" fmla="*/ 92202 h 158019"/>
                      <a:gd name="connsiteX7" fmla="*/ 38862 w 113538"/>
                      <a:gd name="connsiteY7" fmla="*/ 114681 h 158019"/>
                      <a:gd name="connsiteX8" fmla="*/ 38862 w 113538"/>
                      <a:gd name="connsiteY8" fmla="*/ 22479 h 158019"/>
                      <a:gd name="connsiteX9" fmla="*/ 0 w 113538"/>
                      <a:gd name="connsiteY9" fmla="*/ 0 h 158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3538" h="158019">
                        <a:moveTo>
                          <a:pt x="113538" y="65818"/>
                        </a:moveTo>
                        <a:lnTo>
                          <a:pt x="113538" y="158020"/>
                        </a:lnTo>
                        <a:lnTo>
                          <a:pt x="61817" y="128016"/>
                        </a:lnTo>
                        <a:lnTo>
                          <a:pt x="61817" y="35814"/>
                        </a:lnTo>
                        <a:lnTo>
                          <a:pt x="113538" y="65818"/>
                        </a:lnTo>
                        <a:close/>
                        <a:moveTo>
                          <a:pt x="0" y="0"/>
                        </a:moveTo>
                        <a:lnTo>
                          <a:pt x="0" y="92202"/>
                        </a:lnTo>
                        <a:lnTo>
                          <a:pt x="38862" y="114681"/>
                        </a:lnTo>
                        <a:lnTo>
                          <a:pt x="38862" y="2247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706E8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290" name="Grafik 1070">
                  <a:extLst>
                    <a:ext uri="{FF2B5EF4-FFF2-40B4-BE49-F238E27FC236}">
                      <a16:creationId xmlns:a16="http://schemas.microsoft.com/office/drawing/2014/main" id="{9271B16E-A445-E115-ED29-BF696DB7062E}"/>
                    </a:ext>
                  </a:extLst>
                </p:cNvPr>
                <p:cNvGrpSpPr/>
                <p:nvPr/>
              </p:nvGrpSpPr>
              <p:grpSpPr>
                <a:xfrm>
                  <a:off x="6763146" y="2049826"/>
                  <a:ext cx="318325" cy="231076"/>
                  <a:chOff x="8565448" y="3681412"/>
                  <a:chExt cx="318325" cy="231076"/>
                </a:xfrm>
              </p:grpSpPr>
              <p:sp>
                <p:nvSpPr>
                  <p:cNvPr id="1291" name="Freihandform: Form 1290">
                    <a:extLst>
                      <a:ext uri="{FF2B5EF4-FFF2-40B4-BE49-F238E27FC236}">
                        <a16:creationId xmlns:a16="http://schemas.microsoft.com/office/drawing/2014/main" id="{0AB17D9E-DC6E-2351-D25C-E3C3AD23A559}"/>
                      </a:ext>
                    </a:extLst>
                  </p:cNvPr>
                  <p:cNvSpPr/>
                  <p:nvPr/>
                </p:nvSpPr>
                <p:spPr>
                  <a:xfrm>
                    <a:off x="8565448" y="3681412"/>
                    <a:ext cx="318325" cy="231076"/>
                  </a:xfrm>
                  <a:custGeom>
                    <a:avLst/>
                    <a:gdLst>
                      <a:gd name="connsiteX0" fmla="*/ 39338 w 318325"/>
                      <a:gd name="connsiteY0" fmla="*/ 0 h 231076"/>
                      <a:gd name="connsiteX1" fmla="*/ 318326 w 318325"/>
                      <a:gd name="connsiteY1" fmla="*/ 161734 h 231076"/>
                      <a:gd name="connsiteX2" fmla="*/ 278987 w 318325"/>
                      <a:gd name="connsiteY2" fmla="*/ 231076 h 231076"/>
                      <a:gd name="connsiteX3" fmla="*/ 0 w 318325"/>
                      <a:gd name="connsiteY3" fmla="*/ 69342 h 231076"/>
                      <a:gd name="connsiteX4" fmla="*/ 39338 w 318325"/>
                      <a:gd name="connsiteY4" fmla="*/ 0 h 231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8325" h="231076">
                        <a:moveTo>
                          <a:pt x="39338" y="0"/>
                        </a:moveTo>
                        <a:lnTo>
                          <a:pt x="318326" y="161734"/>
                        </a:lnTo>
                        <a:lnTo>
                          <a:pt x="278987" y="231076"/>
                        </a:lnTo>
                        <a:lnTo>
                          <a:pt x="0" y="69342"/>
                        </a:lnTo>
                        <a:lnTo>
                          <a:pt x="39338" y="0"/>
                        </a:lnTo>
                        <a:close/>
                      </a:path>
                    </a:pathLst>
                  </a:custGeom>
                  <a:solidFill>
                    <a:srgbClr val="393559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92" name="Freihandform: Form 1291">
                    <a:extLst>
                      <a:ext uri="{FF2B5EF4-FFF2-40B4-BE49-F238E27FC236}">
                        <a16:creationId xmlns:a16="http://schemas.microsoft.com/office/drawing/2014/main" id="{1D6CEDF9-0E19-D28F-A1E9-1F9B5E913AA9}"/>
                      </a:ext>
                    </a:extLst>
                  </p:cNvPr>
                  <p:cNvSpPr/>
                  <p:nvPr/>
                </p:nvSpPr>
                <p:spPr>
                  <a:xfrm>
                    <a:off x="8689558" y="3730561"/>
                    <a:ext cx="113538" cy="158019"/>
                  </a:xfrm>
                  <a:custGeom>
                    <a:avLst/>
                    <a:gdLst>
                      <a:gd name="connsiteX0" fmla="*/ 113538 w 113538"/>
                      <a:gd name="connsiteY0" fmla="*/ 65818 h 158019"/>
                      <a:gd name="connsiteX1" fmla="*/ 113538 w 113538"/>
                      <a:gd name="connsiteY1" fmla="*/ 158020 h 158019"/>
                      <a:gd name="connsiteX2" fmla="*/ 61817 w 113538"/>
                      <a:gd name="connsiteY2" fmla="*/ 128016 h 158019"/>
                      <a:gd name="connsiteX3" fmla="*/ 61817 w 113538"/>
                      <a:gd name="connsiteY3" fmla="*/ 35814 h 158019"/>
                      <a:gd name="connsiteX4" fmla="*/ 113538 w 113538"/>
                      <a:gd name="connsiteY4" fmla="*/ 65818 h 158019"/>
                      <a:gd name="connsiteX5" fmla="*/ 0 w 113538"/>
                      <a:gd name="connsiteY5" fmla="*/ 0 h 158019"/>
                      <a:gd name="connsiteX6" fmla="*/ 0 w 113538"/>
                      <a:gd name="connsiteY6" fmla="*/ 92202 h 158019"/>
                      <a:gd name="connsiteX7" fmla="*/ 38862 w 113538"/>
                      <a:gd name="connsiteY7" fmla="*/ 114681 h 158019"/>
                      <a:gd name="connsiteX8" fmla="*/ 38862 w 113538"/>
                      <a:gd name="connsiteY8" fmla="*/ 22479 h 158019"/>
                      <a:gd name="connsiteX9" fmla="*/ 0 w 113538"/>
                      <a:gd name="connsiteY9" fmla="*/ 0 h 158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3538" h="158019">
                        <a:moveTo>
                          <a:pt x="113538" y="65818"/>
                        </a:moveTo>
                        <a:lnTo>
                          <a:pt x="113538" y="158020"/>
                        </a:lnTo>
                        <a:lnTo>
                          <a:pt x="61817" y="128016"/>
                        </a:lnTo>
                        <a:lnTo>
                          <a:pt x="61817" y="35814"/>
                        </a:lnTo>
                        <a:lnTo>
                          <a:pt x="113538" y="65818"/>
                        </a:lnTo>
                        <a:close/>
                        <a:moveTo>
                          <a:pt x="0" y="0"/>
                        </a:moveTo>
                        <a:lnTo>
                          <a:pt x="0" y="92202"/>
                        </a:lnTo>
                        <a:lnTo>
                          <a:pt x="38862" y="114681"/>
                        </a:lnTo>
                        <a:lnTo>
                          <a:pt x="38862" y="2247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706E8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1285" name="Freihandform: Form 1284">
                <a:extLst>
                  <a:ext uri="{FF2B5EF4-FFF2-40B4-BE49-F238E27FC236}">
                    <a16:creationId xmlns:a16="http://schemas.microsoft.com/office/drawing/2014/main" id="{F2D04DD6-6835-AAD1-75A6-953884AF5B6F}"/>
                  </a:ext>
                </a:extLst>
              </p:cNvPr>
              <p:cNvSpPr/>
              <p:nvPr/>
            </p:nvSpPr>
            <p:spPr>
              <a:xfrm>
                <a:off x="8135319" y="3252588"/>
                <a:ext cx="318325" cy="231076"/>
              </a:xfrm>
              <a:custGeom>
                <a:avLst/>
                <a:gdLst>
                  <a:gd name="connsiteX0" fmla="*/ 39338 w 318325"/>
                  <a:gd name="connsiteY0" fmla="*/ 0 h 231076"/>
                  <a:gd name="connsiteX1" fmla="*/ 318326 w 318325"/>
                  <a:gd name="connsiteY1" fmla="*/ 161830 h 231076"/>
                  <a:gd name="connsiteX2" fmla="*/ 278987 w 318325"/>
                  <a:gd name="connsiteY2" fmla="*/ 231076 h 231076"/>
                  <a:gd name="connsiteX3" fmla="*/ 0 w 318325"/>
                  <a:gd name="connsiteY3" fmla="*/ 69342 h 231076"/>
                  <a:gd name="connsiteX4" fmla="*/ 39338 w 318325"/>
                  <a:gd name="connsiteY4" fmla="*/ 0 h 231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325" h="231076">
                    <a:moveTo>
                      <a:pt x="39338" y="0"/>
                    </a:moveTo>
                    <a:lnTo>
                      <a:pt x="318326" y="161830"/>
                    </a:lnTo>
                    <a:lnTo>
                      <a:pt x="278987" y="231076"/>
                    </a:lnTo>
                    <a:lnTo>
                      <a:pt x="0" y="69342"/>
                    </a:lnTo>
                    <a:lnTo>
                      <a:pt x="39338" y="0"/>
                    </a:lnTo>
                    <a:close/>
                  </a:path>
                </a:pathLst>
              </a:custGeom>
              <a:solidFill>
                <a:srgbClr val="39355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6" name="Freihandform: Form 1285">
                <a:extLst>
                  <a:ext uri="{FF2B5EF4-FFF2-40B4-BE49-F238E27FC236}">
                    <a16:creationId xmlns:a16="http://schemas.microsoft.com/office/drawing/2014/main" id="{40B55193-BDA3-38AD-0653-35C48F6170FA}"/>
                  </a:ext>
                </a:extLst>
              </p:cNvPr>
              <p:cNvSpPr/>
              <p:nvPr/>
            </p:nvSpPr>
            <p:spPr>
              <a:xfrm>
                <a:off x="8259429" y="3301736"/>
                <a:ext cx="113538" cy="158019"/>
              </a:xfrm>
              <a:custGeom>
                <a:avLst/>
                <a:gdLst>
                  <a:gd name="connsiteX0" fmla="*/ 113538 w 113538"/>
                  <a:gd name="connsiteY0" fmla="*/ 65818 h 158019"/>
                  <a:gd name="connsiteX1" fmla="*/ 113538 w 113538"/>
                  <a:gd name="connsiteY1" fmla="*/ 158020 h 158019"/>
                  <a:gd name="connsiteX2" fmla="*/ 61817 w 113538"/>
                  <a:gd name="connsiteY2" fmla="*/ 128016 h 158019"/>
                  <a:gd name="connsiteX3" fmla="*/ 61817 w 113538"/>
                  <a:gd name="connsiteY3" fmla="*/ 35814 h 158019"/>
                  <a:gd name="connsiteX4" fmla="*/ 113538 w 113538"/>
                  <a:gd name="connsiteY4" fmla="*/ 65818 h 158019"/>
                  <a:gd name="connsiteX5" fmla="*/ 0 w 113538"/>
                  <a:gd name="connsiteY5" fmla="*/ 0 h 158019"/>
                  <a:gd name="connsiteX6" fmla="*/ 0 w 113538"/>
                  <a:gd name="connsiteY6" fmla="*/ 92202 h 158019"/>
                  <a:gd name="connsiteX7" fmla="*/ 38862 w 113538"/>
                  <a:gd name="connsiteY7" fmla="*/ 114681 h 158019"/>
                  <a:gd name="connsiteX8" fmla="*/ 38862 w 113538"/>
                  <a:gd name="connsiteY8" fmla="*/ 22479 h 158019"/>
                  <a:gd name="connsiteX9" fmla="*/ 0 w 113538"/>
                  <a:gd name="connsiteY9" fmla="*/ 0 h 158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3538" h="158019">
                    <a:moveTo>
                      <a:pt x="113538" y="65818"/>
                    </a:moveTo>
                    <a:lnTo>
                      <a:pt x="113538" y="158020"/>
                    </a:lnTo>
                    <a:lnTo>
                      <a:pt x="61817" y="128016"/>
                    </a:lnTo>
                    <a:lnTo>
                      <a:pt x="61817" y="35814"/>
                    </a:lnTo>
                    <a:lnTo>
                      <a:pt x="113538" y="65818"/>
                    </a:lnTo>
                    <a:close/>
                    <a:moveTo>
                      <a:pt x="0" y="0"/>
                    </a:moveTo>
                    <a:lnTo>
                      <a:pt x="0" y="92202"/>
                    </a:lnTo>
                    <a:lnTo>
                      <a:pt x="38862" y="114681"/>
                    </a:lnTo>
                    <a:lnTo>
                      <a:pt x="38862" y="224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06E8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38" name="Gruppieren 1237">
              <a:extLst>
                <a:ext uri="{FF2B5EF4-FFF2-40B4-BE49-F238E27FC236}">
                  <a16:creationId xmlns:a16="http://schemas.microsoft.com/office/drawing/2014/main" id="{BFA5F82D-0AB2-1A0B-95A1-FA7C2532C6CD}"/>
                </a:ext>
              </a:extLst>
            </p:cNvPr>
            <p:cNvGrpSpPr/>
            <p:nvPr/>
          </p:nvGrpSpPr>
          <p:grpSpPr>
            <a:xfrm>
              <a:off x="3552172" y="3459848"/>
              <a:ext cx="450149" cy="689914"/>
              <a:chOff x="7347308" y="3016508"/>
              <a:chExt cx="450149" cy="689914"/>
            </a:xfrm>
          </p:grpSpPr>
          <p:grpSp>
            <p:nvGrpSpPr>
              <p:cNvPr id="1259" name="Grafik 20">
                <a:extLst>
                  <a:ext uri="{FF2B5EF4-FFF2-40B4-BE49-F238E27FC236}">
                    <a16:creationId xmlns:a16="http://schemas.microsoft.com/office/drawing/2014/main" id="{3D790B78-227E-1B1F-AA67-E6217BD51ED8}"/>
                  </a:ext>
                </a:extLst>
              </p:cNvPr>
              <p:cNvGrpSpPr/>
              <p:nvPr/>
            </p:nvGrpSpPr>
            <p:grpSpPr>
              <a:xfrm>
                <a:off x="7347308" y="3016508"/>
                <a:ext cx="450149" cy="689914"/>
                <a:chOff x="7347308" y="3016508"/>
                <a:chExt cx="450149" cy="689914"/>
              </a:xfrm>
            </p:grpSpPr>
            <p:sp>
              <p:nvSpPr>
                <p:cNvPr id="1267" name="Freihandform: Form 1266">
                  <a:extLst>
                    <a:ext uri="{FF2B5EF4-FFF2-40B4-BE49-F238E27FC236}">
                      <a16:creationId xmlns:a16="http://schemas.microsoft.com/office/drawing/2014/main" id="{9A1E6410-EBBE-B012-C65F-3AF90C3A84DC}"/>
                    </a:ext>
                  </a:extLst>
                </p:cNvPr>
                <p:cNvSpPr/>
                <p:nvPr/>
              </p:nvSpPr>
              <p:spPr>
                <a:xfrm>
                  <a:off x="7347308" y="3394795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14 h 259895"/>
                    <a:gd name="connsiteX1" fmla="*/ 28 w 450149"/>
                    <a:gd name="connsiteY1" fmla="*/ 130158 h 259895"/>
                    <a:gd name="connsiteX2" fmla="*/ 224754 w 450149"/>
                    <a:gd name="connsiteY2" fmla="*/ 218 h 259895"/>
                    <a:gd name="connsiteX3" fmla="*/ 450178 w 450149"/>
                    <a:gd name="connsiteY3" fmla="*/ 130158 h 259895"/>
                    <a:gd name="connsiteX4" fmla="*/ 224754 w 450149"/>
                    <a:gd name="connsiteY4" fmla="*/ 260114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14"/>
                      </a:moveTo>
                      <a:lnTo>
                        <a:pt x="28" y="130158"/>
                      </a:lnTo>
                      <a:lnTo>
                        <a:pt x="224754" y="218"/>
                      </a:lnTo>
                      <a:lnTo>
                        <a:pt x="450178" y="130158"/>
                      </a:lnTo>
                      <a:lnTo>
                        <a:pt x="224754" y="260114"/>
                      </a:lnTo>
                      <a:close/>
                    </a:path>
                  </a:pathLst>
                </a:custGeom>
                <a:solidFill>
                  <a:srgbClr val="DFDFD9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8" name="Freihandform: Form 1267">
                  <a:extLst>
                    <a:ext uri="{FF2B5EF4-FFF2-40B4-BE49-F238E27FC236}">
                      <a16:creationId xmlns:a16="http://schemas.microsoft.com/office/drawing/2014/main" id="{AAF2D176-4718-49B2-4BE2-BC48FA8AACD2}"/>
                    </a:ext>
                  </a:extLst>
                </p:cNvPr>
                <p:cNvSpPr/>
                <p:nvPr/>
              </p:nvSpPr>
              <p:spPr>
                <a:xfrm>
                  <a:off x="7347308" y="3343063"/>
                  <a:ext cx="450149" cy="259911"/>
                </a:xfrm>
                <a:custGeom>
                  <a:avLst/>
                  <a:gdLst>
                    <a:gd name="connsiteX0" fmla="*/ 224754 w 450149"/>
                    <a:gd name="connsiteY0" fmla="*/ 260140 h 259911"/>
                    <a:gd name="connsiteX1" fmla="*/ 28 w 450149"/>
                    <a:gd name="connsiteY1" fmla="*/ 130184 h 259911"/>
                    <a:gd name="connsiteX2" fmla="*/ 224754 w 450149"/>
                    <a:gd name="connsiteY2" fmla="*/ 229 h 259911"/>
                    <a:gd name="connsiteX3" fmla="*/ 450178 w 450149"/>
                    <a:gd name="connsiteY3" fmla="*/ 130184 h 259911"/>
                    <a:gd name="connsiteX4" fmla="*/ 224754 w 450149"/>
                    <a:gd name="connsiteY4" fmla="*/ 260140 h 259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911">
                      <a:moveTo>
                        <a:pt x="224754" y="260140"/>
                      </a:moveTo>
                      <a:lnTo>
                        <a:pt x="28" y="130184"/>
                      </a:lnTo>
                      <a:lnTo>
                        <a:pt x="224754" y="229"/>
                      </a:lnTo>
                      <a:lnTo>
                        <a:pt x="450178" y="130184"/>
                      </a:lnTo>
                      <a:lnTo>
                        <a:pt x="224754" y="2601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9" name="Freihandform: Form 1268">
                  <a:extLst>
                    <a:ext uri="{FF2B5EF4-FFF2-40B4-BE49-F238E27FC236}">
                      <a16:creationId xmlns:a16="http://schemas.microsoft.com/office/drawing/2014/main" id="{BB06605F-6609-2EC7-CDAB-869EF5FBBD88}"/>
                    </a:ext>
                  </a:extLst>
                </p:cNvPr>
                <p:cNvSpPr/>
                <p:nvPr/>
              </p:nvSpPr>
              <p:spPr>
                <a:xfrm>
                  <a:off x="7572034" y="3473019"/>
                  <a:ext cx="225423" cy="181671"/>
                </a:xfrm>
                <a:custGeom>
                  <a:avLst/>
                  <a:gdLst>
                    <a:gd name="connsiteX0" fmla="*/ 7 w 225423"/>
                    <a:gd name="connsiteY0" fmla="*/ 181883 h 181671"/>
                    <a:gd name="connsiteX1" fmla="*/ 7 w 225423"/>
                    <a:gd name="connsiteY1" fmla="*/ 130167 h 181671"/>
                    <a:gd name="connsiteX2" fmla="*/ 225430 w 225423"/>
                    <a:gd name="connsiteY2" fmla="*/ 211 h 181671"/>
                    <a:gd name="connsiteX3" fmla="*/ 225430 w 225423"/>
                    <a:gd name="connsiteY3" fmla="*/ 51927 h 181671"/>
                    <a:gd name="connsiteX4" fmla="*/ 7 w 225423"/>
                    <a:gd name="connsiteY4" fmla="*/ 181883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7" y="181883"/>
                      </a:moveTo>
                      <a:lnTo>
                        <a:pt x="7" y="130167"/>
                      </a:lnTo>
                      <a:lnTo>
                        <a:pt x="225430" y="211"/>
                      </a:lnTo>
                      <a:lnTo>
                        <a:pt x="225430" y="51927"/>
                      </a:lnTo>
                      <a:lnTo>
                        <a:pt x="7" y="181883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0" name="Freihandform: Form 1269">
                  <a:extLst>
                    <a:ext uri="{FF2B5EF4-FFF2-40B4-BE49-F238E27FC236}">
                      <a16:creationId xmlns:a16="http://schemas.microsoft.com/office/drawing/2014/main" id="{DB1D481F-849A-6E8E-E7C6-3FC8E9B1B5BA}"/>
                    </a:ext>
                  </a:extLst>
                </p:cNvPr>
                <p:cNvSpPr/>
                <p:nvPr/>
              </p:nvSpPr>
              <p:spPr>
                <a:xfrm>
                  <a:off x="7347308" y="3304276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32 h 259895"/>
                    <a:gd name="connsiteX1" fmla="*/ 28 w 450149"/>
                    <a:gd name="connsiteY1" fmla="*/ 130176 h 259895"/>
                    <a:gd name="connsiteX2" fmla="*/ 224754 w 450149"/>
                    <a:gd name="connsiteY2" fmla="*/ 236 h 259895"/>
                    <a:gd name="connsiteX3" fmla="*/ 450178 w 450149"/>
                    <a:gd name="connsiteY3" fmla="*/ 130176 h 259895"/>
                    <a:gd name="connsiteX4" fmla="*/ 224754 w 450149"/>
                    <a:gd name="connsiteY4" fmla="*/ 260132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32"/>
                      </a:moveTo>
                      <a:lnTo>
                        <a:pt x="28" y="130176"/>
                      </a:lnTo>
                      <a:lnTo>
                        <a:pt x="224754" y="236"/>
                      </a:lnTo>
                      <a:lnTo>
                        <a:pt x="450178" y="130176"/>
                      </a:lnTo>
                      <a:lnTo>
                        <a:pt x="224754" y="260132"/>
                      </a:lnTo>
                      <a:close/>
                    </a:path>
                  </a:pathLst>
                </a:custGeom>
                <a:solidFill>
                  <a:srgbClr val="DFDFD9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1" name="Freihandform: Form 1270">
                  <a:extLst>
                    <a:ext uri="{FF2B5EF4-FFF2-40B4-BE49-F238E27FC236}">
                      <a16:creationId xmlns:a16="http://schemas.microsoft.com/office/drawing/2014/main" id="{413197F7-DCFE-4340-795B-EB418AB72C11}"/>
                    </a:ext>
                  </a:extLst>
                </p:cNvPr>
                <p:cNvSpPr/>
                <p:nvPr/>
              </p:nvSpPr>
              <p:spPr>
                <a:xfrm>
                  <a:off x="7347308" y="3252545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42 h 259895"/>
                    <a:gd name="connsiteX1" fmla="*/ 28 w 450149"/>
                    <a:gd name="connsiteY1" fmla="*/ 130202 h 259895"/>
                    <a:gd name="connsiteX2" fmla="*/ 224754 w 450149"/>
                    <a:gd name="connsiteY2" fmla="*/ 246 h 259895"/>
                    <a:gd name="connsiteX3" fmla="*/ 450178 w 450149"/>
                    <a:gd name="connsiteY3" fmla="*/ 130202 h 259895"/>
                    <a:gd name="connsiteX4" fmla="*/ 224754 w 450149"/>
                    <a:gd name="connsiteY4" fmla="*/ 260142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42"/>
                      </a:moveTo>
                      <a:lnTo>
                        <a:pt x="28" y="130202"/>
                      </a:lnTo>
                      <a:lnTo>
                        <a:pt x="224754" y="246"/>
                      </a:lnTo>
                      <a:lnTo>
                        <a:pt x="450178" y="130202"/>
                      </a:lnTo>
                      <a:lnTo>
                        <a:pt x="224754" y="2601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2" name="Freihandform: Form 1271">
                  <a:extLst>
                    <a:ext uri="{FF2B5EF4-FFF2-40B4-BE49-F238E27FC236}">
                      <a16:creationId xmlns:a16="http://schemas.microsoft.com/office/drawing/2014/main" id="{6C6F1DD7-3FD1-F6BB-052F-D1E2F1286258}"/>
                    </a:ext>
                  </a:extLst>
                </p:cNvPr>
                <p:cNvSpPr/>
                <p:nvPr/>
              </p:nvSpPr>
              <p:spPr>
                <a:xfrm>
                  <a:off x="7572034" y="3382501"/>
                  <a:ext cx="225423" cy="181671"/>
                </a:xfrm>
                <a:custGeom>
                  <a:avLst/>
                  <a:gdLst>
                    <a:gd name="connsiteX0" fmla="*/ 7 w 225423"/>
                    <a:gd name="connsiteY0" fmla="*/ 181900 h 181671"/>
                    <a:gd name="connsiteX1" fmla="*/ 7 w 225423"/>
                    <a:gd name="connsiteY1" fmla="*/ 130168 h 181671"/>
                    <a:gd name="connsiteX2" fmla="*/ 225430 w 225423"/>
                    <a:gd name="connsiteY2" fmla="*/ 228 h 181671"/>
                    <a:gd name="connsiteX3" fmla="*/ 225430 w 225423"/>
                    <a:gd name="connsiteY3" fmla="*/ 51944 h 181671"/>
                    <a:gd name="connsiteX4" fmla="*/ 7 w 225423"/>
                    <a:gd name="connsiteY4" fmla="*/ 181900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7" y="181900"/>
                      </a:moveTo>
                      <a:lnTo>
                        <a:pt x="7" y="130168"/>
                      </a:lnTo>
                      <a:lnTo>
                        <a:pt x="225430" y="228"/>
                      </a:lnTo>
                      <a:lnTo>
                        <a:pt x="225430" y="51944"/>
                      </a:lnTo>
                      <a:lnTo>
                        <a:pt x="7" y="181900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3" name="Freihandform: Form 1272">
                  <a:extLst>
                    <a:ext uri="{FF2B5EF4-FFF2-40B4-BE49-F238E27FC236}">
                      <a16:creationId xmlns:a16="http://schemas.microsoft.com/office/drawing/2014/main" id="{2CF86C11-73DA-10EA-3EDE-0E97397A3D11}"/>
                    </a:ext>
                  </a:extLst>
                </p:cNvPr>
                <p:cNvSpPr/>
                <p:nvPr/>
              </p:nvSpPr>
              <p:spPr>
                <a:xfrm>
                  <a:off x="7347308" y="3213758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50 h 259895"/>
                    <a:gd name="connsiteX1" fmla="*/ 28 w 450149"/>
                    <a:gd name="connsiteY1" fmla="*/ 130194 h 259895"/>
                    <a:gd name="connsiteX2" fmla="*/ 224754 w 450149"/>
                    <a:gd name="connsiteY2" fmla="*/ 254 h 259895"/>
                    <a:gd name="connsiteX3" fmla="*/ 450178 w 450149"/>
                    <a:gd name="connsiteY3" fmla="*/ 130210 h 259895"/>
                    <a:gd name="connsiteX4" fmla="*/ 224754 w 450149"/>
                    <a:gd name="connsiteY4" fmla="*/ 260150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50"/>
                      </a:moveTo>
                      <a:lnTo>
                        <a:pt x="28" y="130194"/>
                      </a:lnTo>
                      <a:lnTo>
                        <a:pt x="224754" y="254"/>
                      </a:lnTo>
                      <a:lnTo>
                        <a:pt x="450178" y="130210"/>
                      </a:lnTo>
                      <a:lnTo>
                        <a:pt x="224754" y="260150"/>
                      </a:lnTo>
                      <a:close/>
                    </a:path>
                  </a:pathLst>
                </a:custGeom>
                <a:solidFill>
                  <a:srgbClr val="DFDFD9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4" name="Freihandform: Form 1273">
                  <a:extLst>
                    <a:ext uri="{FF2B5EF4-FFF2-40B4-BE49-F238E27FC236}">
                      <a16:creationId xmlns:a16="http://schemas.microsoft.com/office/drawing/2014/main" id="{FBCEBCCF-7F4E-1E15-E179-F9F4BB263352}"/>
                    </a:ext>
                  </a:extLst>
                </p:cNvPr>
                <p:cNvSpPr/>
                <p:nvPr/>
              </p:nvSpPr>
              <p:spPr>
                <a:xfrm>
                  <a:off x="7572034" y="3291982"/>
                  <a:ext cx="225423" cy="181671"/>
                </a:xfrm>
                <a:custGeom>
                  <a:avLst/>
                  <a:gdLst>
                    <a:gd name="connsiteX0" fmla="*/ 7 w 225423"/>
                    <a:gd name="connsiteY0" fmla="*/ 181918 h 181671"/>
                    <a:gd name="connsiteX1" fmla="*/ 7 w 225423"/>
                    <a:gd name="connsiteY1" fmla="*/ 130186 h 181671"/>
                    <a:gd name="connsiteX2" fmla="*/ 225430 w 225423"/>
                    <a:gd name="connsiteY2" fmla="*/ 246 h 181671"/>
                    <a:gd name="connsiteX3" fmla="*/ 225430 w 225423"/>
                    <a:gd name="connsiteY3" fmla="*/ 51978 h 181671"/>
                    <a:gd name="connsiteX4" fmla="*/ 7 w 225423"/>
                    <a:gd name="connsiteY4" fmla="*/ 181918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7" y="181918"/>
                      </a:moveTo>
                      <a:lnTo>
                        <a:pt x="7" y="130186"/>
                      </a:lnTo>
                      <a:lnTo>
                        <a:pt x="225430" y="246"/>
                      </a:lnTo>
                      <a:lnTo>
                        <a:pt x="225430" y="51978"/>
                      </a:lnTo>
                      <a:lnTo>
                        <a:pt x="7" y="181918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5" name="Freihandform: Form 1274">
                  <a:extLst>
                    <a:ext uri="{FF2B5EF4-FFF2-40B4-BE49-F238E27FC236}">
                      <a16:creationId xmlns:a16="http://schemas.microsoft.com/office/drawing/2014/main" id="{9ECC5225-0412-50C1-9C36-85F8DF6D499B}"/>
                    </a:ext>
                  </a:extLst>
                </p:cNvPr>
                <p:cNvSpPr/>
                <p:nvPr/>
              </p:nvSpPr>
              <p:spPr>
                <a:xfrm>
                  <a:off x="7347308" y="3162026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60 h 259895"/>
                    <a:gd name="connsiteX1" fmla="*/ 28 w 450149"/>
                    <a:gd name="connsiteY1" fmla="*/ 130204 h 259895"/>
                    <a:gd name="connsiteX2" fmla="*/ 224754 w 450149"/>
                    <a:gd name="connsiteY2" fmla="*/ 264 h 259895"/>
                    <a:gd name="connsiteX3" fmla="*/ 450178 w 450149"/>
                    <a:gd name="connsiteY3" fmla="*/ 130220 h 259895"/>
                    <a:gd name="connsiteX4" fmla="*/ 224754 w 450149"/>
                    <a:gd name="connsiteY4" fmla="*/ 260160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60"/>
                      </a:moveTo>
                      <a:lnTo>
                        <a:pt x="28" y="130204"/>
                      </a:lnTo>
                      <a:lnTo>
                        <a:pt x="224754" y="264"/>
                      </a:lnTo>
                      <a:lnTo>
                        <a:pt x="450178" y="130220"/>
                      </a:lnTo>
                      <a:lnTo>
                        <a:pt x="224754" y="26016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6" name="Freihandform: Form 1275">
                  <a:extLst>
                    <a:ext uri="{FF2B5EF4-FFF2-40B4-BE49-F238E27FC236}">
                      <a16:creationId xmlns:a16="http://schemas.microsoft.com/office/drawing/2014/main" id="{CCD83CC4-20E5-846A-4B80-768DC4CBF501}"/>
                    </a:ext>
                  </a:extLst>
                </p:cNvPr>
                <p:cNvSpPr/>
                <p:nvPr/>
              </p:nvSpPr>
              <p:spPr>
                <a:xfrm>
                  <a:off x="7347308" y="3123239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67 h 259895"/>
                    <a:gd name="connsiteX1" fmla="*/ 28 w 450149"/>
                    <a:gd name="connsiteY1" fmla="*/ 130212 h 259895"/>
                    <a:gd name="connsiteX2" fmla="*/ 224754 w 450149"/>
                    <a:gd name="connsiteY2" fmla="*/ 272 h 259895"/>
                    <a:gd name="connsiteX3" fmla="*/ 450178 w 450149"/>
                    <a:gd name="connsiteY3" fmla="*/ 130212 h 259895"/>
                    <a:gd name="connsiteX4" fmla="*/ 224754 w 450149"/>
                    <a:gd name="connsiteY4" fmla="*/ 260167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67"/>
                      </a:moveTo>
                      <a:lnTo>
                        <a:pt x="28" y="130212"/>
                      </a:lnTo>
                      <a:lnTo>
                        <a:pt x="224754" y="272"/>
                      </a:lnTo>
                      <a:lnTo>
                        <a:pt x="450178" y="130212"/>
                      </a:lnTo>
                      <a:lnTo>
                        <a:pt x="224754" y="260167"/>
                      </a:lnTo>
                      <a:close/>
                    </a:path>
                  </a:pathLst>
                </a:custGeom>
                <a:solidFill>
                  <a:srgbClr val="DFDFD9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7" name="Freihandform: Form 1276">
                  <a:extLst>
                    <a:ext uri="{FF2B5EF4-FFF2-40B4-BE49-F238E27FC236}">
                      <a16:creationId xmlns:a16="http://schemas.microsoft.com/office/drawing/2014/main" id="{CE38FE5D-D2D5-B469-48DA-28C569D14C79}"/>
                    </a:ext>
                  </a:extLst>
                </p:cNvPr>
                <p:cNvSpPr/>
                <p:nvPr/>
              </p:nvSpPr>
              <p:spPr>
                <a:xfrm>
                  <a:off x="7572034" y="3201448"/>
                  <a:ext cx="225423" cy="181687"/>
                </a:xfrm>
                <a:custGeom>
                  <a:avLst/>
                  <a:gdLst>
                    <a:gd name="connsiteX0" fmla="*/ 7 w 225423"/>
                    <a:gd name="connsiteY0" fmla="*/ 181951 h 181687"/>
                    <a:gd name="connsiteX1" fmla="*/ 7 w 225423"/>
                    <a:gd name="connsiteY1" fmla="*/ 130220 h 181687"/>
                    <a:gd name="connsiteX2" fmla="*/ 225430 w 225423"/>
                    <a:gd name="connsiteY2" fmla="*/ 264 h 181687"/>
                    <a:gd name="connsiteX3" fmla="*/ 225430 w 225423"/>
                    <a:gd name="connsiteY3" fmla="*/ 51996 h 181687"/>
                    <a:gd name="connsiteX4" fmla="*/ 7 w 225423"/>
                    <a:gd name="connsiteY4" fmla="*/ 181951 h 181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87">
                      <a:moveTo>
                        <a:pt x="7" y="181951"/>
                      </a:moveTo>
                      <a:lnTo>
                        <a:pt x="7" y="130220"/>
                      </a:lnTo>
                      <a:lnTo>
                        <a:pt x="225430" y="264"/>
                      </a:lnTo>
                      <a:lnTo>
                        <a:pt x="225430" y="51996"/>
                      </a:lnTo>
                      <a:lnTo>
                        <a:pt x="7" y="181951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8" name="Freihandform: Form 1277">
                  <a:extLst>
                    <a:ext uri="{FF2B5EF4-FFF2-40B4-BE49-F238E27FC236}">
                      <a16:creationId xmlns:a16="http://schemas.microsoft.com/office/drawing/2014/main" id="{05F45DED-D6EF-CD36-BBB6-886829B2732D}"/>
                    </a:ext>
                  </a:extLst>
                </p:cNvPr>
                <p:cNvSpPr/>
                <p:nvPr/>
              </p:nvSpPr>
              <p:spPr>
                <a:xfrm>
                  <a:off x="7347308" y="3071508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78 h 259895"/>
                    <a:gd name="connsiteX1" fmla="*/ 28 w 450149"/>
                    <a:gd name="connsiteY1" fmla="*/ 130222 h 259895"/>
                    <a:gd name="connsiteX2" fmla="*/ 224754 w 450149"/>
                    <a:gd name="connsiteY2" fmla="*/ 282 h 259895"/>
                    <a:gd name="connsiteX3" fmla="*/ 450178 w 450149"/>
                    <a:gd name="connsiteY3" fmla="*/ 130222 h 259895"/>
                    <a:gd name="connsiteX4" fmla="*/ 224754 w 450149"/>
                    <a:gd name="connsiteY4" fmla="*/ 260178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78"/>
                      </a:moveTo>
                      <a:lnTo>
                        <a:pt x="28" y="130222"/>
                      </a:lnTo>
                      <a:lnTo>
                        <a:pt x="224754" y="282"/>
                      </a:lnTo>
                      <a:lnTo>
                        <a:pt x="450178" y="130222"/>
                      </a:lnTo>
                      <a:lnTo>
                        <a:pt x="224754" y="2601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9" name="Freihandform: Form 1278">
                  <a:extLst>
                    <a:ext uri="{FF2B5EF4-FFF2-40B4-BE49-F238E27FC236}">
                      <a16:creationId xmlns:a16="http://schemas.microsoft.com/office/drawing/2014/main" id="{FB76A5ED-131F-390D-7874-17A17A6CA58B}"/>
                    </a:ext>
                  </a:extLst>
                </p:cNvPr>
                <p:cNvSpPr/>
                <p:nvPr/>
              </p:nvSpPr>
              <p:spPr>
                <a:xfrm>
                  <a:off x="7347308" y="3032705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85 h 259895"/>
                    <a:gd name="connsiteX1" fmla="*/ 28 w 450149"/>
                    <a:gd name="connsiteY1" fmla="*/ 130245 h 259895"/>
                    <a:gd name="connsiteX2" fmla="*/ 224754 w 450149"/>
                    <a:gd name="connsiteY2" fmla="*/ 289 h 259895"/>
                    <a:gd name="connsiteX3" fmla="*/ 450178 w 450149"/>
                    <a:gd name="connsiteY3" fmla="*/ 130245 h 259895"/>
                    <a:gd name="connsiteX4" fmla="*/ 224754 w 450149"/>
                    <a:gd name="connsiteY4" fmla="*/ 260185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85"/>
                      </a:moveTo>
                      <a:lnTo>
                        <a:pt x="28" y="130245"/>
                      </a:lnTo>
                      <a:lnTo>
                        <a:pt x="224754" y="289"/>
                      </a:lnTo>
                      <a:lnTo>
                        <a:pt x="450178" y="130245"/>
                      </a:lnTo>
                      <a:lnTo>
                        <a:pt x="224754" y="260185"/>
                      </a:lnTo>
                      <a:close/>
                    </a:path>
                  </a:pathLst>
                </a:custGeom>
                <a:solidFill>
                  <a:srgbClr val="DFDFD9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0" name="Freihandform: Form 1279">
                  <a:extLst>
                    <a:ext uri="{FF2B5EF4-FFF2-40B4-BE49-F238E27FC236}">
                      <a16:creationId xmlns:a16="http://schemas.microsoft.com/office/drawing/2014/main" id="{C3486C36-7794-A242-0F50-7C08D3640408}"/>
                    </a:ext>
                  </a:extLst>
                </p:cNvPr>
                <p:cNvSpPr/>
                <p:nvPr/>
              </p:nvSpPr>
              <p:spPr>
                <a:xfrm>
                  <a:off x="7347308" y="3146448"/>
                  <a:ext cx="224725" cy="559974"/>
                </a:xfrm>
                <a:custGeom>
                  <a:avLst/>
                  <a:gdLst>
                    <a:gd name="connsiteX0" fmla="*/ 224776 w 224725"/>
                    <a:gd name="connsiteY0" fmla="*/ 560212 h 559974"/>
                    <a:gd name="connsiteX1" fmla="*/ 50 w 224725"/>
                    <a:gd name="connsiteY1" fmla="*/ 430256 h 559974"/>
                    <a:gd name="connsiteX2" fmla="*/ 50 w 224725"/>
                    <a:gd name="connsiteY2" fmla="*/ 238 h 559974"/>
                    <a:gd name="connsiteX3" fmla="*/ 224776 w 224725"/>
                    <a:gd name="connsiteY3" fmla="*/ 130194 h 559974"/>
                    <a:gd name="connsiteX4" fmla="*/ 224776 w 224725"/>
                    <a:gd name="connsiteY4" fmla="*/ 560212 h 5599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4725" h="559974">
                      <a:moveTo>
                        <a:pt x="224776" y="560212"/>
                      </a:moveTo>
                      <a:lnTo>
                        <a:pt x="50" y="430256"/>
                      </a:lnTo>
                      <a:lnTo>
                        <a:pt x="50" y="238"/>
                      </a:lnTo>
                      <a:lnTo>
                        <a:pt x="224776" y="130194"/>
                      </a:lnTo>
                      <a:lnTo>
                        <a:pt x="224776" y="560212"/>
                      </a:lnTo>
                      <a:close/>
                    </a:path>
                  </a:pathLst>
                </a:custGeom>
                <a:solidFill>
                  <a:srgbClr val="9999A9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1" name="Freihandform: Form 1280">
                  <a:extLst>
                    <a:ext uri="{FF2B5EF4-FFF2-40B4-BE49-F238E27FC236}">
                      <a16:creationId xmlns:a16="http://schemas.microsoft.com/office/drawing/2014/main" id="{DBD305DB-1ACC-9905-91F2-218D3A3D7911}"/>
                    </a:ext>
                  </a:extLst>
                </p:cNvPr>
                <p:cNvSpPr/>
                <p:nvPr/>
              </p:nvSpPr>
              <p:spPr>
                <a:xfrm>
                  <a:off x="7572034" y="3146464"/>
                  <a:ext cx="225423" cy="559958"/>
                </a:xfrm>
                <a:custGeom>
                  <a:avLst/>
                  <a:gdLst>
                    <a:gd name="connsiteX0" fmla="*/ 225430 w 225423"/>
                    <a:gd name="connsiteY0" fmla="*/ 238 h 559958"/>
                    <a:gd name="connsiteX1" fmla="*/ 225430 w 225423"/>
                    <a:gd name="connsiteY1" fmla="*/ 55221 h 559958"/>
                    <a:gd name="connsiteX2" fmla="*/ 7 w 225423"/>
                    <a:gd name="connsiteY2" fmla="*/ 185177 h 559958"/>
                    <a:gd name="connsiteX3" fmla="*/ 7 w 225423"/>
                    <a:gd name="connsiteY3" fmla="*/ 236909 h 559958"/>
                    <a:gd name="connsiteX4" fmla="*/ 225430 w 225423"/>
                    <a:gd name="connsiteY4" fmla="*/ 106953 h 559958"/>
                    <a:gd name="connsiteX5" fmla="*/ 225430 w 225423"/>
                    <a:gd name="connsiteY5" fmla="*/ 145756 h 559958"/>
                    <a:gd name="connsiteX6" fmla="*/ 7 w 225423"/>
                    <a:gd name="connsiteY6" fmla="*/ 275696 h 559958"/>
                    <a:gd name="connsiteX7" fmla="*/ 7 w 225423"/>
                    <a:gd name="connsiteY7" fmla="*/ 327428 h 559958"/>
                    <a:gd name="connsiteX8" fmla="*/ 225430 w 225423"/>
                    <a:gd name="connsiteY8" fmla="*/ 197488 h 559958"/>
                    <a:gd name="connsiteX9" fmla="*/ 225430 w 225423"/>
                    <a:gd name="connsiteY9" fmla="*/ 236274 h 559958"/>
                    <a:gd name="connsiteX10" fmla="*/ 7 w 225423"/>
                    <a:gd name="connsiteY10" fmla="*/ 366214 h 559958"/>
                    <a:gd name="connsiteX11" fmla="*/ 7 w 225423"/>
                    <a:gd name="connsiteY11" fmla="*/ 417946 h 559958"/>
                    <a:gd name="connsiteX12" fmla="*/ 225430 w 225423"/>
                    <a:gd name="connsiteY12" fmla="*/ 287990 h 559958"/>
                    <a:gd name="connsiteX13" fmla="*/ 225430 w 225423"/>
                    <a:gd name="connsiteY13" fmla="*/ 326793 h 559958"/>
                    <a:gd name="connsiteX14" fmla="*/ 7 w 225423"/>
                    <a:gd name="connsiteY14" fmla="*/ 456749 h 559958"/>
                    <a:gd name="connsiteX15" fmla="*/ 7 w 225423"/>
                    <a:gd name="connsiteY15" fmla="*/ 508465 h 559958"/>
                    <a:gd name="connsiteX16" fmla="*/ 225430 w 225423"/>
                    <a:gd name="connsiteY16" fmla="*/ 378509 h 559958"/>
                    <a:gd name="connsiteX17" fmla="*/ 225430 w 225423"/>
                    <a:gd name="connsiteY17" fmla="*/ 430256 h 559958"/>
                    <a:gd name="connsiteX18" fmla="*/ 7 w 225423"/>
                    <a:gd name="connsiteY18" fmla="*/ 560196 h 559958"/>
                    <a:gd name="connsiteX19" fmla="*/ 7 w 225423"/>
                    <a:gd name="connsiteY19" fmla="*/ 130178 h 559958"/>
                    <a:gd name="connsiteX20" fmla="*/ 225430 w 225423"/>
                    <a:gd name="connsiteY20" fmla="*/ 238 h 559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5423" h="559958">
                      <a:moveTo>
                        <a:pt x="225430" y="238"/>
                      </a:moveTo>
                      <a:lnTo>
                        <a:pt x="225430" y="55221"/>
                      </a:lnTo>
                      <a:lnTo>
                        <a:pt x="7" y="185177"/>
                      </a:lnTo>
                      <a:lnTo>
                        <a:pt x="7" y="236909"/>
                      </a:lnTo>
                      <a:lnTo>
                        <a:pt x="225430" y="106953"/>
                      </a:lnTo>
                      <a:lnTo>
                        <a:pt x="225430" y="145756"/>
                      </a:lnTo>
                      <a:lnTo>
                        <a:pt x="7" y="275696"/>
                      </a:lnTo>
                      <a:lnTo>
                        <a:pt x="7" y="327428"/>
                      </a:lnTo>
                      <a:lnTo>
                        <a:pt x="225430" y="197488"/>
                      </a:lnTo>
                      <a:lnTo>
                        <a:pt x="225430" y="236274"/>
                      </a:lnTo>
                      <a:lnTo>
                        <a:pt x="7" y="366214"/>
                      </a:lnTo>
                      <a:lnTo>
                        <a:pt x="7" y="417946"/>
                      </a:lnTo>
                      <a:lnTo>
                        <a:pt x="225430" y="287990"/>
                      </a:lnTo>
                      <a:lnTo>
                        <a:pt x="225430" y="326793"/>
                      </a:lnTo>
                      <a:lnTo>
                        <a:pt x="7" y="456749"/>
                      </a:lnTo>
                      <a:lnTo>
                        <a:pt x="7" y="508465"/>
                      </a:lnTo>
                      <a:lnTo>
                        <a:pt x="225430" y="378509"/>
                      </a:lnTo>
                      <a:lnTo>
                        <a:pt x="225430" y="430256"/>
                      </a:lnTo>
                      <a:lnTo>
                        <a:pt x="7" y="560196"/>
                      </a:lnTo>
                      <a:lnTo>
                        <a:pt x="7" y="130178"/>
                      </a:lnTo>
                      <a:lnTo>
                        <a:pt x="225430" y="238"/>
                      </a:lnTo>
                      <a:close/>
                    </a:path>
                  </a:pathLst>
                </a:custGeom>
                <a:solidFill>
                  <a:srgbClr val="E5E5E9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2" name="Freihandform: Form 1281">
                  <a:extLst>
                    <a:ext uri="{FF2B5EF4-FFF2-40B4-BE49-F238E27FC236}">
                      <a16:creationId xmlns:a16="http://schemas.microsoft.com/office/drawing/2014/main" id="{3403E770-95AE-8D11-9C05-049476DB41D7}"/>
                    </a:ext>
                  </a:extLst>
                </p:cNvPr>
                <p:cNvSpPr/>
                <p:nvPr/>
              </p:nvSpPr>
              <p:spPr>
                <a:xfrm>
                  <a:off x="7347308" y="3016508"/>
                  <a:ext cx="450149" cy="259895"/>
                </a:xfrm>
                <a:custGeom>
                  <a:avLst/>
                  <a:gdLst>
                    <a:gd name="connsiteX0" fmla="*/ 224754 w 450149"/>
                    <a:gd name="connsiteY0" fmla="*/ 260188 h 259895"/>
                    <a:gd name="connsiteX1" fmla="*/ 28 w 450149"/>
                    <a:gd name="connsiteY1" fmla="*/ 130232 h 259895"/>
                    <a:gd name="connsiteX2" fmla="*/ 224754 w 450149"/>
                    <a:gd name="connsiteY2" fmla="*/ 292 h 259895"/>
                    <a:gd name="connsiteX3" fmla="*/ 450178 w 450149"/>
                    <a:gd name="connsiteY3" fmla="*/ 130248 h 259895"/>
                    <a:gd name="connsiteX4" fmla="*/ 224754 w 450149"/>
                    <a:gd name="connsiteY4" fmla="*/ 260188 h 259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0149" h="259895">
                      <a:moveTo>
                        <a:pt x="224754" y="260188"/>
                      </a:moveTo>
                      <a:lnTo>
                        <a:pt x="28" y="130232"/>
                      </a:lnTo>
                      <a:lnTo>
                        <a:pt x="224754" y="292"/>
                      </a:lnTo>
                      <a:lnTo>
                        <a:pt x="450178" y="130248"/>
                      </a:lnTo>
                      <a:lnTo>
                        <a:pt x="224754" y="260188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3" name="Freihandform: Form 1282">
                  <a:extLst>
                    <a:ext uri="{FF2B5EF4-FFF2-40B4-BE49-F238E27FC236}">
                      <a16:creationId xmlns:a16="http://schemas.microsoft.com/office/drawing/2014/main" id="{D8D65B67-ABB7-3C25-2512-DA094566B094}"/>
                    </a:ext>
                  </a:extLst>
                </p:cNvPr>
                <p:cNvSpPr/>
                <p:nvPr/>
              </p:nvSpPr>
              <p:spPr>
                <a:xfrm>
                  <a:off x="7347308" y="3201448"/>
                  <a:ext cx="224725" cy="453243"/>
                </a:xfrm>
                <a:custGeom>
                  <a:avLst/>
                  <a:gdLst>
                    <a:gd name="connsiteX0" fmla="*/ 224776 w 224725"/>
                    <a:gd name="connsiteY0" fmla="*/ 453481 h 453243"/>
                    <a:gd name="connsiteX1" fmla="*/ 50 w 224725"/>
                    <a:gd name="connsiteY1" fmla="*/ 323525 h 453243"/>
                    <a:gd name="connsiteX2" fmla="*/ 50 w 224725"/>
                    <a:gd name="connsiteY2" fmla="*/ 271809 h 453243"/>
                    <a:gd name="connsiteX3" fmla="*/ 224776 w 224725"/>
                    <a:gd name="connsiteY3" fmla="*/ 401765 h 453243"/>
                    <a:gd name="connsiteX4" fmla="*/ 224776 w 224725"/>
                    <a:gd name="connsiteY4" fmla="*/ 453481 h 453243"/>
                    <a:gd name="connsiteX5" fmla="*/ 224776 w 224725"/>
                    <a:gd name="connsiteY5" fmla="*/ 311230 h 453243"/>
                    <a:gd name="connsiteX6" fmla="*/ 50 w 224725"/>
                    <a:gd name="connsiteY6" fmla="*/ 181290 h 453243"/>
                    <a:gd name="connsiteX7" fmla="*/ 50 w 224725"/>
                    <a:gd name="connsiteY7" fmla="*/ 233006 h 453243"/>
                    <a:gd name="connsiteX8" fmla="*/ 224776 w 224725"/>
                    <a:gd name="connsiteY8" fmla="*/ 362962 h 453243"/>
                    <a:gd name="connsiteX9" fmla="*/ 224776 w 224725"/>
                    <a:gd name="connsiteY9" fmla="*/ 311246 h 453243"/>
                    <a:gd name="connsiteX10" fmla="*/ 224776 w 224725"/>
                    <a:gd name="connsiteY10" fmla="*/ 220712 h 453243"/>
                    <a:gd name="connsiteX11" fmla="*/ 50 w 224725"/>
                    <a:gd name="connsiteY11" fmla="*/ 90756 h 453243"/>
                    <a:gd name="connsiteX12" fmla="*/ 50 w 224725"/>
                    <a:gd name="connsiteY12" fmla="*/ 142488 h 453243"/>
                    <a:gd name="connsiteX13" fmla="*/ 224776 w 224725"/>
                    <a:gd name="connsiteY13" fmla="*/ 272444 h 453243"/>
                    <a:gd name="connsiteX14" fmla="*/ 224776 w 224725"/>
                    <a:gd name="connsiteY14" fmla="*/ 220712 h 453243"/>
                    <a:gd name="connsiteX15" fmla="*/ 224776 w 224725"/>
                    <a:gd name="connsiteY15" fmla="*/ 130193 h 453243"/>
                    <a:gd name="connsiteX16" fmla="*/ 50 w 224725"/>
                    <a:gd name="connsiteY16" fmla="*/ 237 h 453243"/>
                    <a:gd name="connsiteX17" fmla="*/ 50 w 224725"/>
                    <a:gd name="connsiteY17" fmla="*/ 51969 h 453243"/>
                    <a:gd name="connsiteX18" fmla="*/ 224776 w 224725"/>
                    <a:gd name="connsiteY18" fmla="*/ 181925 h 453243"/>
                    <a:gd name="connsiteX19" fmla="*/ 224776 w 224725"/>
                    <a:gd name="connsiteY19" fmla="*/ 130193 h 453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24725" h="453243">
                      <a:moveTo>
                        <a:pt x="224776" y="453481"/>
                      </a:moveTo>
                      <a:lnTo>
                        <a:pt x="50" y="323525"/>
                      </a:lnTo>
                      <a:lnTo>
                        <a:pt x="50" y="271809"/>
                      </a:lnTo>
                      <a:lnTo>
                        <a:pt x="224776" y="401765"/>
                      </a:lnTo>
                      <a:lnTo>
                        <a:pt x="224776" y="453481"/>
                      </a:lnTo>
                      <a:close/>
                      <a:moveTo>
                        <a:pt x="224776" y="311230"/>
                      </a:moveTo>
                      <a:lnTo>
                        <a:pt x="50" y="181290"/>
                      </a:lnTo>
                      <a:lnTo>
                        <a:pt x="50" y="233006"/>
                      </a:lnTo>
                      <a:lnTo>
                        <a:pt x="224776" y="362962"/>
                      </a:lnTo>
                      <a:lnTo>
                        <a:pt x="224776" y="311246"/>
                      </a:lnTo>
                      <a:close/>
                      <a:moveTo>
                        <a:pt x="224776" y="220712"/>
                      </a:moveTo>
                      <a:lnTo>
                        <a:pt x="50" y="90756"/>
                      </a:lnTo>
                      <a:lnTo>
                        <a:pt x="50" y="142488"/>
                      </a:lnTo>
                      <a:lnTo>
                        <a:pt x="224776" y="272444"/>
                      </a:lnTo>
                      <a:lnTo>
                        <a:pt x="224776" y="220712"/>
                      </a:lnTo>
                      <a:close/>
                      <a:moveTo>
                        <a:pt x="224776" y="130193"/>
                      </a:moveTo>
                      <a:lnTo>
                        <a:pt x="50" y="237"/>
                      </a:lnTo>
                      <a:lnTo>
                        <a:pt x="50" y="51969"/>
                      </a:lnTo>
                      <a:lnTo>
                        <a:pt x="224776" y="181925"/>
                      </a:lnTo>
                      <a:lnTo>
                        <a:pt x="224776" y="130193"/>
                      </a:lnTo>
                      <a:close/>
                    </a:path>
                  </a:pathLst>
                </a:custGeom>
                <a:solidFill>
                  <a:srgbClr val="66667E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260" name="Gruppieren 1259">
                <a:extLst>
                  <a:ext uri="{FF2B5EF4-FFF2-40B4-BE49-F238E27FC236}">
                    <a16:creationId xmlns:a16="http://schemas.microsoft.com/office/drawing/2014/main" id="{BCEB4ADB-B1E4-4DCD-4150-0F65D21091B2}"/>
                  </a:ext>
                </a:extLst>
              </p:cNvPr>
              <p:cNvGrpSpPr/>
              <p:nvPr/>
            </p:nvGrpSpPr>
            <p:grpSpPr>
              <a:xfrm>
                <a:off x="7400223" y="3028183"/>
                <a:ext cx="338461" cy="226786"/>
                <a:chOff x="7052606" y="2859436"/>
                <a:chExt cx="338461" cy="226786"/>
              </a:xfrm>
            </p:grpSpPr>
            <p:sp>
              <p:nvSpPr>
                <p:cNvPr id="1261" name="Freihandform: Form 1260">
                  <a:extLst>
                    <a:ext uri="{FF2B5EF4-FFF2-40B4-BE49-F238E27FC236}">
                      <a16:creationId xmlns:a16="http://schemas.microsoft.com/office/drawing/2014/main" id="{E68D373A-DAC5-30B7-6806-7E61566D1F1E}"/>
                    </a:ext>
                  </a:extLst>
                </p:cNvPr>
                <p:cNvSpPr/>
                <p:nvPr/>
              </p:nvSpPr>
              <p:spPr>
                <a:xfrm>
                  <a:off x="7052606" y="2944330"/>
                  <a:ext cx="195450" cy="141892"/>
                </a:xfrm>
                <a:custGeom>
                  <a:avLst/>
                  <a:gdLst>
                    <a:gd name="connsiteX0" fmla="*/ 24347 w 195450"/>
                    <a:gd name="connsiteY0" fmla="*/ 60 h 141892"/>
                    <a:gd name="connsiteX1" fmla="*/ 195618 w 195450"/>
                    <a:gd name="connsiteY1" fmla="*/ 99381 h 141892"/>
                    <a:gd name="connsiteX2" fmla="*/ 171439 w 195450"/>
                    <a:gd name="connsiteY2" fmla="*/ 141953 h 141892"/>
                    <a:gd name="connsiteX3" fmla="*/ 168 w 195450"/>
                    <a:gd name="connsiteY3" fmla="*/ 42632 h 141892"/>
                    <a:gd name="connsiteX4" fmla="*/ 24347 w 195450"/>
                    <a:gd name="connsiteY4" fmla="*/ 60 h 14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450" h="141892">
                      <a:moveTo>
                        <a:pt x="24347" y="60"/>
                      </a:moveTo>
                      <a:lnTo>
                        <a:pt x="195618" y="99381"/>
                      </a:lnTo>
                      <a:lnTo>
                        <a:pt x="171439" y="141953"/>
                      </a:lnTo>
                      <a:lnTo>
                        <a:pt x="168" y="42632"/>
                      </a:lnTo>
                      <a:lnTo>
                        <a:pt x="24347" y="60"/>
                      </a:lnTo>
                      <a:close/>
                    </a:path>
                  </a:pathLst>
                </a:custGeom>
                <a:solidFill>
                  <a:srgbClr val="333353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2" name="Freihandform: Form 1261">
                  <a:extLst>
                    <a:ext uri="{FF2B5EF4-FFF2-40B4-BE49-F238E27FC236}">
                      <a16:creationId xmlns:a16="http://schemas.microsoft.com/office/drawing/2014/main" id="{C56B2CCC-17A9-29CD-886C-488C101C0ECB}"/>
                    </a:ext>
                  </a:extLst>
                </p:cNvPr>
                <p:cNvSpPr/>
                <p:nvPr/>
              </p:nvSpPr>
              <p:spPr>
                <a:xfrm>
                  <a:off x="7128824" y="2974505"/>
                  <a:ext cx="69707" cy="97015"/>
                </a:xfrm>
                <a:custGeom>
                  <a:avLst/>
                  <a:gdLst>
                    <a:gd name="connsiteX0" fmla="*/ 69866 w 69707"/>
                    <a:gd name="connsiteY0" fmla="*/ 40483 h 97015"/>
                    <a:gd name="connsiteX1" fmla="*/ 69866 w 69707"/>
                    <a:gd name="connsiteY1" fmla="*/ 97070 h 97015"/>
                    <a:gd name="connsiteX2" fmla="*/ 38091 w 69707"/>
                    <a:gd name="connsiteY2" fmla="*/ 78642 h 97015"/>
                    <a:gd name="connsiteX3" fmla="*/ 38091 w 69707"/>
                    <a:gd name="connsiteY3" fmla="*/ 22055 h 97015"/>
                    <a:gd name="connsiteX4" fmla="*/ 69866 w 69707"/>
                    <a:gd name="connsiteY4" fmla="*/ 40483 h 97015"/>
                    <a:gd name="connsiteX5" fmla="*/ 159 w 69707"/>
                    <a:gd name="connsiteY5" fmla="*/ 55 h 97015"/>
                    <a:gd name="connsiteX6" fmla="*/ 159 w 69707"/>
                    <a:gd name="connsiteY6" fmla="*/ 56642 h 97015"/>
                    <a:gd name="connsiteX7" fmla="*/ 23985 w 69707"/>
                    <a:gd name="connsiteY7" fmla="*/ 70468 h 97015"/>
                    <a:gd name="connsiteX8" fmla="*/ 23985 w 69707"/>
                    <a:gd name="connsiteY8" fmla="*/ 13881 h 97015"/>
                    <a:gd name="connsiteX9" fmla="*/ 159 w 69707"/>
                    <a:gd name="connsiteY9" fmla="*/ 55 h 97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707" h="97015">
                      <a:moveTo>
                        <a:pt x="69866" y="40483"/>
                      </a:moveTo>
                      <a:lnTo>
                        <a:pt x="69866" y="97070"/>
                      </a:lnTo>
                      <a:lnTo>
                        <a:pt x="38091" y="78642"/>
                      </a:lnTo>
                      <a:lnTo>
                        <a:pt x="38091" y="22055"/>
                      </a:lnTo>
                      <a:lnTo>
                        <a:pt x="69866" y="40483"/>
                      </a:lnTo>
                      <a:close/>
                      <a:moveTo>
                        <a:pt x="159" y="55"/>
                      </a:moveTo>
                      <a:lnTo>
                        <a:pt x="159" y="56642"/>
                      </a:lnTo>
                      <a:lnTo>
                        <a:pt x="23985" y="70468"/>
                      </a:lnTo>
                      <a:lnTo>
                        <a:pt x="23985" y="13881"/>
                      </a:lnTo>
                      <a:lnTo>
                        <a:pt x="159" y="55"/>
                      </a:lnTo>
                      <a:close/>
                    </a:path>
                  </a:pathLst>
                </a:custGeom>
                <a:solidFill>
                  <a:srgbClr val="66667E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3" name="Freihandform: Form 1262">
                  <a:extLst>
                    <a:ext uri="{FF2B5EF4-FFF2-40B4-BE49-F238E27FC236}">
                      <a16:creationId xmlns:a16="http://schemas.microsoft.com/office/drawing/2014/main" id="{749EACBF-B097-6C03-3E6A-2F2D26AB1F12}"/>
                    </a:ext>
                  </a:extLst>
                </p:cNvPr>
                <p:cNvSpPr/>
                <p:nvPr/>
              </p:nvSpPr>
              <p:spPr>
                <a:xfrm>
                  <a:off x="7126003" y="2902012"/>
                  <a:ext cx="195450" cy="141892"/>
                </a:xfrm>
                <a:custGeom>
                  <a:avLst/>
                  <a:gdLst>
                    <a:gd name="connsiteX0" fmla="*/ 24289 w 195450"/>
                    <a:gd name="connsiteY0" fmla="*/ 89 h 141892"/>
                    <a:gd name="connsiteX1" fmla="*/ 195569 w 195450"/>
                    <a:gd name="connsiteY1" fmla="*/ 99410 h 141892"/>
                    <a:gd name="connsiteX2" fmla="*/ 171389 w 195450"/>
                    <a:gd name="connsiteY2" fmla="*/ 141981 h 141892"/>
                    <a:gd name="connsiteX3" fmla="*/ 118 w 195450"/>
                    <a:gd name="connsiteY3" fmla="*/ 42660 h 141892"/>
                    <a:gd name="connsiteX4" fmla="*/ 24289 w 195450"/>
                    <a:gd name="connsiteY4" fmla="*/ 89 h 14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450" h="141892">
                      <a:moveTo>
                        <a:pt x="24289" y="89"/>
                      </a:moveTo>
                      <a:lnTo>
                        <a:pt x="195569" y="99410"/>
                      </a:lnTo>
                      <a:lnTo>
                        <a:pt x="171389" y="141981"/>
                      </a:lnTo>
                      <a:lnTo>
                        <a:pt x="118" y="42660"/>
                      </a:lnTo>
                      <a:lnTo>
                        <a:pt x="24289" y="89"/>
                      </a:lnTo>
                      <a:close/>
                    </a:path>
                  </a:pathLst>
                </a:custGeom>
                <a:solidFill>
                  <a:srgbClr val="333353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4" name="Freihandform: Form 1263">
                  <a:extLst>
                    <a:ext uri="{FF2B5EF4-FFF2-40B4-BE49-F238E27FC236}">
                      <a16:creationId xmlns:a16="http://schemas.microsoft.com/office/drawing/2014/main" id="{7A351D2B-78A1-A310-C814-01C70596BE55}"/>
                    </a:ext>
                  </a:extLst>
                </p:cNvPr>
                <p:cNvSpPr/>
                <p:nvPr/>
              </p:nvSpPr>
              <p:spPr>
                <a:xfrm>
                  <a:off x="7202212" y="2932186"/>
                  <a:ext cx="69716" cy="97015"/>
                </a:xfrm>
                <a:custGeom>
                  <a:avLst/>
                  <a:gdLst>
                    <a:gd name="connsiteX0" fmla="*/ 69826 w 69716"/>
                    <a:gd name="connsiteY0" fmla="*/ 40512 h 97015"/>
                    <a:gd name="connsiteX1" fmla="*/ 69826 w 69716"/>
                    <a:gd name="connsiteY1" fmla="*/ 97099 h 97015"/>
                    <a:gd name="connsiteX2" fmla="*/ 38051 w 69716"/>
                    <a:gd name="connsiteY2" fmla="*/ 78670 h 97015"/>
                    <a:gd name="connsiteX3" fmla="*/ 38051 w 69716"/>
                    <a:gd name="connsiteY3" fmla="*/ 22083 h 97015"/>
                    <a:gd name="connsiteX4" fmla="*/ 69826 w 69716"/>
                    <a:gd name="connsiteY4" fmla="*/ 40512 h 97015"/>
                    <a:gd name="connsiteX5" fmla="*/ 109 w 69716"/>
                    <a:gd name="connsiteY5" fmla="*/ 83 h 97015"/>
                    <a:gd name="connsiteX6" fmla="*/ 109 w 69716"/>
                    <a:gd name="connsiteY6" fmla="*/ 56670 h 97015"/>
                    <a:gd name="connsiteX7" fmla="*/ 23936 w 69716"/>
                    <a:gd name="connsiteY7" fmla="*/ 70496 h 97015"/>
                    <a:gd name="connsiteX8" fmla="*/ 23936 w 69716"/>
                    <a:gd name="connsiteY8" fmla="*/ 13909 h 97015"/>
                    <a:gd name="connsiteX9" fmla="*/ 109 w 69716"/>
                    <a:gd name="connsiteY9" fmla="*/ 83 h 97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716" h="97015">
                      <a:moveTo>
                        <a:pt x="69826" y="40512"/>
                      </a:moveTo>
                      <a:lnTo>
                        <a:pt x="69826" y="97099"/>
                      </a:lnTo>
                      <a:lnTo>
                        <a:pt x="38051" y="78670"/>
                      </a:lnTo>
                      <a:lnTo>
                        <a:pt x="38051" y="22083"/>
                      </a:lnTo>
                      <a:lnTo>
                        <a:pt x="69826" y="40512"/>
                      </a:lnTo>
                      <a:close/>
                      <a:moveTo>
                        <a:pt x="109" y="83"/>
                      </a:moveTo>
                      <a:lnTo>
                        <a:pt x="109" y="56670"/>
                      </a:lnTo>
                      <a:lnTo>
                        <a:pt x="23936" y="70496"/>
                      </a:lnTo>
                      <a:lnTo>
                        <a:pt x="23936" y="13909"/>
                      </a:lnTo>
                      <a:lnTo>
                        <a:pt x="109" y="83"/>
                      </a:lnTo>
                      <a:close/>
                    </a:path>
                  </a:pathLst>
                </a:custGeom>
                <a:solidFill>
                  <a:srgbClr val="66667E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5" name="Freihandform: Form 1264">
                  <a:extLst>
                    <a:ext uri="{FF2B5EF4-FFF2-40B4-BE49-F238E27FC236}">
                      <a16:creationId xmlns:a16="http://schemas.microsoft.com/office/drawing/2014/main" id="{8F412371-ABC0-31F6-DC01-2009E40BBE74}"/>
                    </a:ext>
                  </a:extLst>
                </p:cNvPr>
                <p:cNvSpPr/>
                <p:nvPr/>
              </p:nvSpPr>
              <p:spPr>
                <a:xfrm>
                  <a:off x="7195617" y="2859436"/>
                  <a:ext cx="195450" cy="141892"/>
                </a:xfrm>
                <a:custGeom>
                  <a:avLst/>
                  <a:gdLst>
                    <a:gd name="connsiteX0" fmla="*/ 24289 w 195450"/>
                    <a:gd name="connsiteY0" fmla="*/ 89 h 141892"/>
                    <a:gd name="connsiteX1" fmla="*/ 195569 w 195450"/>
                    <a:gd name="connsiteY1" fmla="*/ 99410 h 141892"/>
                    <a:gd name="connsiteX2" fmla="*/ 171389 w 195450"/>
                    <a:gd name="connsiteY2" fmla="*/ 141981 h 141892"/>
                    <a:gd name="connsiteX3" fmla="*/ 118 w 195450"/>
                    <a:gd name="connsiteY3" fmla="*/ 42660 h 141892"/>
                    <a:gd name="connsiteX4" fmla="*/ 24289 w 195450"/>
                    <a:gd name="connsiteY4" fmla="*/ 89 h 14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450" h="141892">
                      <a:moveTo>
                        <a:pt x="24289" y="89"/>
                      </a:moveTo>
                      <a:lnTo>
                        <a:pt x="195569" y="99410"/>
                      </a:lnTo>
                      <a:lnTo>
                        <a:pt x="171389" y="141981"/>
                      </a:lnTo>
                      <a:lnTo>
                        <a:pt x="118" y="42660"/>
                      </a:lnTo>
                      <a:lnTo>
                        <a:pt x="24289" y="89"/>
                      </a:lnTo>
                      <a:close/>
                    </a:path>
                  </a:pathLst>
                </a:custGeom>
                <a:solidFill>
                  <a:srgbClr val="333353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6" name="Freihandform: Form 1265">
                  <a:extLst>
                    <a:ext uri="{FF2B5EF4-FFF2-40B4-BE49-F238E27FC236}">
                      <a16:creationId xmlns:a16="http://schemas.microsoft.com/office/drawing/2014/main" id="{0DE7173F-994E-A3A8-D8C8-C3BF8FCCEB23}"/>
                    </a:ext>
                  </a:extLst>
                </p:cNvPr>
                <p:cNvSpPr/>
                <p:nvPr/>
              </p:nvSpPr>
              <p:spPr>
                <a:xfrm>
                  <a:off x="7271826" y="2889610"/>
                  <a:ext cx="69716" cy="97015"/>
                </a:xfrm>
                <a:custGeom>
                  <a:avLst/>
                  <a:gdLst>
                    <a:gd name="connsiteX0" fmla="*/ 69826 w 69716"/>
                    <a:gd name="connsiteY0" fmla="*/ 40512 h 97015"/>
                    <a:gd name="connsiteX1" fmla="*/ 69826 w 69716"/>
                    <a:gd name="connsiteY1" fmla="*/ 97099 h 97015"/>
                    <a:gd name="connsiteX2" fmla="*/ 38051 w 69716"/>
                    <a:gd name="connsiteY2" fmla="*/ 78670 h 97015"/>
                    <a:gd name="connsiteX3" fmla="*/ 38051 w 69716"/>
                    <a:gd name="connsiteY3" fmla="*/ 22083 h 97015"/>
                    <a:gd name="connsiteX4" fmla="*/ 69826 w 69716"/>
                    <a:gd name="connsiteY4" fmla="*/ 40512 h 97015"/>
                    <a:gd name="connsiteX5" fmla="*/ 109 w 69716"/>
                    <a:gd name="connsiteY5" fmla="*/ 83 h 97015"/>
                    <a:gd name="connsiteX6" fmla="*/ 109 w 69716"/>
                    <a:gd name="connsiteY6" fmla="*/ 56670 h 97015"/>
                    <a:gd name="connsiteX7" fmla="*/ 23936 w 69716"/>
                    <a:gd name="connsiteY7" fmla="*/ 70496 h 97015"/>
                    <a:gd name="connsiteX8" fmla="*/ 23936 w 69716"/>
                    <a:gd name="connsiteY8" fmla="*/ 13909 h 97015"/>
                    <a:gd name="connsiteX9" fmla="*/ 109 w 69716"/>
                    <a:gd name="connsiteY9" fmla="*/ 83 h 97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716" h="97015">
                      <a:moveTo>
                        <a:pt x="69826" y="40512"/>
                      </a:moveTo>
                      <a:lnTo>
                        <a:pt x="69826" y="97099"/>
                      </a:lnTo>
                      <a:lnTo>
                        <a:pt x="38051" y="78670"/>
                      </a:lnTo>
                      <a:lnTo>
                        <a:pt x="38051" y="22083"/>
                      </a:lnTo>
                      <a:lnTo>
                        <a:pt x="69826" y="40512"/>
                      </a:lnTo>
                      <a:close/>
                      <a:moveTo>
                        <a:pt x="109" y="83"/>
                      </a:moveTo>
                      <a:lnTo>
                        <a:pt x="109" y="56670"/>
                      </a:lnTo>
                      <a:lnTo>
                        <a:pt x="23936" y="70496"/>
                      </a:lnTo>
                      <a:lnTo>
                        <a:pt x="23936" y="13909"/>
                      </a:lnTo>
                      <a:lnTo>
                        <a:pt x="109" y="83"/>
                      </a:lnTo>
                      <a:close/>
                    </a:path>
                  </a:pathLst>
                </a:custGeom>
                <a:solidFill>
                  <a:srgbClr val="66667E"/>
                </a:solidFill>
                <a:ln w="9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1618" name="Gruppieren 1617">
            <a:extLst>
              <a:ext uri="{FF2B5EF4-FFF2-40B4-BE49-F238E27FC236}">
                <a16:creationId xmlns:a16="http://schemas.microsoft.com/office/drawing/2014/main" id="{45D2AE06-487D-41ED-DE63-260142A652A3}"/>
              </a:ext>
            </a:extLst>
          </p:cNvPr>
          <p:cNvGrpSpPr/>
          <p:nvPr/>
        </p:nvGrpSpPr>
        <p:grpSpPr>
          <a:xfrm>
            <a:off x="438806" y="2165434"/>
            <a:ext cx="2069185" cy="1888725"/>
            <a:chOff x="438806" y="2734050"/>
            <a:chExt cx="2069185" cy="1888725"/>
          </a:xfrm>
        </p:grpSpPr>
        <p:sp>
          <p:nvSpPr>
            <p:cNvPr id="1425" name="Freihandform: Form 1424">
              <a:extLst>
                <a:ext uri="{FF2B5EF4-FFF2-40B4-BE49-F238E27FC236}">
                  <a16:creationId xmlns:a16="http://schemas.microsoft.com/office/drawing/2014/main" id="{7D79AD8A-3E13-12A8-AEF2-75E840FBB0A1}"/>
                </a:ext>
              </a:extLst>
            </p:cNvPr>
            <p:cNvSpPr/>
            <p:nvPr/>
          </p:nvSpPr>
          <p:spPr>
            <a:xfrm>
              <a:off x="438806" y="3428120"/>
              <a:ext cx="2069185" cy="1194655"/>
            </a:xfrm>
            <a:custGeom>
              <a:avLst/>
              <a:gdLst>
                <a:gd name="connsiteX0" fmla="*/ 1034616 w 2069185"/>
                <a:gd name="connsiteY0" fmla="*/ 0 h 1194655"/>
                <a:gd name="connsiteX1" fmla="*/ 0 w 2069185"/>
                <a:gd name="connsiteY1" fmla="*/ 597328 h 1194655"/>
                <a:gd name="connsiteX2" fmla="*/ 1034570 w 2069185"/>
                <a:gd name="connsiteY2" fmla="*/ 1194656 h 1194655"/>
                <a:gd name="connsiteX3" fmla="*/ 2069185 w 2069185"/>
                <a:gd name="connsiteY3" fmla="*/ 597328 h 1194655"/>
                <a:gd name="connsiteX4" fmla="*/ 1034616 w 2069185"/>
                <a:gd name="connsiteY4" fmla="*/ 0 h 119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185" h="1194655">
                  <a:moveTo>
                    <a:pt x="1034616" y="0"/>
                  </a:moveTo>
                  <a:lnTo>
                    <a:pt x="0" y="597328"/>
                  </a:lnTo>
                  <a:lnTo>
                    <a:pt x="1034570" y="1194656"/>
                  </a:lnTo>
                  <a:lnTo>
                    <a:pt x="2069185" y="597328"/>
                  </a:lnTo>
                  <a:lnTo>
                    <a:pt x="1034616" y="0"/>
                  </a:lnTo>
                  <a:close/>
                </a:path>
              </a:pathLst>
            </a:custGeom>
            <a:solidFill>
              <a:schemeClr val="tx1"/>
            </a:solidFill>
            <a:ln w="22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426" name="Gruppieren 1425">
              <a:extLst>
                <a:ext uri="{FF2B5EF4-FFF2-40B4-BE49-F238E27FC236}">
                  <a16:creationId xmlns:a16="http://schemas.microsoft.com/office/drawing/2014/main" id="{577522FE-DC73-F733-12ED-244A2C8C78C6}"/>
                </a:ext>
              </a:extLst>
            </p:cNvPr>
            <p:cNvGrpSpPr/>
            <p:nvPr/>
          </p:nvGrpSpPr>
          <p:grpSpPr>
            <a:xfrm>
              <a:off x="1245742" y="2734050"/>
              <a:ext cx="450530" cy="1055779"/>
              <a:chOff x="7987675" y="2290710"/>
              <a:chExt cx="450530" cy="1055779"/>
            </a:xfrm>
          </p:grpSpPr>
          <p:grpSp>
            <p:nvGrpSpPr>
              <p:cNvPr id="1551" name="Grafik 20">
                <a:extLst>
                  <a:ext uri="{FF2B5EF4-FFF2-40B4-BE49-F238E27FC236}">
                    <a16:creationId xmlns:a16="http://schemas.microsoft.com/office/drawing/2014/main" id="{3C321086-C8A5-BCC6-F178-5C2C76EE9E8B}"/>
                  </a:ext>
                </a:extLst>
              </p:cNvPr>
              <p:cNvGrpSpPr/>
              <p:nvPr/>
            </p:nvGrpSpPr>
            <p:grpSpPr>
              <a:xfrm>
                <a:off x="7987675" y="2290710"/>
                <a:ext cx="450530" cy="1055779"/>
                <a:chOff x="7987675" y="2290710"/>
                <a:chExt cx="450530" cy="1055779"/>
              </a:xfrm>
            </p:grpSpPr>
            <p:grpSp>
              <p:nvGrpSpPr>
                <p:cNvPr id="1559" name="Grafik 20">
                  <a:extLst>
                    <a:ext uri="{FF2B5EF4-FFF2-40B4-BE49-F238E27FC236}">
                      <a16:creationId xmlns:a16="http://schemas.microsoft.com/office/drawing/2014/main" id="{4DD1C5A1-F237-A8A4-FF90-7638D3E9F17A}"/>
                    </a:ext>
                  </a:extLst>
                </p:cNvPr>
                <p:cNvGrpSpPr/>
                <p:nvPr/>
              </p:nvGrpSpPr>
              <p:grpSpPr>
                <a:xfrm>
                  <a:off x="7987675" y="2557503"/>
                  <a:ext cx="450530" cy="788986"/>
                  <a:chOff x="7987675" y="2557503"/>
                  <a:chExt cx="450530" cy="788986"/>
                </a:xfrm>
              </p:grpSpPr>
              <p:sp>
                <p:nvSpPr>
                  <p:cNvPr id="1596" name="Freihandform: Form 1595">
                    <a:extLst>
                      <a:ext uri="{FF2B5EF4-FFF2-40B4-BE49-F238E27FC236}">
                        <a16:creationId xmlns:a16="http://schemas.microsoft.com/office/drawing/2014/main" id="{33272853-5110-7D4B-2348-52EEE213FD60}"/>
                      </a:ext>
                    </a:extLst>
                  </p:cNvPr>
                  <p:cNvSpPr/>
                  <p:nvPr/>
                </p:nvSpPr>
                <p:spPr>
                  <a:xfrm>
                    <a:off x="7987675" y="3023041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26 h 259895"/>
                      <a:gd name="connsiteX1" fmla="*/ 307 w 450530"/>
                      <a:gd name="connsiteY1" fmla="*/ 129771 h 259895"/>
                      <a:gd name="connsiteX2" fmla="*/ 225112 w 450530"/>
                      <a:gd name="connsiteY2" fmla="*/ -169 h 259895"/>
                      <a:gd name="connsiteX3" fmla="*/ 450838 w 450530"/>
                      <a:gd name="connsiteY3" fmla="*/ 129786 h 259895"/>
                      <a:gd name="connsiteX4" fmla="*/ 225112 w 450530"/>
                      <a:gd name="connsiteY4" fmla="*/ 259726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26"/>
                        </a:moveTo>
                        <a:lnTo>
                          <a:pt x="307" y="129771"/>
                        </a:lnTo>
                        <a:lnTo>
                          <a:pt x="225112" y="-169"/>
                        </a:lnTo>
                        <a:lnTo>
                          <a:pt x="450838" y="129786"/>
                        </a:lnTo>
                        <a:lnTo>
                          <a:pt x="225112" y="259726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7" name="Freihandform: Form 1596">
                    <a:extLst>
                      <a:ext uri="{FF2B5EF4-FFF2-40B4-BE49-F238E27FC236}">
                        <a16:creationId xmlns:a16="http://schemas.microsoft.com/office/drawing/2014/main" id="{ABB9463B-328C-F4D7-0E57-D207AF0F21E2}"/>
                      </a:ext>
                    </a:extLst>
                  </p:cNvPr>
                  <p:cNvSpPr/>
                  <p:nvPr/>
                </p:nvSpPr>
                <p:spPr>
                  <a:xfrm>
                    <a:off x="7987675" y="297132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37 h 259895"/>
                      <a:gd name="connsiteX1" fmla="*/ 307 w 450530"/>
                      <a:gd name="connsiteY1" fmla="*/ 129781 h 259895"/>
                      <a:gd name="connsiteX2" fmla="*/ 225112 w 450530"/>
                      <a:gd name="connsiteY2" fmla="*/ -159 h 259895"/>
                      <a:gd name="connsiteX3" fmla="*/ 450838 w 450530"/>
                      <a:gd name="connsiteY3" fmla="*/ 129781 h 259895"/>
                      <a:gd name="connsiteX4" fmla="*/ 225112 w 450530"/>
                      <a:gd name="connsiteY4" fmla="*/ 25973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37"/>
                        </a:moveTo>
                        <a:lnTo>
                          <a:pt x="307" y="129781"/>
                        </a:lnTo>
                        <a:lnTo>
                          <a:pt x="225112" y="-159"/>
                        </a:lnTo>
                        <a:lnTo>
                          <a:pt x="450838" y="129781"/>
                        </a:lnTo>
                        <a:lnTo>
                          <a:pt x="225112" y="25973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8" name="Freihandform: Form 1597">
                    <a:extLst>
                      <a:ext uri="{FF2B5EF4-FFF2-40B4-BE49-F238E27FC236}">
                        <a16:creationId xmlns:a16="http://schemas.microsoft.com/office/drawing/2014/main" id="{606B0DF8-DE07-C7D4-A25F-BC509BF0A1A4}"/>
                      </a:ext>
                    </a:extLst>
                  </p:cNvPr>
                  <p:cNvSpPr/>
                  <p:nvPr/>
                </p:nvSpPr>
                <p:spPr>
                  <a:xfrm>
                    <a:off x="8212480" y="3101265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495 h 181671"/>
                      <a:gd name="connsiteX1" fmla="*/ 285 w 225725"/>
                      <a:gd name="connsiteY1" fmla="*/ 129779 h 181671"/>
                      <a:gd name="connsiteX2" fmla="*/ 226010 w 225725"/>
                      <a:gd name="connsiteY2" fmla="*/ -177 h 181671"/>
                      <a:gd name="connsiteX3" fmla="*/ 226010 w 225725"/>
                      <a:gd name="connsiteY3" fmla="*/ 51555 h 181671"/>
                      <a:gd name="connsiteX4" fmla="*/ 285 w 225725"/>
                      <a:gd name="connsiteY4" fmla="*/ 181495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495"/>
                        </a:moveTo>
                        <a:lnTo>
                          <a:pt x="285" y="129779"/>
                        </a:lnTo>
                        <a:lnTo>
                          <a:pt x="226010" y="-177"/>
                        </a:lnTo>
                        <a:lnTo>
                          <a:pt x="226010" y="51555"/>
                        </a:lnTo>
                        <a:lnTo>
                          <a:pt x="285" y="181495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9" name="Freihandform: Form 1598">
                    <a:extLst>
                      <a:ext uri="{FF2B5EF4-FFF2-40B4-BE49-F238E27FC236}">
                        <a16:creationId xmlns:a16="http://schemas.microsoft.com/office/drawing/2014/main" id="{D5742E53-C3A3-972B-7C54-E1ED6E747299}"/>
                      </a:ext>
                    </a:extLst>
                  </p:cNvPr>
                  <p:cNvSpPr/>
                  <p:nvPr/>
                </p:nvSpPr>
                <p:spPr>
                  <a:xfrm>
                    <a:off x="7987675" y="2932522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44 h 259895"/>
                      <a:gd name="connsiteX1" fmla="*/ 307 w 450530"/>
                      <a:gd name="connsiteY1" fmla="*/ 129788 h 259895"/>
                      <a:gd name="connsiteX2" fmla="*/ 225112 w 450530"/>
                      <a:gd name="connsiteY2" fmla="*/ -152 h 259895"/>
                      <a:gd name="connsiteX3" fmla="*/ 450838 w 450530"/>
                      <a:gd name="connsiteY3" fmla="*/ 129788 h 259895"/>
                      <a:gd name="connsiteX4" fmla="*/ 225112 w 450530"/>
                      <a:gd name="connsiteY4" fmla="*/ 259744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44"/>
                        </a:moveTo>
                        <a:lnTo>
                          <a:pt x="307" y="129788"/>
                        </a:lnTo>
                        <a:lnTo>
                          <a:pt x="225112" y="-152"/>
                        </a:lnTo>
                        <a:lnTo>
                          <a:pt x="450838" y="129788"/>
                        </a:lnTo>
                        <a:lnTo>
                          <a:pt x="225112" y="259744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0" name="Freihandform: Form 1599">
                    <a:extLst>
                      <a:ext uri="{FF2B5EF4-FFF2-40B4-BE49-F238E27FC236}">
                        <a16:creationId xmlns:a16="http://schemas.microsoft.com/office/drawing/2014/main" id="{EE8647C1-CB24-AE74-7B77-53098ED410D9}"/>
                      </a:ext>
                    </a:extLst>
                  </p:cNvPr>
                  <p:cNvSpPr/>
                  <p:nvPr/>
                </p:nvSpPr>
                <p:spPr>
                  <a:xfrm>
                    <a:off x="7987675" y="2880791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54 h 259895"/>
                      <a:gd name="connsiteX1" fmla="*/ 307 w 450530"/>
                      <a:gd name="connsiteY1" fmla="*/ 129814 h 259895"/>
                      <a:gd name="connsiteX2" fmla="*/ 225112 w 450530"/>
                      <a:gd name="connsiteY2" fmla="*/ -142 h 259895"/>
                      <a:gd name="connsiteX3" fmla="*/ 450838 w 450530"/>
                      <a:gd name="connsiteY3" fmla="*/ 129814 h 259895"/>
                      <a:gd name="connsiteX4" fmla="*/ 225112 w 450530"/>
                      <a:gd name="connsiteY4" fmla="*/ 259754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54"/>
                        </a:moveTo>
                        <a:lnTo>
                          <a:pt x="307" y="129814"/>
                        </a:lnTo>
                        <a:lnTo>
                          <a:pt x="225112" y="-142"/>
                        </a:lnTo>
                        <a:lnTo>
                          <a:pt x="450838" y="129814"/>
                        </a:lnTo>
                        <a:lnTo>
                          <a:pt x="225112" y="25975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1" name="Freihandform: Form 1600">
                    <a:extLst>
                      <a:ext uri="{FF2B5EF4-FFF2-40B4-BE49-F238E27FC236}">
                        <a16:creationId xmlns:a16="http://schemas.microsoft.com/office/drawing/2014/main" id="{07EDCA6B-4A0D-4928-8822-D6C9CF1EF0E8}"/>
                      </a:ext>
                    </a:extLst>
                  </p:cNvPr>
                  <p:cNvSpPr/>
                  <p:nvPr/>
                </p:nvSpPr>
                <p:spPr>
                  <a:xfrm>
                    <a:off x="8212480" y="3010747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12 h 181671"/>
                      <a:gd name="connsiteX1" fmla="*/ 285 w 225725"/>
                      <a:gd name="connsiteY1" fmla="*/ 129781 h 181671"/>
                      <a:gd name="connsiteX2" fmla="*/ 226010 w 225725"/>
                      <a:gd name="connsiteY2" fmla="*/ -159 h 181671"/>
                      <a:gd name="connsiteX3" fmla="*/ 226010 w 225725"/>
                      <a:gd name="connsiteY3" fmla="*/ 51556 h 181671"/>
                      <a:gd name="connsiteX4" fmla="*/ 285 w 225725"/>
                      <a:gd name="connsiteY4" fmla="*/ 181512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12"/>
                        </a:moveTo>
                        <a:lnTo>
                          <a:pt x="285" y="129781"/>
                        </a:lnTo>
                        <a:lnTo>
                          <a:pt x="226010" y="-159"/>
                        </a:lnTo>
                        <a:lnTo>
                          <a:pt x="226010" y="51556"/>
                        </a:lnTo>
                        <a:lnTo>
                          <a:pt x="285" y="18151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2" name="Freihandform: Form 1601">
                    <a:extLst>
                      <a:ext uri="{FF2B5EF4-FFF2-40B4-BE49-F238E27FC236}">
                        <a16:creationId xmlns:a16="http://schemas.microsoft.com/office/drawing/2014/main" id="{187725E8-A3EB-A251-401B-00B3E31DE753}"/>
                      </a:ext>
                    </a:extLst>
                  </p:cNvPr>
                  <p:cNvSpPr/>
                  <p:nvPr/>
                </p:nvSpPr>
                <p:spPr>
                  <a:xfrm>
                    <a:off x="7987675" y="2842004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62 h 259895"/>
                      <a:gd name="connsiteX1" fmla="*/ 307 w 450530"/>
                      <a:gd name="connsiteY1" fmla="*/ 129822 h 259895"/>
                      <a:gd name="connsiteX2" fmla="*/ 225112 w 450530"/>
                      <a:gd name="connsiteY2" fmla="*/ -134 h 259895"/>
                      <a:gd name="connsiteX3" fmla="*/ 450838 w 450530"/>
                      <a:gd name="connsiteY3" fmla="*/ 129822 h 259895"/>
                      <a:gd name="connsiteX4" fmla="*/ 225112 w 450530"/>
                      <a:gd name="connsiteY4" fmla="*/ 259762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62"/>
                        </a:moveTo>
                        <a:lnTo>
                          <a:pt x="307" y="129822"/>
                        </a:lnTo>
                        <a:lnTo>
                          <a:pt x="225112" y="-134"/>
                        </a:lnTo>
                        <a:lnTo>
                          <a:pt x="450838" y="129822"/>
                        </a:lnTo>
                        <a:lnTo>
                          <a:pt x="225112" y="259762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3" name="Freihandform: Form 1602">
                    <a:extLst>
                      <a:ext uri="{FF2B5EF4-FFF2-40B4-BE49-F238E27FC236}">
                        <a16:creationId xmlns:a16="http://schemas.microsoft.com/office/drawing/2014/main" id="{11106DDB-F027-F159-8B92-0E0137C253D1}"/>
                      </a:ext>
                    </a:extLst>
                  </p:cNvPr>
                  <p:cNvSpPr/>
                  <p:nvPr/>
                </p:nvSpPr>
                <p:spPr>
                  <a:xfrm>
                    <a:off x="8212480" y="2920228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30 h 181671"/>
                      <a:gd name="connsiteX1" fmla="*/ 285 w 225725"/>
                      <a:gd name="connsiteY1" fmla="*/ 129798 h 181671"/>
                      <a:gd name="connsiteX2" fmla="*/ 226010 w 225725"/>
                      <a:gd name="connsiteY2" fmla="*/ -142 h 181671"/>
                      <a:gd name="connsiteX3" fmla="*/ 226010 w 225725"/>
                      <a:gd name="connsiteY3" fmla="*/ 51590 h 181671"/>
                      <a:gd name="connsiteX4" fmla="*/ 285 w 225725"/>
                      <a:gd name="connsiteY4" fmla="*/ 181530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30"/>
                        </a:moveTo>
                        <a:lnTo>
                          <a:pt x="285" y="129798"/>
                        </a:lnTo>
                        <a:lnTo>
                          <a:pt x="226010" y="-142"/>
                        </a:lnTo>
                        <a:lnTo>
                          <a:pt x="226010" y="51590"/>
                        </a:lnTo>
                        <a:lnTo>
                          <a:pt x="285" y="181530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4" name="Freihandform: Form 1603">
                    <a:extLst>
                      <a:ext uri="{FF2B5EF4-FFF2-40B4-BE49-F238E27FC236}">
                        <a16:creationId xmlns:a16="http://schemas.microsoft.com/office/drawing/2014/main" id="{4AE6A999-82B6-CE73-F316-13EA9677FD8B}"/>
                      </a:ext>
                    </a:extLst>
                  </p:cNvPr>
                  <p:cNvSpPr/>
                  <p:nvPr/>
                </p:nvSpPr>
                <p:spPr>
                  <a:xfrm>
                    <a:off x="7987675" y="2790272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72 h 259895"/>
                      <a:gd name="connsiteX1" fmla="*/ 307 w 450530"/>
                      <a:gd name="connsiteY1" fmla="*/ 129832 h 259895"/>
                      <a:gd name="connsiteX2" fmla="*/ 225112 w 450530"/>
                      <a:gd name="connsiteY2" fmla="*/ -124 h 259895"/>
                      <a:gd name="connsiteX3" fmla="*/ 450838 w 450530"/>
                      <a:gd name="connsiteY3" fmla="*/ 129832 h 259895"/>
                      <a:gd name="connsiteX4" fmla="*/ 225112 w 450530"/>
                      <a:gd name="connsiteY4" fmla="*/ 259772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72"/>
                        </a:moveTo>
                        <a:lnTo>
                          <a:pt x="307" y="129832"/>
                        </a:lnTo>
                        <a:lnTo>
                          <a:pt x="225112" y="-124"/>
                        </a:lnTo>
                        <a:lnTo>
                          <a:pt x="450838" y="129832"/>
                        </a:lnTo>
                        <a:lnTo>
                          <a:pt x="225112" y="2597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5" name="Freihandform: Form 1604">
                    <a:extLst>
                      <a:ext uri="{FF2B5EF4-FFF2-40B4-BE49-F238E27FC236}">
                        <a16:creationId xmlns:a16="http://schemas.microsoft.com/office/drawing/2014/main" id="{63BD497F-8E12-4DBC-5642-4B64652AE214}"/>
                      </a:ext>
                    </a:extLst>
                  </p:cNvPr>
                  <p:cNvSpPr/>
                  <p:nvPr/>
                </p:nvSpPr>
                <p:spPr>
                  <a:xfrm>
                    <a:off x="7987675" y="275148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80 h 259895"/>
                      <a:gd name="connsiteX1" fmla="*/ 307 w 450530"/>
                      <a:gd name="connsiteY1" fmla="*/ 129824 h 259895"/>
                      <a:gd name="connsiteX2" fmla="*/ 225112 w 450530"/>
                      <a:gd name="connsiteY2" fmla="*/ -116 h 259895"/>
                      <a:gd name="connsiteX3" fmla="*/ 450838 w 450530"/>
                      <a:gd name="connsiteY3" fmla="*/ 129824 h 259895"/>
                      <a:gd name="connsiteX4" fmla="*/ 225112 w 450530"/>
                      <a:gd name="connsiteY4" fmla="*/ 25978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80"/>
                        </a:moveTo>
                        <a:lnTo>
                          <a:pt x="307" y="129824"/>
                        </a:lnTo>
                        <a:lnTo>
                          <a:pt x="225112" y="-116"/>
                        </a:lnTo>
                        <a:lnTo>
                          <a:pt x="450838" y="129824"/>
                        </a:lnTo>
                        <a:lnTo>
                          <a:pt x="225112" y="259780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6" name="Freihandform: Form 1605">
                    <a:extLst>
                      <a:ext uri="{FF2B5EF4-FFF2-40B4-BE49-F238E27FC236}">
                        <a16:creationId xmlns:a16="http://schemas.microsoft.com/office/drawing/2014/main" id="{83EFA64A-BC10-562C-C887-82CE7D0E065A}"/>
                      </a:ext>
                    </a:extLst>
                  </p:cNvPr>
                  <p:cNvSpPr/>
                  <p:nvPr/>
                </p:nvSpPr>
                <p:spPr>
                  <a:xfrm>
                    <a:off x="8212480" y="2829694"/>
                    <a:ext cx="225725" cy="181687"/>
                  </a:xfrm>
                  <a:custGeom>
                    <a:avLst/>
                    <a:gdLst>
                      <a:gd name="connsiteX0" fmla="*/ 285 w 225725"/>
                      <a:gd name="connsiteY0" fmla="*/ 181564 h 181687"/>
                      <a:gd name="connsiteX1" fmla="*/ 285 w 225725"/>
                      <a:gd name="connsiteY1" fmla="*/ 129832 h 181687"/>
                      <a:gd name="connsiteX2" fmla="*/ 226010 w 225725"/>
                      <a:gd name="connsiteY2" fmla="*/ -124 h 181687"/>
                      <a:gd name="connsiteX3" fmla="*/ 226010 w 225725"/>
                      <a:gd name="connsiteY3" fmla="*/ 51608 h 181687"/>
                      <a:gd name="connsiteX4" fmla="*/ 285 w 225725"/>
                      <a:gd name="connsiteY4" fmla="*/ 181564 h 18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87">
                        <a:moveTo>
                          <a:pt x="285" y="181564"/>
                        </a:moveTo>
                        <a:lnTo>
                          <a:pt x="285" y="129832"/>
                        </a:lnTo>
                        <a:lnTo>
                          <a:pt x="226010" y="-124"/>
                        </a:lnTo>
                        <a:lnTo>
                          <a:pt x="226010" y="51608"/>
                        </a:lnTo>
                        <a:lnTo>
                          <a:pt x="285" y="181564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7" name="Freihandform: Form 1606">
                    <a:extLst>
                      <a:ext uri="{FF2B5EF4-FFF2-40B4-BE49-F238E27FC236}">
                        <a16:creationId xmlns:a16="http://schemas.microsoft.com/office/drawing/2014/main" id="{784EA3D3-A3DB-CB37-8B70-BF694FDC143F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99754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90 h 259895"/>
                      <a:gd name="connsiteX1" fmla="*/ 307 w 450530"/>
                      <a:gd name="connsiteY1" fmla="*/ 129834 h 259895"/>
                      <a:gd name="connsiteX2" fmla="*/ 225112 w 450530"/>
                      <a:gd name="connsiteY2" fmla="*/ -106 h 259895"/>
                      <a:gd name="connsiteX3" fmla="*/ 450838 w 450530"/>
                      <a:gd name="connsiteY3" fmla="*/ 129834 h 259895"/>
                      <a:gd name="connsiteX4" fmla="*/ 225112 w 450530"/>
                      <a:gd name="connsiteY4" fmla="*/ 25979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90"/>
                        </a:moveTo>
                        <a:lnTo>
                          <a:pt x="307" y="129834"/>
                        </a:lnTo>
                        <a:lnTo>
                          <a:pt x="225112" y="-106"/>
                        </a:lnTo>
                        <a:lnTo>
                          <a:pt x="450838" y="129834"/>
                        </a:lnTo>
                        <a:lnTo>
                          <a:pt x="225112" y="25979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8" name="Freihandform: Form 1607">
                    <a:extLst>
                      <a:ext uri="{FF2B5EF4-FFF2-40B4-BE49-F238E27FC236}">
                        <a16:creationId xmlns:a16="http://schemas.microsoft.com/office/drawing/2014/main" id="{3D7422B8-33F7-CEEF-D2A7-68B1429DF428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60967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97 h 259895"/>
                      <a:gd name="connsiteX1" fmla="*/ 307 w 450530"/>
                      <a:gd name="connsiteY1" fmla="*/ 129841 h 259895"/>
                      <a:gd name="connsiteX2" fmla="*/ 225112 w 450530"/>
                      <a:gd name="connsiteY2" fmla="*/ -99 h 259895"/>
                      <a:gd name="connsiteX3" fmla="*/ 450838 w 450530"/>
                      <a:gd name="connsiteY3" fmla="*/ 129841 h 259895"/>
                      <a:gd name="connsiteX4" fmla="*/ 225112 w 450530"/>
                      <a:gd name="connsiteY4" fmla="*/ 25979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97"/>
                        </a:moveTo>
                        <a:lnTo>
                          <a:pt x="307" y="129841"/>
                        </a:lnTo>
                        <a:lnTo>
                          <a:pt x="225112" y="-99"/>
                        </a:lnTo>
                        <a:lnTo>
                          <a:pt x="450838" y="129841"/>
                        </a:lnTo>
                        <a:lnTo>
                          <a:pt x="225112" y="259797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9" name="Freihandform: Form 1608">
                    <a:extLst>
                      <a:ext uri="{FF2B5EF4-FFF2-40B4-BE49-F238E27FC236}">
                        <a16:creationId xmlns:a16="http://schemas.microsoft.com/office/drawing/2014/main" id="{26DB9209-65FD-8CE9-BF7F-D14DEA602D78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0923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07 h 259895"/>
                      <a:gd name="connsiteX1" fmla="*/ 307 w 450530"/>
                      <a:gd name="connsiteY1" fmla="*/ 129867 h 259895"/>
                      <a:gd name="connsiteX2" fmla="*/ 225112 w 450530"/>
                      <a:gd name="connsiteY2" fmla="*/ -89 h 259895"/>
                      <a:gd name="connsiteX3" fmla="*/ 450838 w 450530"/>
                      <a:gd name="connsiteY3" fmla="*/ 129867 h 259895"/>
                      <a:gd name="connsiteX4" fmla="*/ 225112 w 450530"/>
                      <a:gd name="connsiteY4" fmla="*/ 25980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07"/>
                        </a:moveTo>
                        <a:lnTo>
                          <a:pt x="307" y="129867"/>
                        </a:lnTo>
                        <a:lnTo>
                          <a:pt x="225112" y="-89"/>
                        </a:lnTo>
                        <a:lnTo>
                          <a:pt x="450838" y="129867"/>
                        </a:lnTo>
                        <a:lnTo>
                          <a:pt x="225112" y="25980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0" name="Freihandform: Form 1609">
                    <a:extLst>
                      <a:ext uri="{FF2B5EF4-FFF2-40B4-BE49-F238E27FC236}">
                        <a16:creationId xmlns:a16="http://schemas.microsoft.com/office/drawing/2014/main" id="{08BB4D28-B53D-6CD4-15A5-C01CA81E8CCF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87459"/>
                    <a:ext cx="224805" cy="647209"/>
                  </a:xfrm>
                  <a:custGeom>
                    <a:avLst/>
                    <a:gdLst>
                      <a:gd name="connsiteX0" fmla="*/ 225134 w 224805"/>
                      <a:gd name="connsiteY0" fmla="*/ 647068 h 647209"/>
                      <a:gd name="connsiteX1" fmla="*/ 329 w 224805"/>
                      <a:gd name="connsiteY1" fmla="*/ 517112 h 647209"/>
                      <a:gd name="connsiteX2" fmla="*/ 329 w 224805"/>
                      <a:gd name="connsiteY2" fmla="*/ -142 h 647209"/>
                      <a:gd name="connsiteX3" fmla="*/ 225134 w 224805"/>
                      <a:gd name="connsiteY3" fmla="*/ 129798 h 647209"/>
                      <a:gd name="connsiteX4" fmla="*/ 225134 w 224805"/>
                      <a:gd name="connsiteY4" fmla="*/ 647068 h 647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4805" h="647209">
                        <a:moveTo>
                          <a:pt x="225134" y="647068"/>
                        </a:moveTo>
                        <a:lnTo>
                          <a:pt x="329" y="517112"/>
                        </a:lnTo>
                        <a:lnTo>
                          <a:pt x="329" y="-142"/>
                        </a:lnTo>
                        <a:lnTo>
                          <a:pt x="225134" y="129798"/>
                        </a:lnTo>
                        <a:lnTo>
                          <a:pt x="225134" y="647068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1" name="Freihandform: Form 1610">
                    <a:extLst>
                      <a:ext uri="{FF2B5EF4-FFF2-40B4-BE49-F238E27FC236}">
                        <a16:creationId xmlns:a16="http://schemas.microsoft.com/office/drawing/2014/main" id="{7D46C762-2E77-32D3-B86D-C8A48C379858}"/>
                      </a:ext>
                    </a:extLst>
                  </p:cNvPr>
                  <p:cNvSpPr/>
                  <p:nvPr/>
                </p:nvSpPr>
                <p:spPr>
                  <a:xfrm>
                    <a:off x="8212480" y="2739191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29834 h 181671"/>
                      <a:gd name="connsiteX1" fmla="*/ 226010 w 225725"/>
                      <a:gd name="connsiteY1" fmla="*/ -106 h 181671"/>
                      <a:gd name="connsiteX2" fmla="*/ 226010 w 225725"/>
                      <a:gd name="connsiteY2" fmla="*/ 51610 h 181671"/>
                      <a:gd name="connsiteX3" fmla="*/ 285 w 225725"/>
                      <a:gd name="connsiteY3" fmla="*/ 181565 h 181671"/>
                      <a:gd name="connsiteX4" fmla="*/ 285 w 225725"/>
                      <a:gd name="connsiteY4" fmla="*/ 129834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29834"/>
                        </a:moveTo>
                        <a:lnTo>
                          <a:pt x="226010" y="-106"/>
                        </a:lnTo>
                        <a:lnTo>
                          <a:pt x="226010" y="51610"/>
                        </a:lnTo>
                        <a:lnTo>
                          <a:pt x="285" y="181565"/>
                        </a:lnTo>
                        <a:lnTo>
                          <a:pt x="285" y="129834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2" name="Freihandform: Form 1611">
                    <a:extLst>
                      <a:ext uri="{FF2B5EF4-FFF2-40B4-BE49-F238E27FC236}">
                        <a16:creationId xmlns:a16="http://schemas.microsoft.com/office/drawing/2014/main" id="{AE26C51A-5709-CF22-3628-E60ACCB8182C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87459"/>
                    <a:ext cx="225725" cy="647209"/>
                  </a:xfrm>
                  <a:custGeom>
                    <a:avLst/>
                    <a:gdLst>
                      <a:gd name="connsiteX0" fmla="*/ 226010 w 225725"/>
                      <a:gd name="connsiteY0" fmla="*/ -142 h 647209"/>
                      <a:gd name="connsiteX1" fmla="*/ 226010 w 225725"/>
                      <a:gd name="connsiteY1" fmla="*/ 51590 h 647209"/>
                      <a:gd name="connsiteX2" fmla="*/ 285 w 225725"/>
                      <a:gd name="connsiteY2" fmla="*/ 181530 h 647209"/>
                      <a:gd name="connsiteX3" fmla="*/ 285 w 225725"/>
                      <a:gd name="connsiteY3" fmla="*/ 233262 h 647209"/>
                      <a:gd name="connsiteX4" fmla="*/ 226010 w 225725"/>
                      <a:gd name="connsiteY4" fmla="*/ 103306 h 647209"/>
                      <a:gd name="connsiteX5" fmla="*/ 226010 w 225725"/>
                      <a:gd name="connsiteY5" fmla="*/ 142093 h 647209"/>
                      <a:gd name="connsiteX6" fmla="*/ 285 w 225725"/>
                      <a:gd name="connsiteY6" fmla="*/ 272049 h 647209"/>
                      <a:gd name="connsiteX7" fmla="*/ 285 w 225725"/>
                      <a:gd name="connsiteY7" fmla="*/ 323780 h 647209"/>
                      <a:gd name="connsiteX8" fmla="*/ 226010 w 225725"/>
                      <a:gd name="connsiteY8" fmla="*/ 193824 h 647209"/>
                      <a:gd name="connsiteX9" fmla="*/ 226010 w 225725"/>
                      <a:gd name="connsiteY9" fmla="*/ 232627 h 647209"/>
                      <a:gd name="connsiteX10" fmla="*/ 285 w 225725"/>
                      <a:gd name="connsiteY10" fmla="*/ 362567 h 647209"/>
                      <a:gd name="connsiteX11" fmla="*/ 285 w 225725"/>
                      <a:gd name="connsiteY11" fmla="*/ 414299 h 647209"/>
                      <a:gd name="connsiteX12" fmla="*/ 226010 w 225725"/>
                      <a:gd name="connsiteY12" fmla="*/ 284359 h 647209"/>
                      <a:gd name="connsiteX13" fmla="*/ 226010 w 225725"/>
                      <a:gd name="connsiteY13" fmla="*/ 323146 h 647209"/>
                      <a:gd name="connsiteX14" fmla="*/ 285 w 225725"/>
                      <a:gd name="connsiteY14" fmla="*/ 453086 h 647209"/>
                      <a:gd name="connsiteX15" fmla="*/ 285 w 225725"/>
                      <a:gd name="connsiteY15" fmla="*/ 504817 h 647209"/>
                      <a:gd name="connsiteX16" fmla="*/ 226010 w 225725"/>
                      <a:gd name="connsiteY16" fmla="*/ 374862 h 647209"/>
                      <a:gd name="connsiteX17" fmla="*/ 226010 w 225725"/>
                      <a:gd name="connsiteY17" fmla="*/ 413664 h 647209"/>
                      <a:gd name="connsiteX18" fmla="*/ 285 w 225725"/>
                      <a:gd name="connsiteY18" fmla="*/ 543620 h 647209"/>
                      <a:gd name="connsiteX19" fmla="*/ 285 w 225725"/>
                      <a:gd name="connsiteY19" fmla="*/ 595336 h 647209"/>
                      <a:gd name="connsiteX20" fmla="*/ 226010 w 225725"/>
                      <a:gd name="connsiteY20" fmla="*/ 465396 h 647209"/>
                      <a:gd name="connsiteX21" fmla="*/ 226010 w 225725"/>
                      <a:gd name="connsiteY21" fmla="*/ 517128 h 647209"/>
                      <a:gd name="connsiteX22" fmla="*/ 285 w 225725"/>
                      <a:gd name="connsiteY22" fmla="*/ 647068 h 647209"/>
                      <a:gd name="connsiteX23" fmla="*/ 285 w 225725"/>
                      <a:gd name="connsiteY23" fmla="*/ 129798 h 647209"/>
                      <a:gd name="connsiteX24" fmla="*/ 226010 w 225725"/>
                      <a:gd name="connsiteY24" fmla="*/ -142 h 647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5725" h="647209">
                        <a:moveTo>
                          <a:pt x="226010" y="-142"/>
                        </a:moveTo>
                        <a:lnTo>
                          <a:pt x="226010" y="51590"/>
                        </a:lnTo>
                        <a:lnTo>
                          <a:pt x="285" y="181530"/>
                        </a:lnTo>
                        <a:lnTo>
                          <a:pt x="285" y="233262"/>
                        </a:lnTo>
                        <a:lnTo>
                          <a:pt x="226010" y="103306"/>
                        </a:lnTo>
                        <a:lnTo>
                          <a:pt x="226010" y="142093"/>
                        </a:lnTo>
                        <a:lnTo>
                          <a:pt x="285" y="272049"/>
                        </a:lnTo>
                        <a:lnTo>
                          <a:pt x="285" y="323780"/>
                        </a:lnTo>
                        <a:lnTo>
                          <a:pt x="226010" y="193824"/>
                        </a:lnTo>
                        <a:lnTo>
                          <a:pt x="226010" y="232627"/>
                        </a:lnTo>
                        <a:lnTo>
                          <a:pt x="285" y="362567"/>
                        </a:lnTo>
                        <a:lnTo>
                          <a:pt x="285" y="414299"/>
                        </a:lnTo>
                        <a:lnTo>
                          <a:pt x="226010" y="284359"/>
                        </a:lnTo>
                        <a:lnTo>
                          <a:pt x="226010" y="323146"/>
                        </a:lnTo>
                        <a:lnTo>
                          <a:pt x="285" y="453086"/>
                        </a:lnTo>
                        <a:lnTo>
                          <a:pt x="285" y="504817"/>
                        </a:lnTo>
                        <a:lnTo>
                          <a:pt x="226010" y="374862"/>
                        </a:lnTo>
                        <a:lnTo>
                          <a:pt x="226010" y="413664"/>
                        </a:lnTo>
                        <a:lnTo>
                          <a:pt x="285" y="543620"/>
                        </a:lnTo>
                        <a:lnTo>
                          <a:pt x="285" y="595336"/>
                        </a:lnTo>
                        <a:lnTo>
                          <a:pt x="226010" y="465396"/>
                        </a:lnTo>
                        <a:lnTo>
                          <a:pt x="226010" y="517128"/>
                        </a:lnTo>
                        <a:lnTo>
                          <a:pt x="285" y="647068"/>
                        </a:lnTo>
                        <a:lnTo>
                          <a:pt x="285" y="129798"/>
                        </a:lnTo>
                        <a:lnTo>
                          <a:pt x="226010" y="-14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3" name="Freihandform: Form 1612">
                    <a:extLst>
                      <a:ext uri="{FF2B5EF4-FFF2-40B4-BE49-F238E27FC236}">
                        <a16:creationId xmlns:a16="http://schemas.microsoft.com/office/drawing/2014/main" id="{01E2073E-10DE-2D6B-9732-267CA535C485}"/>
                      </a:ext>
                    </a:extLst>
                  </p:cNvPr>
                  <p:cNvSpPr/>
                  <p:nvPr/>
                </p:nvSpPr>
                <p:spPr>
                  <a:xfrm>
                    <a:off x="7987675" y="2557503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17 h 259895"/>
                      <a:gd name="connsiteX1" fmla="*/ 307 w 450530"/>
                      <a:gd name="connsiteY1" fmla="*/ 129877 h 259895"/>
                      <a:gd name="connsiteX2" fmla="*/ 225112 w 450530"/>
                      <a:gd name="connsiteY2" fmla="*/ -78 h 259895"/>
                      <a:gd name="connsiteX3" fmla="*/ 450838 w 450530"/>
                      <a:gd name="connsiteY3" fmla="*/ 129877 h 259895"/>
                      <a:gd name="connsiteX4" fmla="*/ 225112 w 450530"/>
                      <a:gd name="connsiteY4" fmla="*/ 25981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17"/>
                        </a:moveTo>
                        <a:lnTo>
                          <a:pt x="307" y="129877"/>
                        </a:lnTo>
                        <a:lnTo>
                          <a:pt x="225112" y="-78"/>
                        </a:lnTo>
                        <a:lnTo>
                          <a:pt x="450838" y="129877"/>
                        </a:lnTo>
                        <a:lnTo>
                          <a:pt x="225112" y="259817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4" name="Freihandform: Form 1613">
                    <a:extLst>
                      <a:ext uri="{FF2B5EF4-FFF2-40B4-BE49-F238E27FC236}">
                        <a16:creationId xmlns:a16="http://schemas.microsoft.com/office/drawing/2014/main" id="{E5CBD829-4CDE-C840-DA88-81B651F620FA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19893"/>
                    <a:ext cx="224805" cy="543746"/>
                  </a:xfrm>
                  <a:custGeom>
                    <a:avLst/>
                    <a:gdLst>
                      <a:gd name="connsiteX0" fmla="*/ 225134 w 224805"/>
                      <a:gd name="connsiteY0" fmla="*/ 543604 h 543746"/>
                      <a:gd name="connsiteX1" fmla="*/ 329 w 224805"/>
                      <a:gd name="connsiteY1" fmla="*/ 413648 h 543746"/>
                      <a:gd name="connsiteX2" fmla="*/ 329 w 224805"/>
                      <a:gd name="connsiteY2" fmla="*/ 361933 h 543746"/>
                      <a:gd name="connsiteX3" fmla="*/ 225134 w 224805"/>
                      <a:gd name="connsiteY3" fmla="*/ 491889 h 543746"/>
                      <a:gd name="connsiteX4" fmla="*/ 225134 w 224805"/>
                      <a:gd name="connsiteY4" fmla="*/ 543604 h 543746"/>
                      <a:gd name="connsiteX5" fmla="*/ 225134 w 224805"/>
                      <a:gd name="connsiteY5" fmla="*/ 401354 h 543746"/>
                      <a:gd name="connsiteX6" fmla="*/ 329 w 224805"/>
                      <a:gd name="connsiteY6" fmla="*/ 271414 h 543746"/>
                      <a:gd name="connsiteX7" fmla="*/ 329 w 224805"/>
                      <a:gd name="connsiteY7" fmla="*/ 323130 h 543746"/>
                      <a:gd name="connsiteX8" fmla="*/ 225134 w 224805"/>
                      <a:gd name="connsiteY8" fmla="*/ 453086 h 543746"/>
                      <a:gd name="connsiteX9" fmla="*/ 225134 w 224805"/>
                      <a:gd name="connsiteY9" fmla="*/ 401370 h 543746"/>
                      <a:gd name="connsiteX10" fmla="*/ 225134 w 224805"/>
                      <a:gd name="connsiteY10" fmla="*/ 310835 h 543746"/>
                      <a:gd name="connsiteX11" fmla="*/ 329 w 224805"/>
                      <a:gd name="connsiteY11" fmla="*/ 180895 h 543746"/>
                      <a:gd name="connsiteX12" fmla="*/ 329 w 224805"/>
                      <a:gd name="connsiteY12" fmla="*/ 232627 h 543746"/>
                      <a:gd name="connsiteX13" fmla="*/ 225134 w 224805"/>
                      <a:gd name="connsiteY13" fmla="*/ 362583 h 543746"/>
                      <a:gd name="connsiteX14" fmla="*/ 225134 w 224805"/>
                      <a:gd name="connsiteY14" fmla="*/ 310851 h 543746"/>
                      <a:gd name="connsiteX15" fmla="*/ 225134 w 224805"/>
                      <a:gd name="connsiteY15" fmla="*/ 129798 h 543746"/>
                      <a:gd name="connsiteX16" fmla="*/ 329 w 224805"/>
                      <a:gd name="connsiteY16" fmla="*/ -142 h 543746"/>
                      <a:gd name="connsiteX17" fmla="*/ 329 w 224805"/>
                      <a:gd name="connsiteY17" fmla="*/ 51574 h 543746"/>
                      <a:gd name="connsiteX18" fmla="*/ 225134 w 224805"/>
                      <a:gd name="connsiteY18" fmla="*/ 181530 h 543746"/>
                      <a:gd name="connsiteX19" fmla="*/ 225134 w 224805"/>
                      <a:gd name="connsiteY19" fmla="*/ 129814 h 543746"/>
                      <a:gd name="connsiteX20" fmla="*/ 225134 w 224805"/>
                      <a:gd name="connsiteY20" fmla="*/ 220317 h 543746"/>
                      <a:gd name="connsiteX21" fmla="*/ 329 w 224805"/>
                      <a:gd name="connsiteY21" fmla="*/ 90361 h 543746"/>
                      <a:gd name="connsiteX22" fmla="*/ 329 w 224805"/>
                      <a:gd name="connsiteY22" fmla="*/ 142093 h 543746"/>
                      <a:gd name="connsiteX23" fmla="*/ 225134 w 224805"/>
                      <a:gd name="connsiteY23" fmla="*/ 272049 h 543746"/>
                      <a:gd name="connsiteX24" fmla="*/ 225134 w 224805"/>
                      <a:gd name="connsiteY24" fmla="*/ 220317 h 5437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4805" h="543746">
                        <a:moveTo>
                          <a:pt x="225134" y="543604"/>
                        </a:moveTo>
                        <a:lnTo>
                          <a:pt x="329" y="413648"/>
                        </a:lnTo>
                        <a:lnTo>
                          <a:pt x="329" y="361933"/>
                        </a:lnTo>
                        <a:lnTo>
                          <a:pt x="225134" y="491889"/>
                        </a:lnTo>
                        <a:lnTo>
                          <a:pt x="225134" y="543604"/>
                        </a:lnTo>
                        <a:close/>
                        <a:moveTo>
                          <a:pt x="225134" y="401354"/>
                        </a:moveTo>
                        <a:lnTo>
                          <a:pt x="329" y="271414"/>
                        </a:lnTo>
                        <a:lnTo>
                          <a:pt x="329" y="323130"/>
                        </a:lnTo>
                        <a:lnTo>
                          <a:pt x="225134" y="453086"/>
                        </a:lnTo>
                        <a:lnTo>
                          <a:pt x="225134" y="401370"/>
                        </a:lnTo>
                        <a:close/>
                        <a:moveTo>
                          <a:pt x="225134" y="310835"/>
                        </a:moveTo>
                        <a:lnTo>
                          <a:pt x="329" y="180895"/>
                        </a:lnTo>
                        <a:lnTo>
                          <a:pt x="329" y="232627"/>
                        </a:lnTo>
                        <a:lnTo>
                          <a:pt x="225134" y="362583"/>
                        </a:lnTo>
                        <a:lnTo>
                          <a:pt x="225134" y="310851"/>
                        </a:lnTo>
                        <a:close/>
                        <a:moveTo>
                          <a:pt x="225134" y="129798"/>
                        </a:moveTo>
                        <a:lnTo>
                          <a:pt x="329" y="-142"/>
                        </a:lnTo>
                        <a:lnTo>
                          <a:pt x="329" y="51574"/>
                        </a:lnTo>
                        <a:lnTo>
                          <a:pt x="225134" y="181530"/>
                        </a:lnTo>
                        <a:lnTo>
                          <a:pt x="225134" y="129814"/>
                        </a:lnTo>
                        <a:close/>
                        <a:moveTo>
                          <a:pt x="225134" y="220317"/>
                        </a:moveTo>
                        <a:lnTo>
                          <a:pt x="329" y="90361"/>
                        </a:lnTo>
                        <a:lnTo>
                          <a:pt x="329" y="142093"/>
                        </a:lnTo>
                        <a:lnTo>
                          <a:pt x="225134" y="272049"/>
                        </a:lnTo>
                        <a:lnTo>
                          <a:pt x="225134" y="220317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5" name="Freihandform: Form 1614">
                    <a:extLst>
                      <a:ext uri="{FF2B5EF4-FFF2-40B4-BE49-F238E27FC236}">
                        <a16:creationId xmlns:a16="http://schemas.microsoft.com/office/drawing/2014/main" id="{62BB11E7-9AC8-CD50-685A-0B2028D91553}"/>
                      </a:ext>
                    </a:extLst>
                  </p:cNvPr>
                  <p:cNvSpPr/>
                  <p:nvPr/>
                </p:nvSpPr>
                <p:spPr>
                  <a:xfrm>
                    <a:off x="8212480" y="3022568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12 h 181671"/>
                      <a:gd name="connsiteX1" fmla="*/ 285 w 225725"/>
                      <a:gd name="connsiteY1" fmla="*/ 129781 h 181671"/>
                      <a:gd name="connsiteX2" fmla="*/ 226010 w 225725"/>
                      <a:gd name="connsiteY2" fmla="*/ -159 h 181671"/>
                      <a:gd name="connsiteX3" fmla="*/ 226010 w 225725"/>
                      <a:gd name="connsiteY3" fmla="*/ 51556 h 181671"/>
                      <a:gd name="connsiteX4" fmla="*/ 285 w 225725"/>
                      <a:gd name="connsiteY4" fmla="*/ 181512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12"/>
                        </a:moveTo>
                        <a:lnTo>
                          <a:pt x="285" y="129781"/>
                        </a:lnTo>
                        <a:lnTo>
                          <a:pt x="226010" y="-159"/>
                        </a:lnTo>
                        <a:lnTo>
                          <a:pt x="226010" y="51556"/>
                        </a:lnTo>
                        <a:lnTo>
                          <a:pt x="285" y="18151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6" name="Freihandform: Form 1615">
                    <a:extLst>
                      <a:ext uri="{FF2B5EF4-FFF2-40B4-BE49-F238E27FC236}">
                        <a16:creationId xmlns:a16="http://schemas.microsoft.com/office/drawing/2014/main" id="{F4D2EBD1-39B5-75DD-578D-DC1B2098964C}"/>
                      </a:ext>
                    </a:extLst>
                  </p:cNvPr>
                  <p:cNvSpPr/>
                  <p:nvPr/>
                </p:nvSpPr>
                <p:spPr>
                  <a:xfrm>
                    <a:off x="8212480" y="2932049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30 h 181671"/>
                      <a:gd name="connsiteX1" fmla="*/ 285 w 225725"/>
                      <a:gd name="connsiteY1" fmla="*/ 129798 h 181671"/>
                      <a:gd name="connsiteX2" fmla="*/ 226010 w 225725"/>
                      <a:gd name="connsiteY2" fmla="*/ -142 h 181671"/>
                      <a:gd name="connsiteX3" fmla="*/ 226010 w 225725"/>
                      <a:gd name="connsiteY3" fmla="*/ 51590 h 181671"/>
                      <a:gd name="connsiteX4" fmla="*/ 285 w 225725"/>
                      <a:gd name="connsiteY4" fmla="*/ 181530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30"/>
                        </a:moveTo>
                        <a:lnTo>
                          <a:pt x="285" y="129798"/>
                        </a:lnTo>
                        <a:lnTo>
                          <a:pt x="226010" y="-142"/>
                        </a:lnTo>
                        <a:lnTo>
                          <a:pt x="226010" y="51590"/>
                        </a:lnTo>
                        <a:lnTo>
                          <a:pt x="285" y="181530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7" name="Freihandform: Form 1616">
                    <a:extLst>
                      <a:ext uri="{FF2B5EF4-FFF2-40B4-BE49-F238E27FC236}">
                        <a16:creationId xmlns:a16="http://schemas.microsoft.com/office/drawing/2014/main" id="{88290AD8-A032-5306-8409-6AC4C8F5E429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99280"/>
                    <a:ext cx="225725" cy="647209"/>
                  </a:xfrm>
                  <a:custGeom>
                    <a:avLst/>
                    <a:gdLst>
                      <a:gd name="connsiteX0" fmla="*/ 226010 w 225725"/>
                      <a:gd name="connsiteY0" fmla="*/ -142 h 647209"/>
                      <a:gd name="connsiteX1" fmla="*/ 226010 w 225725"/>
                      <a:gd name="connsiteY1" fmla="*/ 51590 h 647209"/>
                      <a:gd name="connsiteX2" fmla="*/ 285 w 225725"/>
                      <a:gd name="connsiteY2" fmla="*/ 181530 h 647209"/>
                      <a:gd name="connsiteX3" fmla="*/ 285 w 225725"/>
                      <a:gd name="connsiteY3" fmla="*/ 233262 h 647209"/>
                      <a:gd name="connsiteX4" fmla="*/ 226010 w 225725"/>
                      <a:gd name="connsiteY4" fmla="*/ 103306 h 647209"/>
                      <a:gd name="connsiteX5" fmla="*/ 226010 w 225725"/>
                      <a:gd name="connsiteY5" fmla="*/ 142093 h 647209"/>
                      <a:gd name="connsiteX6" fmla="*/ 285 w 225725"/>
                      <a:gd name="connsiteY6" fmla="*/ 272049 h 647209"/>
                      <a:gd name="connsiteX7" fmla="*/ 285 w 225725"/>
                      <a:gd name="connsiteY7" fmla="*/ 323780 h 647209"/>
                      <a:gd name="connsiteX8" fmla="*/ 226010 w 225725"/>
                      <a:gd name="connsiteY8" fmla="*/ 193824 h 647209"/>
                      <a:gd name="connsiteX9" fmla="*/ 226010 w 225725"/>
                      <a:gd name="connsiteY9" fmla="*/ 232627 h 647209"/>
                      <a:gd name="connsiteX10" fmla="*/ 285 w 225725"/>
                      <a:gd name="connsiteY10" fmla="*/ 362567 h 647209"/>
                      <a:gd name="connsiteX11" fmla="*/ 285 w 225725"/>
                      <a:gd name="connsiteY11" fmla="*/ 414299 h 647209"/>
                      <a:gd name="connsiteX12" fmla="*/ 226010 w 225725"/>
                      <a:gd name="connsiteY12" fmla="*/ 284359 h 647209"/>
                      <a:gd name="connsiteX13" fmla="*/ 226010 w 225725"/>
                      <a:gd name="connsiteY13" fmla="*/ 323146 h 647209"/>
                      <a:gd name="connsiteX14" fmla="*/ 285 w 225725"/>
                      <a:gd name="connsiteY14" fmla="*/ 453086 h 647209"/>
                      <a:gd name="connsiteX15" fmla="*/ 285 w 225725"/>
                      <a:gd name="connsiteY15" fmla="*/ 504817 h 647209"/>
                      <a:gd name="connsiteX16" fmla="*/ 226010 w 225725"/>
                      <a:gd name="connsiteY16" fmla="*/ 374862 h 647209"/>
                      <a:gd name="connsiteX17" fmla="*/ 226010 w 225725"/>
                      <a:gd name="connsiteY17" fmla="*/ 413664 h 647209"/>
                      <a:gd name="connsiteX18" fmla="*/ 285 w 225725"/>
                      <a:gd name="connsiteY18" fmla="*/ 543620 h 647209"/>
                      <a:gd name="connsiteX19" fmla="*/ 285 w 225725"/>
                      <a:gd name="connsiteY19" fmla="*/ 595336 h 647209"/>
                      <a:gd name="connsiteX20" fmla="*/ 226010 w 225725"/>
                      <a:gd name="connsiteY20" fmla="*/ 465396 h 647209"/>
                      <a:gd name="connsiteX21" fmla="*/ 226010 w 225725"/>
                      <a:gd name="connsiteY21" fmla="*/ 517128 h 647209"/>
                      <a:gd name="connsiteX22" fmla="*/ 285 w 225725"/>
                      <a:gd name="connsiteY22" fmla="*/ 647068 h 647209"/>
                      <a:gd name="connsiteX23" fmla="*/ 285 w 225725"/>
                      <a:gd name="connsiteY23" fmla="*/ 129798 h 647209"/>
                      <a:gd name="connsiteX24" fmla="*/ 226010 w 225725"/>
                      <a:gd name="connsiteY24" fmla="*/ -142 h 647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5725" h="647209">
                        <a:moveTo>
                          <a:pt x="226010" y="-142"/>
                        </a:moveTo>
                        <a:lnTo>
                          <a:pt x="226010" y="51590"/>
                        </a:lnTo>
                        <a:lnTo>
                          <a:pt x="285" y="181530"/>
                        </a:lnTo>
                        <a:lnTo>
                          <a:pt x="285" y="233262"/>
                        </a:lnTo>
                        <a:lnTo>
                          <a:pt x="226010" y="103306"/>
                        </a:lnTo>
                        <a:lnTo>
                          <a:pt x="226010" y="142093"/>
                        </a:lnTo>
                        <a:lnTo>
                          <a:pt x="285" y="272049"/>
                        </a:lnTo>
                        <a:lnTo>
                          <a:pt x="285" y="323780"/>
                        </a:lnTo>
                        <a:lnTo>
                          <a:pt x="226010" y="193824"/>
                        </a:lnTo>
                        <a:lnTo>
                          <a:pt x="226010" y="232627"/>
                        </a:lnTo>
                        <a:lnTo>
                          <a:pt x="285" y="362567"/>
                        </a:lnTo>
                        <a:lnTo>
                          <a:pt x="285" y="414299"/>
                        </a:lnTo>
                        <a:lnTo>
                          <a:pt x="226010" y="284359"/>
                        </a:lnTo>
                        <a:lnTo>
                          <a:pt x="226010" y="323146"/>
                        </a:lnTo>
                        <a:lnTo>
                          <a:pt x="285" y="453086"/>
                        </a:lnTo>
                        <a:lnTo>
                          <a:pt x="285" y="504817"/>
                        </a:lnTo>
                        <a:lnTo>
                          <a:pt x="226010" y="374862"/>
                        </a:lnTo>
                        <a:lnTo>
                          <a:pt x="226010" y="413664"/>
                        </a:lnTo>
                        <a:lnTo>
                          <a:pt x="285" y="543620"/>
                        </a:lnTo>
                        <a:lnTo>
                          <a:pt x="285" y="595336"/>
                        </a:lnTo>
                        <a:lnTo>
                          <a:pt x="226010" y="465396"/>
                        </a:lnTo>
                        <a:lnTo>
                          <a:pt x="226010" y="517128"/>
                        </a:lnTo>
                        <a:lnTo>
                          <a:pt x="285" y="647068"/>
                        </a:lnTo>
                        <a:lnTo>
                          <a:pt x="285" y="129798"/>
                        </a:lnTo>
                        <a:lnTo>
                          <a:pt x="226010" y="-142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560" name="Grafik 20">
                  <a:extLst>
                    <a:ext uri="{FF2B5EF4-FFF2-40B4-BE49-F238E27FC236}">
                      <a16:creationId xmlns:a16="http://schemas.microsoft.com/office/drawing/2014/main" id="{427FA143-31B9-1DD5-962F-455CF80B44DD}"/>
                    </a:ext>
                  </a:extLst>
                </p:cNvPr>
                <p:cNvGrpSpPr/>
                <p:nvPr/>
              </p:nvGrpSpPr>
              <p:grpSpPr>
                <a:xfrm>
                  <a:off x="7987675" y="2290710"/>
                  <a:ext cx="450530" cy="732491"/>
                  <a:chOff x="7987675" y="2290710"/>
                  <a:chExt cx="450530" cy="732491"/>
                </a:xfrm>
              </p:grpSpPr>
              <p:sp>
                <p:nvSpPr>
                  <p:cNvPr id="1571" name="Freihandform: Form 1570">
                    <a:extLst>
                      <a:ext uri="{FF2B5EF4-FFF2-40B4-BE49-F238E27FC236}">
                        <a16:creationId xmlns:a16="http://schemas.microsoft.com/office/drawing/2014/main" id="{78EEF773-4D4E-0659-BA83-F418B12D0731}"/>
                      </a:ext>
                    </a:extLst>
                  </p:cNvPr>
                  <p:cNvSpPr/>
                  <p:nvPr/>
                </p:nvSpPr>
                <p:spPr>
                  <a:xfrm>
                    <a:off x="7987675" y="275148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80 h 259895"/>
                      <a:gd name="connsiteX1" fmla="*/ 307 w 450530"/>
                      <a:gd name="connsiteY1" fmla="*/ 129824 h 259895"/>
                      <a:gd name="connsiteX2" fmla="*/ 225112 w 450530"/>
                      <a:gd name="connsiteY2" fmla="*/ -116 h 259895"/>
                      <a:gd name="connsiteX3" fmla="*/ 450838 w 450530"/>
                      <a:gd name="connsiteY3" fmla="*/ 129824 h 259895"/>
                      <a:gd name="connsiteX4" fmla="*/ 225112 w 450530"/>
                      <a:gd name="connsiteY4" fmla="*/ 25978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80"/>
                        </a:moveTo>
                        <a:lnTo>
                          <a:pt x="307" y="129824"/>
                        </a:lnTo>
                        <a:lnTo>
                          <a:pt x="225112" y="-116"/>
                        </a:lnTo>
                        <a:lnTo>
                          <a:pt x="450838" y="129824"/>
                        </a:lnTo>
                        <a:lnTo>
                          <a:pt x="225112" y="259780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2" name="Freihandform: Form 1571">
                    <a:extLst>
                      <a:ext uri="{FF2B5EF4-FFF2-40B4-BE49-F238E27FC236}">
                        <a16:creationId xmlns:a16="http://schemas.microsoft.com/office/drawing/2014/main" id="{1987B2DA-D452-5AFC-EED5-87E22E9467A8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99754"/>
                    <a:ext cx="450530" cy="259911"/>
                  </a:xfrm>
                  <a:custGeom>
                    <a:avLst/>
                    <a:gdLst>
                      <a:gd name="connsiteX0" fmla="*/ 225112 w 450530"/>
                      <a:gd name="connsiteY0" fmla="*/ 259805 h 259911"/>
                      <a:gd name="connsiteX1" fmla="*/ 307 w 450530"/>
                      <a:gd name="connsiteY1" fmla="*/ 129850 h 259911"/>
                      <a:gd name="connsiteX2" fmla="*/ 225112 w 450530"/>
                      <a:gd name="connsiteY2" fmla="*/ -106 h 259911"/>
                      <a:gd name="connsiteX3" fmla="*/ 450838 w 450530"/>
                      <a:gd name="connsiteY3" fmla="*/ 129850 h 259911"/>
                      <a:gd name="connsiteX4" fmla="*/ 225112 w 450530"/>
                      <a:gd name="connsiteY4" fmla="*/ 259805 h 2599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911">
                        <a:moveTo>
                          <a:pt x="225112" y="259805"/>
                        </a:moveTo>
                        <a:lnTo>
                          <a:pt x="307" y="129850"/>
                        </a:lnTo>
                        <a:lnTo>
                          <a:pt x="225112" y="-106"/>
                        </a:lnTo>
                        <a:lnTo>
                          <a:pt x="450838" y="129850"/>
                        </a:lnTo>
                        <a:lnTo>
                          <a:pt x="225112" y="25980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3" name="Freihandform: Form 1572">
                    <a:extLst>
                      <a:ext uri="{FF2B5EF4-FFF2-40B4-BE49-F238E27FC236}">
                        <a16:creationId xmlns:a16="http://schemas.microsoft.com/office/drawing/2014/main" id="{7D3492A3-A530-2A7A-6789-650343784B21}"/>
                      </a:ext>
                    </a:extLst>
                  </p:cNvPr>
                  <p:cNvSpPr/>
                  <p:nvPr/>
                </p:nvSpPr>
                <p:spPr>
                  <a:xfrm>
                    <a:off x="8212480" y="2829709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48 h 181671"/>
                      <a:gd name="connsiteX1" fmla="*/ 285 w 225725"/>
                      <a:gd name="connsiteY1" fmla="*/ 129832 h 181671"/>
                      <a:gd name="connsiteX2" fmla="*/ 226010 w 225725"/>
                      <a:gd name="connsiteY2" fmla="*/ -124 h 181671"/>
                      <a:gd name="connsiteX3" fmla="*/ 226010 w 225725"/>
                      <a:gd name="connsiteY3" fmla="*/ 51592 h 181671"/>
                      <a:gd name="connsiteX4" fmla="*/ 285 w 225725"/>
                      <a:gd name="connsiteY4" fmla="*/ 181548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48"/>
                        </a:moveTo>
                        <a:lnTo>
                          <a:pt x="285" y="129832"/>
                        </a:lnTo>
                        <a:lnTo>
                          <a:pt x="226010" y="-124"/>
                        </a:lnTo>
                        <a:lnTo>
                          <a:pt x="226010" y="51592"/>
                        </a:lnTo>
                        <a:lnTo>
                          <a:pt x="285" y="181548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4" name="Freihandform: Form 1573">
                    <a:extLst>
                      <a:ext uri="{FF2B5EF4-FFF2-40B4-BE49-F238E27FC236}">
                        <a16:creationId xmlns:a16="http://schemas.microsoft.com/office/drawing/2014/main" id="{0350B6A9-F945-60BD-8B2B-90BE15C70514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60967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797 h 259895"/>
                      <a:gd name="connsiteX1" fmla="*/ 307 w 450530"/>
                      <a:gd name="connsiteY1" fmla="*/ 129841 h 259895"/>
                      <a:gd name="connsiteX2" fmla="*/ 225112 w 450530"/>
                      <a:gd name="connsiteY2" fmla="*/ -99 h 259895"/>
                      <a:gd name="connsiteX3" fmla="*/ 450838 w 450530"/>
                      <a:gd name="connsiteY3" fmla="*/ 129841 h 259895"/>
                      <a:gd name="connsiteX4" fmla="*/ 225112 w 450530"/>
                      <a:gd name="connsiteY4" fmla="*/ 25979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797"/>
                        </a:moveTo>
                        <a:lnTo>
                          <a:pt x="307" y="129841"/>
                        </a:lnTo>
                        <a:lnTo>
                          <a:pt x="225112" y="-99"/>
                        </a:lnTo>
                        <a:lnTo>
                          <a:pt x="450838" y="129841"/>
                        </a:lnTo>
                        <a:lnTo>
                          <a:pt x="225112" y="259797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5" name="Freihandform: Form 1574">
                    <a:extLst>
                      <a:ext uri="{FF2B5EF4-FFF2-40B4-BE49-F238E27FC236}">
                        <a16:creationId xmlns:a16="http://schemas.microsoft.com/office/drawing/2014/main" id="{1CE77D73-20FB-3908-3963-284A2E410AEF}"/>
                      </a:ext>
                    </a:extLst>
                  </p:cNvPr>
                  <p:cNvSpPr/>
                  <p:nvPr/>
                </p:nvSpPr>
                <p:spPr>
                  <a:xfrm>
                    <a:off x="7987675" y="260923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07 h 259895"/>
                      <a:gd name="connsiteX1" fmla="*/ 307 w 450530"/>
                      <a:gd name="connsiteY1" fmla="*/ 129867 h 259895"/>
                      <a:gd name="connsiteX2" fmla="*/ 225112 w 450530"/>
                      <a:gd name="connsiteY2" fmla="*/ -89 h 259895"/>
                      <a:gd name="connsiteX3" fmla="*/ 450838 w 450530"/>
                      <a:gd name="connsiteY3" fmla="*/ 129867 h 259895"/>
                      <a:gd name="connsiteX4" fmla="*/ 225112 w 450530"/>
                      <a:gd name="connsiteY4" fmla="*/ 259807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07"/>
                        </a:moveTo>
                        <a:lnTo>
                          <a:pt x="307" y="129867"/>
                        </a:lnTo>
                        <a:lnTo>
                          <a:pt x="225112" y="-89"/>
                        </a:lnTo>
                        <a:lnTo>
                          <a:pt x="450838" y="129867"/>
                        </a:lnTo>
                        <a:lnTo>
                          <a:pt x="225112" y="25980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6" name="Freihandform: Form 1575">
                    <a:extLst>
                      <a:ext uri="{FF2B5EF4-FFF2-40B4-BE49-F238E27FC236}">
                        <a16:creationId xmlns:a16="http://schemas.microsoft.com/office/drawing/2014/main" id="{A19D0702-B2F9-2AB3-6CBB-266008F13A5C}"/>
                      </a:ext>
                    </a:extLst>
                  </p:cNvPr>
                  <p:cNvSpPr/>
                  <p:nvPr/>
                </p:nvSpPr>
                <p:spPr>
                  <a:xfrm>
                    <a:off x="8212480" y="2739191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65 h 181671"/>
                      <a:gd name="connsiteX1" fmla="*/ 285 w 225725"/>
                      <a:gd name="connsiteY1" fmla="*/ 129834 h 181671"/>
                      <a:gd name="connsiteX2" fmla="*/ 226010 w 225725"/>
                      <a:gd name="connsiteY2" fmla="*/ -106 h 181671"/>
                      <a:gd name="connsiteX3" fmla="*/ 226010 w 225725"/>
                      <a:gd name="connsiteY3" fmla="*/ 51610 h 181671"/>
                      <a:gd name="connsiteX4" fmla="*/ 285 w 225725"/>
                      <a:gd name="connsiteY4" fmla="*/ 181565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65"/>
                        </a:moveTo>
                        <a:lnTo>
                          <a:pt x="285" y="129834"/>
                        </a:lnTo>
                        <a:lnTo>
                          <a:pt x="226010" y="-106"/>
                        </a:lnTo>
                        <a:lnTo>
                          <a:pt x="226010" y="51610"/>
                        </a:lnTo>
                        <a:lnTo>
                          <a:pt x="285" y="181565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7" name="Freihandform: Form 1576">
                    <a:extLst>
                      <a:ext uri="{FF2B5EF4-FFF2-40B4-BE49-F238E27FC236}">
                        <a16:creationId xmlns:a16="http://schemas.microsoft.com/office/drawing/2014/main" id="{347B7C6B-EAE1-90FB-E365-F8333D4D649F}"/>
                      </a:ext>
                    </a:extLst>
                  </p:cNvPr>
                  <p:cNvSpPr/>
                  <p:nvPr/>
                </p:nvSpPr>
                <p:spPr>
                  <a:xfrm>
                    <a:off x="7987675" y="2570448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15 h 259895"/>
                      <a:gd name="connsiteX1" fmla="*/ 307 w 450530"/>
                      <a:gd name="connsiteY1" fmla="*/ 129859 h 259895"/>
                      <a:gd name="connsiteX2" fmla="*/ 225112 w 450530"/>
                      <a:gd name="connsiteY2" fmla="*/ -81 h 259895"/>
                      <a:gd name="connsiteX3" fmla="*/ 450838 w 450530"/>
                      <a:gd name="connsiteY3" fmla="*/ 129875 h 259895"/>
                      <a:gd name="connsiteX4" fmla="*/ 225112 w 450530"/>
                      <a:gd name="connsiteY4" fmla="*/ 259815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15"/>
                        </a:moveTo>
                        <a:lnTo>
                          <a:pt x="307" y="129859"/>
                        </a:lnTo>
                        <a:lnTo>
                          <a:pt x="225112" y="-81"/>
                        </a:lnTo>
                        <a:lnTo>
                          <a:pt x="450838" y="129875"/>
                        </a:lnTo>
                        <a:lnTo>
                          <a:pt x="225112" y="259815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8" name="Freihandform: Form 1577">
                    <a:extLst>
                      <a:ext uri="{FF2B5EF4-FFF2-40B4-BE49-F238E27FC236}">
                        <a16:creationId xmlns:a16="http://schemas.microsoft.com/office/drawing/2014/main" id="{631A95C1-9987-886C-5461-E1BA9033AE3D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48672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83 h 181671"/>
                      <a:gd name="connsiteX1" fmla="*/ 285 w 225725"/>
                      <a:gd name="connsiteY1" fmla="*/ 129851 h 181671"/>
                      <a:gd name="connsiteX2" fmla="*/ 226010 w 225725"/>
                      <a:gd name="connsiteY2" fmla="*/ -89 h 181671"/>
                      <a:gd name="connsiteX3" fmla="*/ 226010 w 225725"/>
                      <a:gd name="connsiteY3" fmla="*/ 51643 h 181671"/>
                      <a:gd name="connsiteX4" fmla="*/ 285 w 225725"/>
                      <a:gd name="connsiteY4" fmla="*/ 181583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83"/>
                        </a:moveTo>
                        <a:lnTo>
                          <a:pt x="285" y="129851"/>
                        </a:lnTo>
                        <a:lnTo>
                          <a:pt x="226010" y="-89"/>
                        </a:lnTo>
                        <a:lnTo>
                          <a:pt x="226010" y="51643"/>
                        </a:lnTo>
                        <a:lnTo>
                          <a:pt x="285" y="181583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9" name="Freihandform: Form 1578">
                    <a:extLst>
                      <a:ext uri="{FF2B5EF4-FFF2-40B4-BE49-F238E27FC236}">
                        <a16:creationId xmlns:a16="http://schemas.microsoft.com/office/drawing/2014/main" id="{A5EC8BDA-22B2-9B30-169E-8D6B0B788510}"/>
                      </a:ext>
                    </a:extLst>
                  </p:cNvPr>
                  <p:cNvSpPr/>
                  <p:nvPr/>
                </p:nvSpPr>
                <p:spPr>
                  <a:xfrm>
                    <a:off x="7987675" y="2518716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25 h 259895"/>
                      <a:gd name="connsiteX1" fmla="*/ 307 w 450530"/>
                      <a:gd name="connsiteY1" fmla="*/ 129869 h 259895"/>
                      <a:gd name="connsiteX2" fmla="*/ 225112 w 450530"/>
                      <a:gd name="connsiteY2" fmla="*/ -71 h 259895"/>
                      <a:gd name="connsiteX3" fmla="*/ 450838 w 450530"/>
                      <a:gd name="connsiteY3" fmla="*/ 129885 h 259895"/>
                      <a:gd name="connsiteX4" fmla="*/ 225112 w 450530"/>
                      <a:gd name="connsiteY4" fmla="*/ 259825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25"/>
                        </a:moveTo>
                        <a:lnTo>
                          <a:pt x="307" y="129869"/>
                        </a:lnTo>
                        <a:lnTo>
                          <a:pt x="225112" y="-71"/>
                        </a:lnTo>
                        <a:lnTo>
                          <a:pt x="450838" y="129885"/>
                        </a:lnTo>
                        <a:lnTo>
                          <a:pt x="225112" y="2598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0" name="Freihandform: Form 1579">
                    <a:extLst>
                      <a:ext uri="{FF2B5EF4-FFF2-40B4-BE49-F238E27FC236}">
                        <a16:creationId xmlns:a16="http://schemas.microsoft.com/office/drawing/2014/main" id="{B866015A-1A27-7A90-C2DF-BF2212AB71A7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79929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33 h 259895"/>
                      <a:gd name="connsiteX1" fmla="*/ 307 w 450530"/>
                      <a:gd name="connsiteY1" fmla="*/ 129877 h 259895"/>
                      <a:gd name="connsiteX2" fmla="*/ 225112 w 450530"/>
                      <a:gd name="connsiteY2" fmla="*/ -63 h 259895"/>
                      <a:gd name="connsiteX3" fmla="*/ 450838 w 450530"/>
                      <a:gd name="connsiteY3" fmla="*/ 129877 h 259895"/>
                      <a:gd name="connsiteX4" fmla="*/ 225112 w 450530"/>
                      <a:gd name="connsiteY4" fmla="*/ 259833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33"/>
                        </a:moveTo>
                        <a:lnTo>
                          <a:pt x="307" y="129877"/>
                        </a:lnTo>
                        <a:lnTo>
                          <a:pt x="225112" y="-63"/>
                        </a:lnTo>
                        <a:lnTo>
                          <a:pt x="450838" y="129877"/>
                        </a:lnTo>
                        <a:lnTo>
                          <a:pt x="225112" y="259833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1" name="Freihandform: Form 1580">
                    <a:extLst>
                      <a:ext uri="{FF2B5EF4-FFF2-40B4-BE49-F238E27FC236}">
                        <a16:creationId xmlns:a16="http://schemas.microsoft.com/office/drawing/2014/main" id="{2116D86B-3DF0-82E3-C48F-EFE3309999A6}"/>
                      </a:ext>
                    </a:extLst>
                  </p:cNvPr>
                  <p:cNvSpPr/>
                  <p:nvPr/>
                </p:nvSpPr>
                <p:spPr>
                  <a:xfrm>
                    <a:off x="8212480" y="2558138"/>
                    <a:ext cx="225725" cy="181687"/>
                  </a:xfrm>
                  <a:custGeom>
                    <a:avLst/>
                    <a:gdLst>
                      <a:gd name="connsiteX0" fmla="*/ 285 w 225725"/>
                      <a:gd name="connsiteY0" fmla="*/ 181617 h 181687"/>
                      <a:gd name="connsiteX1" fmla="*/ 285 w 225725"/>
                      <a:gd name="connsiteY1" fmla="*/ 129885 h 181687"/>
                      <a:gd name="connsiteX2" fmla="*/ 226010 w 225725"/>
                      <a:gd name="connsiteY2" fmla="*/ -71 h 181687"/>
                      <a:gd name="connsiteX3" fmla="*/ 226010 w 225725"/>
                      <a:gd name="connsiteY3" fmla="*/ 51661 h 181687"/>
                      <a:gd name="connsiteX4" fmla="*/ 285 w 225725"/>
                      <a:gd name="connsiteY4" fmla="*/ 181617 h 18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87">
                        <a:moveTo>
                          <a:pt x="285" y="181617"/>
                        </a:moveTo>
                        <a:lnTo>
                          <a:pt x="285" y="129885"/>
                        </a:lnTo>
                        <a:lnTo>
                          <a:pt x="226010" y="-71"/>
                        </a:lnTo>
                        <a:lnTo>
                          <a:pt x="226010" y="51661"/>
                        </a:lnTo>
                        <a:lnTo>
                          <a:pt x="285" y="18161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2" name="Freihandform: Form 1581">
                    <a:extLst>
                      <a:ext uri="{FF2B5EF4-FFF2-40B4-BE49-F238E27FC236}">
                        <a16:creationId xmlns:a16="http://schemas.microsoft.com/office/drawing/2014/main" id="{C8CCE37D-BB8F-DA85-289B-5F93319636C0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28198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43 h 259895"/>
                      <a:gd name="connsiteX1" fmla="*/ 307 w 450530"/>
                      <a:gd name="connsiteY1" fmla="*/ 129887 h 259895"/>
                      <a:gd name="connsiteX2" fmla="*/ 225112 w 450530"/>
                      <a:gd name="connsiteY2" fmla="*/ -53 h 259895"/>
                      <a:gd name="connsiteX3" fmla="*/ 450838 w 450530"/>
                      <a:gd name="connsiteY3" fmla="*/ 129887 h 259895"/>
                      <a:gd name="connsiteX4" fmla="*/ 225112 w 450530"/>
                      <a:gd name="connsiteY4" fmla="*/ 259843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43"/>
                        </a:moveTo>
                        <a:lnTo>
                          <a:pt x="307" y="129887"/>
                        </a:lnTo>
                        <a:lnTo>
                          <a:pt x="225112" y="-53"/>
                        </a:lnTo>
                        <a:lnTo>
                          <a:pt x="450838" y="129887"/>
                        </a:lnTo>
                        <a:lnTo>
                          <a:pt x="225112" y="25984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3" name="Freihandform: Form 1582">
                    <a:extLst>
                      <a:ext uri="{FF2B5EF4-FFF2-40B4-BE49-F238E27FC236}">
                        <a16:creationId xmlns:a16="http://schemas.microsoft.com/office/drawing/2014/main" id="{37A269C2-E4D4-2720-D7A0-052031A438C4}"/>
                      </a:ext>
                    </a:extLst>
                  </p:cNvPr>
                  <p:cNvSpPr/>
                  <p:nvPr/>
                </p:nvSpPr>
                <p:spPr>
                  <a:xfrm>
                    <a:off x="7987675" y="2389395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50 h 259895"/>
                      <a:gd name="connsiteX1" fmla="*/ 307 w 450530"/>
                      <a:gd name="connsiteY1" fmla="*/ 129910 h 259895"/>
                      <a:gd name="connsiteX2" fmla="*/ 225112 w 450530"/>
                      <a:gd name="connsiteY2" fmla="*/ -46 h 259895"/>
                      <a:gd name="connsiteX3" fmla="*/ 450838 w 450530"/>
                      <a:gd name="connsiteY3" fmla="*/ 129910 h 259895"/>
                      <a:gd name="connsiteX4" fmla="*/ 225112 w 450530"/>
                      <a:gd name="connsiteY4" fmla="*/ 25985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50"/>
                        </a:moveTo>
                        <a:lnTo>
                          <a:pt x="307" y="129910"/>
                        </a:lnTo>
                        <a:lnTo>
                          <a:pt x="225112" y="-46"/>
                        </a:lnTo>
                        <a:lnTo>
                          <a:pt x="450838" y="129910"/>
                        </a:lnTo>
                        <a:lnTo>
                          <a:pt x="225112" y="259850"/>
                        </a:lnTo>
                        <a:close/>
                      </a:path>
                    </a:pathLst>
                  </a:custGeom>
                  <a:solidFill>
                    <a:srgbClr val="DFDFD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4" name="Freihandform: Form 1583">
                    <a:extLst>
                      <a:ext uri="{FF2B5EF4-FFF2-40B4-BE49-F238E27FC236}">
                        <a16:creationId xmlns:a16="http://schemas.microsoft.com/office/drawing/2014/main" id="{89C129DB-FBA2-4739-D310-53B1BB597CC0}"/>
                      </a:ext>
                    </a:extLst>
                  </p:cNvPr>
                  <p:cNvSpPr/>
                  <p:nvPr/>
                </p:nvSpPr>
                <p:spPr>
                  <a:xfrm>
                    <a:off x="7987675" y="2337679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60 h 259895"/>
                      <a:gd name="connsiteX1" fmla="*/ 307 w 450530"/>
                      <a:gd name="connsiteY1" fmla="*/ 129905 h 259895"/>
                      <a:gd name="connsiteX2" fmla="*/ 225112 w 450530"/>
                      <a:gd name="connsiteY2" fmla="*/ -36 h 259895"/>
                      <a:gd name="connsiteX3" fmla="*/ 450838 w 450530"/>
                      <a:gd name="connsiteY3" fmla="*/ 129920 h 259895"/>
                      <a:gd name="connsiteX4" fmla="*/ 225112 w 450530"/>
                      <a:gd name="connsiteY4" fmla="*/ 259860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60"/>
                        </a:moveTo>
                        <a:lnTo>
                          <a:pt x="307" y="129905"/>
                        </a:lnTo>
                        <a:lnTo>
                          <a:pt x="225112" y="-36"/>
                        </a:lnTo>
                        <a:lnTo>
                          <a:pt x="450838" y="129920"/>
                        </a:lnTo>
                        <a:lnTo>
                          <a:pt x="225112" y="259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5" name="Freihandform: Form 1584">
                    <a:extLst>
                      <a:ext uri="{FF2B5EF4-FFF2-40B4-BE49-F238E27FC236}">
                        <a16:creationId xmlns:a16="http://schemas.microsoft.com/office/drawing/2014/main" id="{319CDFBD-0BE1-1A9E-E3E0-37F886303472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15888"/>
                    <a:ext cx="224805" cy="595493"/>
                  </a:xfrm>
                  <a:custGeom>
                    <a:avLst/>
                    <a:gdLst>
                      <a:gd name="connsiteX0" fmla="*/ 225134 w 224805"/>
                      <a:gd name="connsiteY0" fmla="*/ 595410 h 595493"/>
                      <a:gd name="connsiteX1" fmla="*/ 329 w 224805"/>
                      <a:gd name="connsiteY1" fmla="*/ 465454 h 595493"/>
                      <a:gd name="connsiteX2" fmla="*/ 329 w 224805"/>
                      <a:gd name="connsiteY2" fmla="*/ -84 h 595493"/>
                      <a:gd name="connsiteX3" fmla="*/ 225134 w 224805"/>
                      <a:gd name="connsiteY3" fmla="*/ 129872 h 595493"/>
                      <a:gd name="connsiteX4" fmla="*/ 225134 w 224805"/>
                      <a:gd name="connsiteY4" fmla="*/ 595410 h 5954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4805" h="595493">
                        <a:moveTo>
                          <a:pt x="225134" y="595410"/>
                        </a:moveTo>
                        <a:lnTo>
                          <a:pt x="329" y="465454"/>
                        </a:lnTo>
                        <a:lnTo>
                          <a:pt x="329" y="-84"/>
                        </a:lnTo>
                        <a:lnTo>
                          <a:pt x="225134" y="129872"/>
                        </a:lnTo>
                        <a:lnTo>
                          <a:pt x="225134" y="595410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6" name="Freihandform: Form 1585">
                    <a:extLst>
                      <a:ext uri="{FF2B5EF4-FFF2-40B4-BE49-F238E27FC236}">
                        <a16:creationId xmlns:a16="http://schemas.microsoft.com/office/drawing/2014/main" id="{B0D4C678-652D-0682-FEAD-414207A66C4E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67635"/>
                    <a:ext cx="225725" cy="181655"/>
                  </a:xfrm>
                  <a:custGeom>
                    <a:avLst/>
                    <a:gdLst>
                      <a:gd name="connsiteX0" fmla="*/ 285 w 225725"/>
                      <a:gd name="connsiteY0" fmla="*/ 129887 h 181655"/>
                      <a:gd name="connsiteX1" fmla="*/ 226010 w 225725"/>
                      <a:gd name="connsiteY1" fmla="*/ -53 h 181655"/>
                      <a:gd name="connsiteX2" fmla="*/ 226010 w 225725"/>
                      <a:gd name="connsiteY2" fmla="*/ 51663 h 181655"/>
                      <a:gd name="connsiteX3" fmla="*/ 285 w 225725"/>
                      <a:gd name="connsiteY3" fmla="*/ 181603 h 181655"/>
                      <a:gd name="connsiteX4" fmla="*/ 285 w 225725"/>
                      <a:gd name="connsiteY4" fmla="*/ 129887 h 1816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55">
                        <a:moveTo>
                          <a:pt x="285" y="129887"/>
                        </a:moveTo>
                        <a:lnTo>
                          <a:pt x="226010" y="-53"/>
                        </a:lnTo>
                        <a:lnTo>
                          <a:pt x="226010" y="51663"/>
                        </a:lnTo>
                        <a:lnTo>
                          <a:pt x="285" y="181603"/>
                        </a:lnTo>
                        <a:lnTo>
                          <a:pt x="285" y="12988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7" name="Freihandform: Form 1586">
                    <a:extLst>
                      <a:ext uri="{FF2B5EF4-FFF2-40B4-BE49-F238E27FC236}">
                        <a16:creationId xmlns:a16="http://schemas.microsoft.com/office/drawing/2014/main" id="{20BBCABA-335A-A7C3-610E-612D138FC967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15903"/>
                    <a:ext cx="225725" cy="543761"/>
                  </a:xfrm>
                  <a:custGeom>
                    <a:avLst/>
                    <a:gdLst>
                      <a:gd name="connsiteX0" fmla="*/ 285 w 225725"/>
                      <a:gd name="connsiteY0" fmla="*/ 129861 h 543761"/>
                      <a:gd name="connsiteX1" fmla="*/ 226010 w 225725"/>
                      <a:gd name="connsiteY1" fmla="*/ -79 h 543761"/>
                      <a:gd name="connsiteX2" fmla="*/ 226010 w 225725"/>
                      <a:gd name="connsiteY2" fmla="*/ 51653 h 543761"/>
                      <a:gd name="connsiteX3" fmla="*/ 285 w 225725"/>
                      <a:gd name="connsiteY3" fmla="*/ 181593 h 543761"/>
                      <a:gd name="connsiteX4" fmla="*/ 285 w 225725"/>
                      <a:gd name="connsiteY4" fmla="*/ 233309 h 543761"/>
                      <a:gd name="connsiteX5" fmla="*/ 226010 w 225725"/>
                      <a:gd name="connsiteY5" fmla="*/ 103369 h 543761"/>
                      <a:gd name="connsiteX6" fmla="*/ 226010 w 225725"/>
                      <a:gd name="connsiteY6" fmla="*/ 142156 h 543761"/>
                      <a:gd name="connsiteX7" fmla="*/ 285 w 225725"/>
                      <a:gd name="connsiteY7" fmla="*/ 272112 h 543761"/>
                      <a:gd name="connsiteX8" fmla="*/ 285 w 225725"/>
                      <a:gd name="connsiteY8" fmla="*/ 323843 h 543761"/>
                      <a:gd name="connsiteX9" fmla="*/ 226010 w 225725"/>
                      <a:gd name="connsiteY9" fmla="*/ 193888 h 543761"/>
                      <a:gd name="connsiteX10" fmla="*/ 226010 w 225725"/>
                      <a:gd name="connsiteY10" fmla="*/ 232690 h 543761"/>
                      <a:gd name="connsiteX11" fmla="*/ 285 w 225725"/>
                      <a:gd name="connsiteY11" fmla="*/ 362630 h 543761"/>
                      <a:gd name="connsiteX12" fmla="*/ 285 w 225725"/>
                      <a:gd name="connsiteY12" fmla="*/ 414362 h 543761"/>
                      <a:gd name="connsiteX13" fmla="*/ 226010 w 225725"/>
                      <a:gd name="connsiteY13" fmla="*/ 284422 h 543761"/>
                      <a:gd name="connsiteX14" fmla="*/ 226010 w 225725"/>
                      <a:gd name="connsiteY14" fmla="*/ 323209 h 543761"/>
                      <a:gd name="connsiteX15" fmla="*/ 285 w 225725"/>
                      <a:gd name="connsiteY15" fmla="*/ 453149 h 543761"/>
                      <a:gd name="connsiteX16" fmla="*/ 285 w 225725"/>
                      <a:gd name="connsiteY16" fmla="*/ 504881 h 543761"/>
                      <a:gd name="connsiteX17" fmla="*/ 226010 w 225725"/>
                      <a:gd name="connsiteY17" fmla="*/ 374925 h 543761"/>
                      <a:gd name="connsiteX18" fmla="*/ 226010 w 225725"/>
                      <a:gd name="connsiteY18" fmla="*/ 413728 h 543761"/>
                      <a:gd name="connsiteX19" fmla="*/ 285 w 225725"/>
                      <a:gd name="connsiteY19" fmla="*/ 543683 h 543761"/>
                      <a:gd name="connsiteX20" fmla="*/ 285 w 225725"/>
                      <a:gd name="connsiteY20" fmla="*/ 129861 h 543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225725" h="543761">
                        <a:moveTo>
                          <a:pt x="285" y="129861"/>
                        </a:moveTo>
                        <a:lnTo>
                          <a:pt x="226010" y="-79"/>
                        </a:lnTo>
                        <a:lnTo>
                          <a:pt x="226010" y="51653"/>
                        </a:lnTo>
                        <a:lnTo>
                          <a:pt x="285" y="181593"/>
                        </a:lnTo>
                        <a:lnTo>
                          <a:pt x="285" y="233309"/>
                        </a:lnTo>
                        <a:lnTo>
                          <a:pt x="226010" y="103369"/>
                        </a:lnTo>
                        <a:lnTo>
                          <a:pt x="226010" y="142156"/>
                        </a:lnTo>
                        <a:lnTo>
                          <a:pt x="285" y="272112"/>
                        </a:lnTo>
                        <a:lnTo>
                          <a:pt x="285" y="323843"/>
                        </a:lnTo>
                        <a:lnTo>
                          <a:pt x="226010" y="193888"/>
                        </a:lnTo>
                        <a:lnTo>
                          <a:pt x="226010" y="232690"/>
                        </a:lnTo>
                        <a:lnTo>
                          <a:pt x="285" y="362630"/>
                        </a:lnTo>
                        <a:lnTo>
                          <a:pt x="285" y="414362"/>
                        </a:lnTo>
                        <a:lnTo>
                          <a:pt x="226010" y="284422"/>
                        </a:lnTo>
                        <a:lnTo>
                          <a:pt x="226010" y="323209"/>
                        </a:lnTo>
                        <a:lnTo>
                          <a:pt x="285" y="453149"/>
                        </a:lnTo>
                        <a:lnTo>
                          <a:pt x="285" y="504881"/>
                        </a:lnTo>
                        <a:lnTo>
                          <a:pt x="226010" y="374925"/>
                        </a:lnTo>
                        <a:lnTo>
                          <a:pt x="226010" y="413728"/>
                        </a:lnTo>
                        <a:lnTo>
                          <a:pt x="285" y="543683"/>
                        </a:lnTo>
                        <a:lnTo>
                          <a:pt x="285" y="129861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8" name="Freihandform: Form 1587">
                    <a:extLst>
                      <a:ext uri="{FF2B5EF4-FFF2-40B4-BE49-F238E27FC236}">
                        <a16:creationId xmlns:a16="http://schemas.microsoft.com/office/drawing/2014/main" id="{30AC9D0B-865F-F141-08AB-CEEEF2F2FB3D}"/>
                      </a:ext>
                    </a:extLst>
                  </p:cNvPr>
                  <p:cNvSpPr/>
                  <p:nvPr/>
                </p:nvSpPr>
                <p:spPr>
                  <a:xfrm>
                    <a:off x="7987675" y="2290710"/>
                    <a:ext cx="450530" cy="259895"/>
                  </a:xfrm>
                  <a:custGeom>
                    <a:avLst/>
                    <a:gdLst>
                      <a:gd name="connsiteX0" fmla="*/ 225112 w 450530"/>
                      <a:gd name="connsiteY0" fmla="*/ 259871 h 259895"/>
                      <a:gd name="connsiteX1" fmla="*/ 307 w 450530"/>
                      <a:gd name="connsiteY1" fmla="*/ 129915 h 259895"/>
                      <a:gd name="connsiteX2" fmla="*/ 225112 w 450530"/>
                      <a:gd name="connsiteY2" fmla="*/ -25 h 259895"/>
                      <a:gd name="connsiteX3" fmla="*/ 450838 w 450530"/>
                      <a:gd name="connsiteY3" fmla="*/ 129930 h 259895"/>
                      <a:gd name="connsiteX4" fmla="*/ 225112 w 450530"/>
                      <a:gd name="connsiteY4" fmla="*/ 259871 h 259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0530" h="259895">
                        <a:moveTo>
                          <a:pt x="225112" y="259871"/>
                        </a:moveTo>
                        <a:lnTo>
                          <a:pt x="307" y="129915"/>
                        </a:lnTo>
                        <a:lnTo>
                          <a:pt x="225112" y="-25"/>
                        </a:lnTo>
                        <a:lnTo>
                          <a:pt x="450838" y="129930"/>
                        </a:lnTo>
                        <a:lnTo>
                          <a:pt x="225112" y="259871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9" name="Freihandform: Form 1588">
                    <a:extLst>
                      <a:ext uri="{FF2B5EF4-FFF2-40B4-BE49-F238E27FC236}">
                        <a16:creationId xmlns:a16="http://schemas.microsoft.com/office/drawing/2014/main" id="{EA0F35E4-3BD9-B74E-1422-E6BC4F474643}"/>
                      </a:ext>
                    </a:extLst>
                  </p:cNvPr>
                  <p:cNvSpPr/>
                  <p:nvPr/>
                </p:nvSpPr>
                <p:spPr>
                  <a:xfrm>
                    <a:off x="7987675" y="2467619"/>
                    <a:ext cx="224805" cy="543761"/>
                  </a:xfrm>
                  <a:custGeom>
                    <a:avLst/>
                    <a:gdLst>
                      <a:gd name="connsiteX0" fmla="*/ 225134 w 224805"/>
                      <a:gd name="connsiteY0" fmla="*/ 543673 h 543761"/>
                      <a:gd name="connsiteX1" fmla="*/ 329 w 224805"/>
                      <a:gd name="connsiteY1" fmla="*/ 413717 h 543761"/>
                      <a:gd name="connsiteX2" fmla="*/ 329 w 224805"/>
                      <a:gd name="connsiteY2" fmla="*/ 362002 h 543761"/>
                      <a:gd name="connsiteX3" fmla="*/ 225134 w 224805"/>
                      <a:gd name="connsiteY3" fmla="*/ 491957 h 543761"/>
                      <a:gd name="connsiteX4" fmla="*/ 225134 w 224805"/>
                      <a:gd name="connsiteY4" fmla="*/ 543673 h 543761"/>
                      <a:gd name="connsiteX5" fmla="*/ 225134 w 224805"/>
                      <a:gd name="connsiteY5" fmla="*/ 401423 h 543761"/>
                      <a:gd name="connsiteX6" fmla="*/ 329 w 224805"/>
                      <a:gd name="connsiteY6" fmla="*/ 271483 h 543761"/>
                      <a:gd name="connsiteX7" fmla="*/ 329 w 224805"/>
                      <a:gd name="connsiteY7" fmla="*/ 323199 h 543761"/>
                      <a:gd name="connsiteX8" fmla="*/ 225134 w 224805"/>
                      <a:gd name="connsiteY8" fmla="*/ 453155 h 543761"/>
                      <a:gd name="connsiteX9" fmla="*/ 225134 w 224805"/>
                      <a:gd name="connsiteY9" fmla="*/ 401439 h 543761"/>
                      <a:gd name="connsiteX10" fmla="*/ 225134 w 224805"/>
                      <a:gd name="connsiteY10" fmla="*/ 310904 h 543761"/>
                      <a:gd name="connsiteX11" fmla="*/ 329 w 224805"/>
                      <a:gd name="connsiteY11" fmla="*/ 180949 h 543761"/>
                      <a:gd name="connsiteX12" fmla="*/ 329 w 224805"/>
                      <a:gd name="connsiteY12" fmla="*/ 232680 h 543761"/>
                      <a:gd name="connsiteX13" fmla="*/ 225134 w 224805"/>
                      <a:gd name="connsiteY13" fmla="*/ 362636 h 543761"/>
                      <a:gd name="connsiteX14" fmla="*/ 225134 w 224805"/>
                      <a:gd name="connsiteY14" fmla="*/ 310904 h 543761"/>
                      <a:gd name="connsiteX15" fmla="*/ 225134 w 224805"/>
                      <a:gd name="connsiteY15" fmla="*/ 129867 h 543761"/>
                      <a:gd name="connsiteX16" fmla="*/ 329 w 224805"/>
                      <a:gd name="connsiteY16" fmla="*/ -89 h 543761"/>
                      <a:gd name="connsiteX17" fmla="*/ 329 w 224805"/>
                      <a:gd name="connsiteY17" fmla="*/ 51627 h 543761"/>
                      <a:gd name="connsiteX18" fmla="*/ 225134 w 224805"/>
                      <a:gd name="connsiteY18" fmla="*/ 181583 h 543761"/>
                      <a:gd name="connsiteX19" fmla="*/ 225134 w 224805"/>
                      <a:gd name="connsiteY19" fmla="*/ 129867 h 543761"/>
                      <a:gd name="connsiteX20" fmla="*/ 225134 w 224805"/>
                      <a:gd name="connsiteY20" fmla="*/ 220386 h 543761"/>
                      <a:gd name="connsiteX21" fmla="*/ 329 w 224805"/>
                      <a:gd name="connsiteY21" fmla="*/ 90430 h 543761"/>
                      <a:gd name="connsiteX22" fmla="*/ 329 w 224805"/>
                      <a:gd name="connsiteY22" fmla="*/ 142162 h 543761"/>
                      <a:gd name="connsiteX23" fmla="*/ 225134 w 224805"/>
                      <a:gd name="connsiteY23" fmla="*/ 272118 h 543761"/>
                      <a:gd name="connsiteX24" fmla="*/ 225134 w 224805"/>
                      <a:gd name="connsiteY24" fmla="*/ 220386 h 543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4805" h="543761">
                        <a:moveTo>
                          <a:pt x="225134" y="543673"/>
                        </a:moveTo>
                        <a:lnTo>
                          <a:pt x="329" y="413717"/>
                        </a:lnTo>
                        <a:lnTo>
                          <a:pt x="329" y="362002"/>
                        </a:lnTo>
                        <a:lnTo>
                          <a:pt x="225134" y="491957"/>
                        </a:lnTo>
                        <a:lnTo>
                          <a:pt x="225134" y="543673"/>
                        </a:lnTo>
                        <a:close/>
                        <a:moveTo>
                          <a:pt x="225134" y="401423"/>
                        </a:moveTo>
                        <a:lnTo>
                          <a:pt x="329" y="271483"/>
                        </a:lnTo>
                        <a:lnTo>
                          <a:pt x="329" y="323199"/>
                        </a:lnTo>
                        <a:lnTo>
                          <a:pt x="225134" y="453155"/>
                        </a:lnTo>
                        <a:lnTo>
                          <a:pt x="225134" y="401439"/>
                        </a:lnTo>
                        <a:close/>
                        <a:moveTo>
                          <a:pt x="225134" y="310904"/>
                        </a:moveTo>
                        <a:lnTo>
                          <a:pt x="329" y="180949"/>
                        </a:lnTo>
                        <a:lnTo>
                          <a:pt x="329" y="232680"/>
                        </a:lnTo>
                        <a:lnTo>
                          <a:pt x="225134" y="362636"/>
                        </a:lnTo>
                        <a:lnTo>
                          <a:pt x="225134" y="310904"/>
                        </a:lnTo>
                        <a:close/>
                        <a:moveTo>
                          <a:pt x="225134" y="129867"/>
                        </a:moveTo>
                        <a:lnTo>
                          <a:pt x="329" y="-89"/>
                        </a:lnTo>
                        <a:lnTo>
                          <a:pt x="329" y="51627"/>
                        </a:lnTo>
                        <a:lnTo>
                          <a:pt x="225134" y="181583"/>
                        </a:lnTo>
                        <a:lnTo>
                          <a:pt x="225134" y="129867"/>
                        </a:lnTo>
                        <a:close/>
                        <a:moveTo>
                          <a:pt x="225134" y="220386"/>
                        </a:moveTo>
                        <a:lnTo>
                          <a:pt x="329" y="90430"/>
                        </a:lnTo>
                        <a:lnTo>
                          <a:pt x="329" y="142162"/>
                        </a:lnTo>
                        <a:lnTo>
                          <a:pt x="225134" y="272118"/>
                        </a:lnTo>
                        <a:lnTo>
                          <a:pt x="225134" y="220386"/>
                        </a:lnTo>
                        <a:close/>
                      </a:path>
                    </a:pathLst>
                  </a:custGeom>
                  <a:solidFill>
                    <a:srgbClr val="9999A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0" name="Freihandform: Form 1589">
                    <a:extLst>
                      <a:ext uri="{FF2B5EF4-FFF2-40B4-BE49-F238E27FC236}">
                        <a16:creationId xmlns:a16="http://schemas.microsoft.com/office/drawing/2014/main" id="{0E3103CB-A392-A348-B5FB-7FAECBA62918}"/>
                      </a:ext>
                    </a:extLst>
                  </p:cNvPr>
                  <p:cNvSpPr/>
                  <p:nvPr/>
                </p:nvSpPr>
                <p:spPr>
                  <a:xfrm>
                    <a:off x="8212480" y="2841530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48 h 181671"/>
                      <a:gd name="connsiteX1" fmla="*/ 285 w 225725"/>
                      <a:gd name="connsiteY1" fmla="*/ 129832 h 181671"/>
                      <a:gd name="connsiteX2" fmla="*/ 226010 w 225725"/>
                      <a:gd name="connsiteY2" fmla="*/ -124 h 181671"/>
                      <a:gd name="connsiteX3" fmla="*/ 226010 w 225725"/>
                      <a:gd name="connsiteY3" fmla="*/ 51592 h 181671"/>
                      <a:gd name="connsiteX4" fmla="*/ 285 w 225725"/>
                      <a:gd name="connsiteY4" fmla="*/ 181548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48"/>
                        </a:moveTo>
                        <a:lnTo>
                          <a:pt x="285" y="129832"/>
                        </a:lnTo>
                        <a:lnTo>
                          <a:pt x="226010" y="-124"/>
                        </a:lnTo>
                        <a:lnTo>
                          <a:pt x="226010" y="51592"/>
                        </a:lnTo>
                        <a:lnTo>
                          <a:pt x="285" y="181548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1" name="Freihandform: Form 1590">
                    <a:extLst>
                      <a:ext uri="{FF2B5EF4-FFF2-40B4-BE49-F238E27FC236}">
                        <a16:creationId xmlns:a16="http://schemas.microsoft.com/office/drawing/2014/main" id="{B2AFB56C-B180-3248-44D3-D879E2DE1F82}"/>
                      </a:ext>
                    </a:extLst>
                  </p:cNvPr>
                  <p:cNvSpPr/>
                  <p:nvPr/>
                </p:nvSpPr>
                <p:spPr>
                  <a:xfrm>
                    <a:off x="8212480" y="2751012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65 h 181671"/>
                      <a:gd name="connsiteX1" fmla="*/ 285 w 225725"/>
                      <a:gd name="connsiteY1" fmla="*/ 129834 h 181671"/>
                      <a:gd name="connsiteX2" fmla="*/ 226010 w 225725"/>
                      <a:gd name="connsiteY2" fmla="*/ -106 h 181671"/>
                      <a:gd name="connsiteX3" fmla="*/ 226010 w 225725"/>
                      <a:gd name="connsiteY3" fmla="*/ 51610 h 181671"/>
                      <a:gd name="connsiteX4" fmla="*/ 285 w 225725"/>
                      <a:gd name="connsiteY4" fmla="*/ 181565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65"/>
                        </a:moveTo>
                        <a:lnTo>
                          <a:pt x="285" y="129834"/>
                        </a:lnTo>
                        <a:lnTo>
                          <a:pt x="226010" y="-106"/>
                        </a:lnTo>
                        <a:lnTo>
                          <a:pt x="226010" y="51610"/>
                        </a:lnTo>
                        <a:lnTo>
                          <a:pt x="285" y="181565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2" name="Freihandform: Form 1591">
                    <a:extLst>
                      <a:ext uri="{FF2B5EF4-FFF2-40B4-BE49-F238E27FC236}">
                        <a16:creationId xmlns:a16="http://schemas.microsoft.com/office/drawing/2014/main" id="{4DC195F1-8799-5483-8712-56113FDA5C7E}"/>
                      </a:ext>
                    </a:extLst>
                  </p:cNvPr>
                  <p:cNvSpPr/>
                  <p:nvPr/>
                </p:nvSpPr>
                <p:spPr>
                  <a:xfrm>
                    <a:off x="8212480" y="2660493"/>
                    <a:ext cx="225725" cy="181671"/>
                  </a:xfrm>
                  <a:custGeom>
                    <a:avLst/>
                    <a:gdLst>
                      <a:gd name="connsiteX0" fmla="*/ 285 w 225725"/>
                      <a:gd name="connsiteY0" fmla="*/ 181583 h 181671"/>
                      <a:gd name="connsiteX1" fmla="*/ 285 w 225725"/>
                      <a:gd name="connsiteY1" fmla="*/ 129851 h 181671"/>
                      <a:gd name="connsiteX2" fmla="*/ 226010 w 225725"/>
                      <a:gd name="connsiteY2" fmla="*/ -89 h 181671"/>
                      <a:gd name="connsiteX3" fmla="*/ 226010 w 225725"/>
                      <a:gd name="connsiteY3" fmla="*/ 51643 h 181671"/>
                      <a:gd name="connsiteX4" fmla="*/ 285 w 225725"/>
                      <a:gd name="connsiteY4" fmla="*/ 181583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71">
                        <a:moveTo>
                          <a:pt x="285" y="181583"/>
                        </a:moveTo>
                        <a:lnTo>
                          <a:pt x="285" y="129851"/>
                        </a:lnTo>
                        <a:lnTo>
                          <a:pt x="226010" y="-89"/>
                        </a:lnTo>
                        <a:lnTo>
                          <a:pt x="226010" y="51643"/>
                        </a:lnTo>
                        <a:lnTo>
                          <a:pt x="285" y="181583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3" name="Freihandform: Form 1592">
                    <a:extLst>
                      <a:ext uri="{FF2B5EF4-FFF2-40B4-BE49-F238E27FC236}">
                        <a16:creationId xmlns:a16="http://schemas.microsoft.com/office/drawing/2014/main" id="{8771A83C-6D05-1902-58FA-74FEF50FF806}"/>
                      </a:ext>
                    </a:extLst>
                  </p:cNvPr>
                  <p:cNvSpPr/>
                  <p:nvPr/>
                </p:nvSpPr>
                <p:spPr>
                  <a:xfrm>
                    <a:off x="8212480" y="2569959"/>
                    <a:ext cx="225725" cy="181687"/>
                  </a:xfrm>
                  <a:custGeom>
                    <a:avLst/>
                    <a:gdLst>
                      <a:gd name="connsiteX0" fmla="*/ 285 w 225725"/>
                      <a:gd name="connsiteY0" fmla="*/ 181617 h 181687"/>
                      <a:gd name="connsiteX1" fmla="*/ 285 w 225725"/>
                      <a:gd name="connsiteY1" fmla="*/ 129885 h 181687"/>
                      <a:gd name="connsiteX2" fmla="*/ 226010 w 225725"/>
                      <a:gd name="connsiteY2" fmla="*/ -71 h 181687"/>
                      <a:gd name="connsiteX3" fmla="*/ 226010 w 225725"/>
                      <a:gd name="connsiteY3" fmla="*/ 51661 h 181687"/>
                      <a:gd name="connsiteX4" fmla="*/ 285 w 225725"/>
                      <a:gd name="connsiteY4" fmla="*/ 181617 h 18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87">
                        <a:moveTo>
                          <a:pt x="285" y="181617"/>
                        </a:moveTo>
                        <a:lnTo>
                          <a:pt x="285" y="129885"/>
                        </a:lnTo>
                        <a:lnTo>
                          <a:pt x="226010" y="-71"/>
                        </a:lnTo>
                        <a:lnTo>
                          <a:pt x="226010" y="51661"/>
                        </a:lnTo>
                        <a:lnTo>
                          <a:pt x="285" y="18161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4" name="Freihandform: Form 1593">
                    <a:extLst>
                      <a:ext uri="{FF2B5EF4-FFF2-40B4-BE49-F238E27FC236}">
                        <a16:creationId xmlns:a16="http://schemas.microsoft.com/office/drawing/2014/main" id="{E6D66C78-6D74-2962-6EA4-72B97754B03E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79456"/>
                    <a:ext cx="225725" cy="181655"/>
                  </a:xfrm>
                  <a:custGeom>
                    <a:avLst/>
                    <a:gdLst>
                      <a:gd name="connsiteX0" fmla="*/ 285 w 225725"/>
                      <a:gd name="connsiteY0" fmla="*/ 129887 h 181655"/>
                      <a:gd name="connsiteX1" fmla="*/ 226010 w 225725"/>
                      <a:gd name="connsiteY1" fmla="*/ -53 h 181655"/>
                      <a:gd name="connsiteX2" fmla="*/ 226010 w 225725"/>
                      <a:gd name="connsiteY2" fmla="*/ 51663 h 181655"/>
                      <a:gd name="connsiteX3" fmla="*/ 285 w 225725"/>
                      <a:gd name="connsiteY3" fmla="*/ 181603 h 181655"/>
                      <a:gd name="connsiteX4" fmla="*/ 285 w 225725"/>
                      <a:gd name="connsiteY4" fmla="*/ 129887 h 1816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725" h="181655">
                        <a:moveTo>
                          <a:pt x="285" y="129887"/>
                        </a:moveTo>
                        <a:lnTo>
                          <a:pt x="226010" y="-53"/>
                        </a:lnTo>
                        <a:lnTo>
                          <a:pt x="226010" y="51663"/>
                        </a:lnTo>
                        <a:lnTo>
                          <a:pt x="285" y="181603"/>
                        </a:lnTo>
                        <a:lnTo>
                          <a:pt x="285" y="129887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5" name="Freihandform: Form 1594">
                    <a:extLst>
                      <a:ext uri="{FF2B5EF4-FFF2-40B4-BE49-F238E27FC236}">
                        <a16:creationId xmlns:a16="http://schemas.microsoft.com/office/drawing/2014/main" id="{75E71A81-0811-96F4-5CBF-F0E5A2B6BE6B}"/>
                      </a:ext>
                    </a:extLst>
                  </p:cNvPr>
                  <p:cNvSpPr/>
                  <p:nvPr/>
                </p:nvSpPr>
                <p:spPr>
                  <a:xfrm>
                    <a:off x="8212480" y="2427724"/>
                    <a:ext cx="225725" cy="543761"/>
                  </a:xfrm>
                  <a:custGeom>
                    <a:avLst/>
                    <a:gdLst>
                      <a:gd name="connsiteX0" fmla="*/ 285 w 225725"/>
                      <a:gd name="connsiteY0" fmla="*/ 129861 h 543761"/>
                      <a:gd name="connsiteX1" fmla="*/ 226010 w 225725"/>
                      <a:gd name="connsiteY1" fmla="*/ -79 h 543761"/>
                      <a:gd name="connsiteX2" fmla="*/ 226010 w 225725"/>
                      <a:gd name="connsiteY2" fmla="*/ 51653 h 543761"/>
                      <a:gd name="connsiteX3" fmla="*/ 285 w 225725"/>
                      <a:gd name="connsiteY3" fmla="*/ 181593 h 543761"/>
                      <a:gd name="connsiteX4" fmla="*/ 285 w 225725"/>
                      <a:gd name="connsiteY4" fmla="*/ 233309 h 543761"/>
                      <a:gd name="connsiteX5" fmla="*/ 226010 w 225725"/>
                      <a:gd name="connsiteY5" fmla="*/ 103369 h 543761"/>
                      <a:gd name="connsiteX6" fmla="*/ 226010 w 225725"/>
                      <a:gd name="connsiteY6" fmla="*/ 142156 h 543761"/>
                      <a:gd name="connsiteX7" fmla="*/ 285 w 225725"/>
                      <a:gd name="connsiteY7" fmla="*/ 272112 h 543761"/>
                      <a:gd name="connsiteX8" fmla="*/ 285 w 225725"/>
                      <a:gd name="connsiteY8" fmla="*/ 323843 h 543761"/>
                      <a:gd name="connsiteX9" fmla="*/ 226010 w 225725"/>
                      <a:gd name="connsiteY9" fmla="*/ 193888 h 543761"/>
                      <a:gd name="connsiteX10" fmla="*/ 226010 w 225725"/>
                      <a:gd name="connsiteY10" fmla="*/ 232690 h 543761"/>
                      <a:gd name="connsiteX11" fmla="*/ 285 w 225725"/>
                      <a:gd name="connsiteY11" fmla="*/ 362630 h 543761"/>
                      <a:gd name="connsiteX12" fmla="*/ 285 w 225725"/>
                      <a:gd name="connsiteY12" fmla="*/ 414362 h 543761"/>
                      <a:gd name="connsiteX13" fmla="*/ 226010 w 225725"/>
                      <a:gd name="connsiteY13" fmla="*/ 284422 h 543761"/>
                      <a:gd name="connsiteX14" fmla="*/ 226010 w 225725"/>
                      <a:gd name="connsiteY14" fmla="*/ 323209 h 543761"/>
                      <a:gd name="connsiteX15" fmla="*/ 285 w 225725"/>
                      <a:gd name="connsiteY15" fmla="*/ 453149 h 543761"/>
                      <a:gd name="connsiteX16" fmla="*/ 285 w 225725"/>
                      <a:gd name="connsiteY16" fmla="*/ 504881 h 543761"/>
                      <a:gd name="connsiteX17" fmla="*/ 226010 w 225725"/>
                      <a:gd name="connsiteY17" fmla="*/ 374925 h 543761"/>
                      <a:gd name="connsiteX18" fmla="*/ 226010 w 225725"/>
                      <a:gd name="connsiteY18" fmla="*/ 413728 h 543761"/>
                      <a:gd name="connsiteX19" fmla="*/ 285 w 225725"/>
                      <a:gd name="connsiteY19" fmla="*/ 543683 h 543761"/>
                      <a:gd name="connsiteX20" fmla="*/ 285 w 225725"/>
                      <a:gd name="connsiteY20" fmla="*/ 129861 h 543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225725" h="543761">
                        <a:moveTo>
                          <a:pt x="285" y="129861"/>
                        </a:moveTo>
                        <a:lnTo>
                          <a:pt x="226010" y="-79"/>
                        </a:lnTo>
                        <a:lnTo>
                          <a:pt x="226010" y="51653"/>
                        </a:lnTo>
                        <a:lnTo>
                          <a:pt x="285" y="181593"/>
                        </a:lnTo>
                        <a:lnTo>
                          <a:pt x="285" y="233309"/>
                        </a:lnTo>
                        <a:lnTo>
                          <a:pt x="226010" y="103369"/>
                        </a:lnTo>
                        <a:lnTo>
                          <a:pt x="226010" y="142156"/>
                        </a:lnTo>
                        <a:lnTo>
                          <a:pt x="285" y="272112"/>
                        </a:lnTo>
                        <a:lnTo>
                          <a:pt x="285" y="323843"/>
                        </a:lnTo>
                        <a:lnTo>
                          <a:pt x="226010" y="193888"/>
                        </a:lnTo>
                        <a:lnTo>
                          <a:pt x="226010" y="232690"/>
                        </a:lnTo>
                        <a:lnTo>
                          <a:pt x="285" y="362630"/>
                        </a:lnTo>
                        <a:lnTo>
                          <a:pt x="285" y="414362"/>
                        </a:lnTo>
                        <a:lnTo>
                          <a:pt x="226010" y="284422"/>
                        </a:lnTo>
                        <a:lnTo>
                          <a:pt x="226010" y="323209"/>
                        </a:lnTo>
                        <a:lnTo>
                          <a:pt x="285" y="453149"/>
                        </a:lnTo>
                        <a:lnTo>
                          <a:pt x="285" y="504881"/>
                        </a:lnTo>
                        <a:lnTo>
                          <a:pt x="226010" y="374925"/>
                        </a:lnTo>
                        <a:lnTo>
                          <a:pt x="226010" y="413728"/>
                        </a:lnTo>
                        <a:lnTo>
                          <a:pt x="285" y="543683"/>
                        </a:lnTo>
                        <a:lnTo>
                          <a:pt x="285" y="129861"/>
                        </a:lnTo>
                        <a:close/>
                      </a:path>
                    </a:pathLst>
                  </a:custGeom>
                  <a:solidFill>
                    <a:srgbClr val="E5E5E9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pic>
            <p:nvPicPr>
              <p:cNvPr id="1552" name="Grafik 1551">
                <a:extLst>
                  <a:ext uri="{FF2B5EF4-FFF2-40B4-BE49-F238E27FC236}">
                    <a16:creationId xmlns:a16="http://schemas.microsoft.com/office/drawing/2014/main" id="{ABC89D51-B099-B94B-0FC2-D7F444F932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241329" y="2561762"/>
                <a:ext cx="112478" cy="142655"/>
              </a:xfrm>
              <a:prstGeom prst="rect">
                <a:avLst/>
              </a:prstGeom>
              <a:scene3d>
                <a:camera prst="isometricRightUp"/>
                <a:lightRig rig="threePt" dir="t"/>
              </a:scene3d>
            </p:spPr>
          </p:pic>
          <p:sp>
            <p:nvSpPr>
              <p:cNvPr id="1553" name="Freihandform: Form 1552">
                <a:extLst>
                  <a:ext uri="{FF2B5EF4-FFF2-40B4-BE49-F238E27FC236}">
                    <a16:creationId xmlns:a16="http://schemas.microsoft.com/office/drawing/2014/main" id="{72D11BCD-194C-CA8E-B71A-5C5D5FAA7B40}"/>
                  </a:ext>
                </a:extLst>
              </p:cNvPr>
              <p:cNvSpPr/>
              <p:nvPr/>
            </p:nvSpPr>
            <p:spPr>
              <a:xfrm>
                <a:off x="7987838" y="2516312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33353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4" name="Freihandform: Form 1553">
                <a:extLst>
                  <a:ext uri="{FF2B5EF4-FFF2-40B4-BE49-F238E27FC236}">
                    <a16:creationId xmlns:a16="http://schemas.microsoft.com/office/drawing/2014/main" id="{1E908CBD-562C-8376-3808-C2D5CA86D34B}"/>
                  </a:ext>
                </a:extLst>
              </p:cNvPr>
              <p:cNvSpPr/>
              <p:nvPr/>
            </p:nvSpPr>
            <p:spPr>
              <a:xfrm>
                <a:off x="7987838" y="2608466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33353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849E34B5-416D-4379-872F-7D4183CA82F1}"/>
                  </a:ext>
                </a:extLst>
              </p:cNvPr>
              <p:cNvSpPr/>
              <p:nvPr/>
            </p:nvSpPr>
            <p:spPr>
              <a:xfrm flipH="1">
                <a:off x="8345121" y="2688070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7B668EC3-24C2-0B63-73DD-56DB213C2393}"/>
                  </a:ext>
                </a:extLst>
              </p:cNvPr>
              <p:cNvSpPr/>
              <p:nvPr/>
            </p:nvSpPr>
            <p:spPr>
              <a:xfrm flipH="1">
                <a:off x="8345121" y="2780224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2F88C53A-40DD-3AD5-5EF2-7DAAB80B8D5D}"/>
                  </a:ext>
                </a:extLst>
              </p:cNvPr>
              <p:cNvSpPr/>
              <p:nvPr/>
            </p:nvSpPr>
            <p:spPr>
              <a:xfrm flipH="1">
                <a:off x="8345121" y="2876267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ED04C16C-7078-CCE4-3ED4-4C4A3016E6EA}"/>
                  </a:ext>
                </a:extLst>
              </p:cNvPr>
              <p:cNvSpPr/>
              <p:nvPr/>
            </p:nvSpPr>
            <p:spPr>
              <a:xfrm flipH="1">
                <a:off x="8345121" y="2968421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27" name="Freihandform: Form 1426">
              <a:extLst>
                <a:ext uri="{FF2B5EF4-FFF2-40B4-BE49-F238E27FC236}">
                  <a16:creationId xmlns:a16="http://schemas.microsoft.com/office/drawing/2014/main" id="{6AAAA354-FB28-8332-28B3-0C11F231E94F}"/>
                </a:ext>
              </a:extLst>
            </p:cNvPr>
            <p:cNvSpPr/>
            <p:nvPr/>
          </p:nvSpPr>
          <p:spPr>
            <a:xfrm>
              <a:off x="1823109" y="3972546"/>
              <a:ext cx="584797" cy="336357"/>
            </a:xfrm>
            <a:custGeom>
              <a:avLst/>
              <a:gdLst>
                <a:gd name="connsiteX0" fmla="*/ 189261 w 584797"/>
                <a:gd name="connsiteY0" fmla="*/ 336358 h 336357"/>
                <a:gd name="connsiteX1" fmla="*/ 584798 w 584797"/>
                <a:gd name="connsiteY1" fmla="*/ 107988 h 336357"/>
                <a:gd name="connsiteX2" fmla="*/ 395536 w 584797"/>
                <a:gd name="connsiteY2" fmla="*/ 0 h 336357"/>
                <a:gd name="connsiteX3" fmla="*/ 0 w 584797"/>
                <a:gd name="connsiteY3" fmla="*/ 228369 h 336357"/>
                <a:gd name="connsiteX4" fmla="*/ 189261 w 584797"/>
                <a:gd name="connsiteY4" fmla="*/ 336358 h 336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797" h="336357">
                  <a:moveTo>
                    <a:pt x="189261" y="336358"/>
                  </a:moveTo>
                  <a:lnTo>
                    <a:pt x="584798" y="107988"/>
                  </a:lnTo>
                  <a:lnTo>
                    <a:pt x="395536" y="0"/>
                  </a:lnTo>
                  <a:lnTo>
                    <a:pt x="0" y="228369"/>
                  </a:lnTo>
                  <a:lnTo>
                    <a:pt x="189261" y="336358"/>
                  </a:lnTo>
                  <a:close/>
                </a:path>
              </a:pathLst>
            </a:custGeom>
            <a:solidFill>
              <a:srgbClr val="E5E5E9"/>
            </a:solidFill>
            <a:ln w="22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428" name="Grafik 20">
              <a:extLst>
                <a:ext uri="{FF2B5EF4-FFF2-40B4-BE49-F238E27FC236}">
                  <a16:creationId xmlns:a16="http://schemas.microsoft.com/office/drawing/2014/main" id="{E51869F1-1B27-26B8-8588-42D40FDE7052}"/>
                </a:ext>
              </a:extLst>
            </p:cNvPr>
            <p:cNvGrpSpPr/>
            <p:nvPr/>
          </p:nvGrpSpPr>
          <p:grpSpPr>
            <a:xfrm>
              <a:off x="2017822" y="3968700"/>
              <a:ext cx="91646" cy="155495"/>
              <a:chOff x="8759755" y="3525360"/>
              <a:chExt cx="91646" cy="155495"/>
            </a:xfrm>
          </p:grpSpPr>
          <p:grpSp>
            <p:nvGrpSpPr>
              <p:cNvPr id="1547" name="Grafik 20">
                <a:extLst>
                  <a:ext uri="{FF2B5EF4-FFF2-40B4-BE49-F238E27FC236}">
                    <a16:creationId xmlns:a16="http://schemas.microsoft.com/office/drawing/2014/main" id="{BDC1C7A0-F9CD-9342-29B5-9F398D6BCB4E}"/>
                  </a:ext>
                </a:extLst>
              </p:cNvPr>
              <p:cNvGrpSpPr/>
              <p:nvPr/>
            </p:nvGrpSpPr>
            <p:grpSpPr>
              <a:xfrm>
                <a:off x="8799258" y="3611712"/>
                <a:ext cx="12818" cy="69143"/>
                <a:chOff x="8799258" y="3611712"/>
                <a:chExt cx="12818" cy="69143"/>
              </a:xfrm>
              <a:solidFill>
                <a:srgbClr val="AAAA96"/>
              </a:solidFill>
            </p:grpSpPr>
            <p:sp>
              <p:nvSpPr>
                <p:cNvPr id="1549" name="Freihandform: Form 1548">
                  <a:extLst>
                    <a:ext uri="{FF2B5EF4-FFF2-40B4-BE49-F238E27FC236}">
                      <a16:creationId xmlns:a16="http://schemas.microsoft.com/office/drawing/2014/main" id="{7B0F6D89-3745-041F-01F8-B04E38FE8BE3}"/>
                    </a:ext>
                  </a:extLst>
                </p:cNvPr>
                <p:cNvSpPr/>
                <p:nvPr/>
              </p:nvSpPr>
              <p:spPr>
                <a:xfrm>
                  <a:off x="8799258" y="3615355"/>
                  <a:ext cx="12817" cy="65500"/>
                </a:xfrm>
                <a:custGeom>
                  <a:avLst/>
                  <a:gdLst>
                    <a:gd name="connsiteX0" fmla="*/ 13400 w 12817"/>
                    <a:gd name="connsiteY0" fmla="*/ 395 h 65500"/>
                    <a:gd name="connsiteX1" fmla="*/ 13226 w 12817"/>
                    <a:gd name="connsiteY1" fmla="*/ 62216 h 65500"/>
                    <a:gd name="connsiteX2" fmla="*/ 11386 w 12817"/>
                    <a:gd name="connsiteY2" fmla="*/ 64786 h 65500"/>
                    <a:gd name="connsiteX3" fmla="*/ 2449 w 12817"/>
                    <a:gd name="connsiteY3" fmla="*/ 64786 h 65500"/>
                    <a:gd name="connsiteX4" fmla="*/ 582 w 12817"/>
                    <a:gd name="connsiteY4" fmla="*/ 62179 h 65500"/>
                    <a:gd name="connsiteX5" fmla="*/ 757 w 12817"/>
                    <a:gd name="connsiteY5" fmla="*/ 358 h 65500"/>
                    <a:gd name="connsiteX6" fmla="*/ 2623 w 12817"/>
                    <a:gd name="connsiteY6" fmla="*/ 2965 h 65500"/>
                    <a:gd name="connsiteX7" fmla="*/ 11560 w 12817"/>
                    <a:gd name="connsiteY7" fmla="*/ 2965 h 65500"/>
                    <a:gd name="connsiteX8" fmla="*/ 13400 w 12817"/>
                    <a:gd name="connsiteY8" fmla="*/ 395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00" y="395"/>
                      </a:moveTo>
                      <a:lnTo>
                        <a:pt x="13226" y="62216"/>
                      </a:lnTo>
                      <a:cubicBezTo>
                        <a:pt x="13226" y="63147"/>
                        <a:pt x="12612" y="64078"/>
                        <a:pt x="11386" y="64786"/>
                      </a:cubicBezTo>
                      <a:cubicBezTo>
                        <a:pt x="8927" y="66214"/>
                        <a:pt x="4924" y="66219"/>
                        <a:pt x="2449" y="64786"/>
                      </a:cubicBezTo>
                      <a:cubicBezTo>
                        <a:pt x="1206" y="64067"/>
                        <a:pt x="582" y="63121"/>
                        <a:pt x="582" y="62179"/>
                      </a:cubicBezTo>
                      <a:lnTo>
                        <a:pt x="757" y="358"/>
                      </a:lnTo>
                      <a:cubicBezTo>
                        <a:pt x="757" y="1300"/>
                        <a:pt x="1376" y="2246"/>
                        <a:pt x="2623" y="2965"/>
                      </a:cubicBezTo>
                      <a:cubicBezTo>
                        <a:pt x="5104" y="4398"/>
                        <a:pt x="9101" y="4393"/>
                        <a:pt x="11560" y="2965"/>
                      </a:cubicBezTo>
                      <a:cubicBezTo>
                        <a:pt x="12782" y="2257"/>
                        <a:pt x="13395" y="1326"/>
                        <a:pt x="13400" y="395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50" name="Freihandform: Form 1549">
                  <a:extLst>
                    <a:ext uri="{FF2B5EF4-FFF2-40B4-BE49-F238E27FC236}">
                      <a16:creationId xmlns:a16="http://schemas.microsoft.com/office/drawing/2014/main" id="{4A1E0D96-F6CE-FD56-5D06-956C64FEE791}"/>
                    </a:ext>
                  </a:extLst>
                </p:cNvPr>
                <p:cNvSpPr/>
                <p:nvPr/>
              </p:nvSpPr>
              <p:spPr>
                <a:xfrm>
                  <a:off x="8799440" y="3611712"/>
                  <a:ext cx="12636" cy="7322"/>
                </a:xfrm>
                <a:custGeom>
                  <a:avLst/>
                  <a:gdLst>
                    <a:gd name="connsiteX0" fmla="*/ 11351 w 12636"/>
                    <a:gd name="connsiteY0" fmla="*/ 1479 h 7322"/>
                    <a:gd name="connsiteX1" fmla="*/ 11383 w 12636"/>
                    <a:gd name="connsiteY1" fmla="*/ 6656 h 7322"/>
                    <a:gd name="connsiteX2" fmla="*/ 2446 w 12636"/>
                    <a:gd name="connsiteY2" fmla="*/ 6656 h 7322"/>
                    <a:gd name="connsiteX3" fmla="*/ 2415 w 12636"/>
                    <a:gd name="connsiteY3" fmla="*/ 1479 h 7322"/>
                    <a:gd name="connsiteX4" fmla="*/ 11351 w 12636"/>
                    <a:gd name="connsiteY4" fmla="*/ 1479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351" y="1479"/>
                      </a:moveTo>
                      <a:cubicBezTo>
                        <a:pt x="13831" y="2912"/>
                        <a:pt x="13842" y="5223"/>
                        <a:pt x="11383" y="6656"/>
                      </a:cubicBezTo>
                      <a:cubicBezTo>
                        <a:pt x="8924" y="8083"/>
                        <a:pt x="4921" y="8089"/>
                        <a:pt x="2446" y="6656"/>
                      </a:cubicBezTo>
                      <a:cubicBezTo>
                        <a:pt x="-29" y="5228"/>
                        <a:pt x="-39" y="2907"/>
                        <a:pt x="2415" y="1479"/>
                      </a:cubicBezTo>
                      <a:cubicBezTo>
                        <a:pt x="4879" y="46"/>
                        <a:pt x="8876" y="51"/>
                        <a:pt x="11351" y="147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548" name="Freihandform: Form 1547">
                <a:extLst>
                  <a:ext uri="{FF2B5EF4-FFF2-40B4-BE49-F238E27FC236}">
                    <a16:creationId xmlns:a16="http://schemas.microsoft.com/office/drawing/2014/main" id="{247325DA-6B46-E4D3-1F73-0A15B70B9233}"/>
                  </a:ext>
                </a:extLst>
              </p:cNvPr>
              <p:cNvSpPr/>
              <p:nvPr/>
            </p:nvSpPr>
            <p:spPr>
              <a:xfrm>
                <a:off x="8759755" y="3525360"/>
                <a:ext cx="91646" cy="111740"/>
              </a:xfrm>
              <a:custGeom>
                <a:avLst/>
                <a:gdLst>
                  <a:gd name="connsiteX0" fmla="*/ 92023 w 91646"/>
                  <a:gd name="connsiteY0" fmla="*/ 53065 h 111740"/>
                  <a:gd name="connsiteX1" fmla="*/ 48044 w 91646"/>
                  <a:gd name="connsiteY1" fmla="*/ 482 h 111740"/>
                  <a:gd name="connsiteX2" fmla="*/ 11879 w 91646"/>
                  <a:gd name="connsiteY2" fmla="*/ 20602 h 111740"/>
                  <a:gd name="connsiteX3" fmla="*/ 9553 w 91646"/>
                  <a:gd name="connsiteY3" fmla="*/ 90625 h 111740"/>
                  <a:gd name="connsiteX4" fmla="*/ 52914 w 91646"/>
                  <a:gd name="connsiteY4" fmla="*/ 111607 h 111740"/>
                  <a:gd name="connsiteX5" fmla="*/ 92028 w 91646"/>
                  <a:gd name="connsiteY5" fmla="*/ 53186 h 111740"/>
                  <a:gd name="connsiteX6" fmla="*/ 92028 w 91646"/>
                  <a:gd name="connsiteY6" fmla="*/ 53065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023" y="53065"/>
                    </a:moveTo>
                    <a:cubicBezTo>
                      <a:pt x="90638" y="28196"/>
                      <a:pt x="74314" y="1286"/>
                      <a:pt x="48044" y="482"/>
                    </a:cubicBezTo>
                    <a:cubicBezTo>
                      <a:pt x="33444" y="-84"/>
                      <a:pt x="19827" y="8620"/>
                      <a:pt x="11879" y="20602"/>
                    </a:cubicBezTo>
                    <a:cubicBezTo>
                      <a:pt x="-1726" y="40432"/>
                      <a:pt x="-3693" y="69843"/>
                      <a:pt x="9553" y="90625"/>
                    </a:cubicBezTo>
                    <a:cubicBezTo>
                      <a:pt x="18553" y="105198"/>
                      <a:pt x="35850" y="114717"/>
                      <a:pt x="52914" y="111607"/>
                    </a:cubicBezTo>
                    <a:cubicBezTo>
                      <a:pt x="78978" y="107255"/>
                      <a:pt x="94175" y="78806"/>
                      <a:pt x="92028" y="53186"/>
                    </a:cubicBezTo>
                    <a:lnTo>
                      <a:pt x="92028" y="53065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29" name="Grafik 20">
              <a:extLst>
                <a:ext uri="{FF2B5EF4-FFF2-40B4-BE49-F238E27FC236}">
                  <a16:creationId xmlns:a16="http://schemas.microsoft.com/office/drawing/2014/main" id="{93827D32-F72F-ABA8-BB0F-34596126DB8A}"/>
                </a:ext>
              </a:extLst>
            </p:cNvPr>
            <p:cNvGrpSpPr/>
            <p:nvPr/>
          </p:nvGrpSpPr>
          <p:grpSpPr>
            <a:xfrm>
              <a:off x="2149124" y="4022338"/>
              <a:ext cx="91646" cy="155494"/>
              <a:chOff x="8891057" y="3578998"/>
              <a:chExt cx="91646" cy="155494"/>
            </a:xfrm>
          </p:grpSpPr>
          <p:grpSp>
            <p:nvGrpSpPr>
              <p:cNvPr id="1543" name="Grafik 20">
                <a:extLst>
                  <a:ext uri="{FF2B5EF4-FFF2-40B4-BE49-F238E27FC236}">
                    <a16:creationId xmlns:a16="http://schemas.microsoft.com/office/drawing/2014/main" id="{7F4EEAAF-9F2D-C2F0-CE31-4BB0A2308E30}"/>
                  </a:ext>
                </a:extLst>
              </p:cNvPr>
              <p:cNvGrpSpPr/>
              <p:nvPr/>
            </p:nvGrpSpPr>
            <p:grpSpPr>
              <a:xfrm>
                <a:off x="8930559" y="3665350"/>
                <a:ext cx="12819" cy="69142"/>
                <a:chOff x="8930559" y="3665350"/>
                <a:chExt cx="12819" cy="69142"/>
              </a:xfrm>
              <a:solidFill>
                <a:srgbClr val="AAAA96"/>
              </a:solidFill>
            </p:grpSpPr>
            <p:sp>
              <p:nvSpPr>
                <p:cNvPr id="1545" name="Freihandform: Form 1544">
                  <a:extLst>
                    <a:ext uri="{FF2B5EF4-FFF2-40B4-BE49-F238E27FC236}">
                      <a16:creationId xmlns:a16="http://schemas.microsoft.com/office/drawing/2014/main" id="{C0E7DA50-FF63-6713-6118-600FC33302B3}"/>
                    </a:ext>
                  </a:extLst>
                </p:cNvPr>
                <p:cNvSpPr/>
                <p:nvPr/>
              </p:nvSpPr>
              <p:spPr>
                <a:xfrm>
                  <a:off x="8930559" y="3668992"/>
                  <a:ext cx="12817" cy="65500"/>
                </a:xfrm>
                <a:custGeom>
                  <a:avLst/>
                  <a:gdLst>
                    <a:gd name="connsiteX0" fmla="*/ 13457 w 12817"/>
                    <a:gd name="connsiteY0" fmla="*/ 419 h 65500"/>
                    <a:gd name="connsiteX1" fmla="*/ 13283 w 12817"/>
                    <a:gd name="connsiteY1" fmla="*/ 62240 h 65500"/>
                    <a:gd name="connsiteX2" fmla="*/ 11443 w 12817"/>
                    <a:gd name="connsiteY2" fmla="*/ 64810 h 65500"/>
                    <a:gd name="connsiteX3" fmla="*/ 2506 w 12817"/>
                    <a:gd name="connsiteY3" fmla="*/ 64810 h 65500"/>
                    <a:gd name="connsiteX4" fmla="*/ 639 w 12817"/>
                    <a:gd name="connsiteY4" fmla="*/ 62203 h 65500"/>
                    <a:gd name="connsiteX5" fmla="*/ 814 w 12817"/>
                    <a:gd name="connsiteY5" fmla="*/ 382 h 65500"/>
                    <a:gd name="connsiteX6" fmla="*/ 2681 w 12817"/>
                    <a:gd name="connsiteY6" fmla="*/ 2989 h 65500"/>
                    <a:gd name="connsiteX7" fmla="*/ 11617 w 12817"/>
                    <a:gd name="connsiteY7" fmla="*/ 2989 h 65500"/>
                    <a:gd name="connsiteX8" fmla="*/ 13457 w 12817"/>
                    <a:gd name="connsiteY8" fmla="*/ 419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57" y="419"/>
                      </a:moveTo>
                      <a:lnTo>
                        <a:pt x="13283" y="62240"/>
                      </a:lnTo>
                      <a:cubicBezTo>
                        <a:pt x="13283" y="63170"/>
                        <a:pt x="12669" y="64101"/>
                        <a:pt x="11443" y="64810"/>
                      </a:cubicBezTo>
                      <a:cubicBezTo>
                        <a:pt x="8984" y="66237"/>
                        <a:pt x="4981" y="66243"/>
                        <a:pt x="2506" y="64810"/>
                      </a:cubicBezTo>
                      <a:cubicBezTo>
                        <a:pt x="1263" y="64090"/>
                        <a:pt x="639" y="63144"/>
                        <a:pt x="639" y="62203"/>
                      </a:cubicBezTo>
                      <a:lnTo>
                        <a:pt x="814" y="382"/>
                      </a:lnTo>
                      <a:cubicBezTo>
                        <a:pt x="814" y="1323"/>
                        <a:pt x="1433" y="2269"/>
                        <a:pt x="2681" y="2989"/>
                      </a:cubicBezTo>
                      <a:cubicBezTo>
                        <a:pt x="5161" y="4422"/>
                        <a:pt x="9158" y="4416"/>
                        <a:pt x="11617" y="2989"/>
                      </a:cubicBezTo>
                      <a:cubicBezTo>
                        <a:pt x="12839" y="2280"/>
                        <a:pt x="13452" y="1349"/>
                        <a:pt x="13457" y="41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46" name="Freihandform: Form 1545">
                  <a:extLst>
                    <a:ext uri="{FF2B5EF4-FFF2-40B4-BE49-F238E27FC236}">
                      <a16:creationId xmlns:a16="http://schemas.microsoft.com/office/drawing/2014/main" id="{C60B88A3-EC53-79EC-04DF-DA77A22231B3}"/>
                    </a:ext>
                  </a:extLst>
                </p:cNvPr>
                <p:cNvSpPr/>
                <p:nvPr/>
              </p:nvSpPr>
              <p:spPr>
                <a:xfrm>
                  <a:off x="8930742" y="3665350"/>
                  <a:ext cx="12636" cy="7322"/>
                </a:xfrm>
                <a:custGeom>
                  <a:avLst/>
                  <a:gdLst>
                    <a:gd name="connsiteX0" fmla="*/ 11408 w 12636"/>
                    <a:gd name="connsiteY0" fmla="*/ 1502 h 7322"/>
                    <a:gd name="connsiteX1" fmla="*/ 11440 w 12636"/>
                    <a:gd name="connsiteY1" fmla="*/ 6679 h 7322"/>
                    <a:gd name="connsiteX2" fmla="*/ 2503 w 12636"/>
                    <a:gd name="connsiteY2" fmla="*/ 6679 h 7322"/>
                    <a:gd name="connsiteX3" fmla="*/ 2472 w 12636"/>
                    <a:gd name="connsiteY3" fmla="*/ 1502 h 7322"/>
                    <a:gd name="connsiteX4" fmla="*/ 11408 w 12636"/>
                    <a:gd name="connsiteY4" fmla="*/ 1502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408" y="1502"/>
                      </a:moveTo>
                      <a:cubicBezTo>
                        <a:pt x="13888" y="2935"/>
                        <a:pt x="13899" y="5246"/>
                        <a:pt x="11440" y="6679"/>
                      </a:cubicBezTo>
                      <a:cubicBezTo>
                        <a:pt x="8981" y="8107"/>
                        <a:pt x="4978" y="8112"/>
                        <a:pt x="2503" y="6679"/>
                      </a:cubicBezTo>
                      <a:cubicBezTo>
                        <a:pt x="29" y="5251"/>
                        <a:pt x="18" y="2930"/>
                        <a:pt x="2472" y="1502"/>
                      </a:cubicBezTo>
                      <a:cubicBezTo>
                        <a:pt x="4936" y="69"/>
                        <a:pt x="8933" y="74"/>
                        <a:pt x="11408" y="1502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544" name="Freihandform: Form 1543">
                <a:extLst>
                  <a:ext uri="{FF2B5EF4-FFF2-40B4-BE49-F238E27FC236}">
                    <a16:creationId xmlns:a16="http://schemas.microsoft.com/office/drawing/2014/main" id="{D88A0D4F-7F7D-8BC5-5CEE-50F17E266CEA}"/>
                  </a:ext>
                </a:extLst>
              </p:cNvPr>
              <p:cNvSpPr/>
              <p:nvPr/>
            </p:nvSpPr>
            <p:spPr>
              <a:xfrm>
                <a:off x="8891057" y="3578998"/>
                <a:ext cx="91646" cy="111740"/>
              </a:xfrm>
              <a:custGeom>
                <a:avLst/>
                <a:gdLst>
                  <a:gd name="connsiteX0" fmla="*/ 92080 w 91646"/>
                  <a:gd name="connsiteY0" fmla="*/ 53088 h 111740"/>
                  <a:gd name="connsiteX1" fmla="*/ 48101 w 91646"/>
                  <a:gd name="connsiteY1" fmla="*/ 505 h 111740"/>
                  <a:gd name="connsiteX2" fmla="*/ 11937 w 91646"/>
                  <a:gd name="connsiteY2" fmla="*/ 20626 h 111740"/>
                  <a:gd name="connsiteX3" fmla="*/ 9610 w 91646"/>
                  <a:gd name="connsiteY3" fmla="*/ 90648 h 111740"/>
                  <a:gd name="connsiteX4" fmla="*/ 52971 w 91646"/>
                  <a:gd name="connsiteY4" fmla="*/ 111631 h 111740"/>
                  <a:gd name="connsiteX5" fmla="*/ 92086 w 91646"/>
                  <a:gd name="connsiteY5" fmla="*/ 53210 h 111740"/>
                  <a:gd name="connsiteX6" fmla="*/ 92086 w 91646"/>
                  <a:gd name="connsiteY6" fmla="*/ 53088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080" y="53088"/>
                    </a:moveTo>
                    <a:cubicBezTo>
                      <a:pt x="90695" y="28219"/>
                      <a:pt x="74371" y="1309"/>
                      <a:pt x="48101" y="505"/>
                    </a:cubicBezTo>
                    <a:cubicBezTo>
                      <a:pt x="33501" y="-61"/>
                      <a:pt x="19884" y="8643"/>
                      <a:pt x="11937" y="20626"/>
                    </a:cubicBezTo>
                    <a:cubicBezTo>
                      <a:pt x="-1669" y="40455"/>
                      <a:pt x="-3636" y="69867"/>
                      <a:pt x="9610" y="90648"/>
                    </a:cubicBezTo>
                    <a:cubicBezTo>
                      <a:pt x="18610" y="105222"/>
                      <a:pt x="35907" y="114740"/>
                      <a:pt x="52971" y="111631"/>
                    </a:cubicBezTo>
                    <a:cubicBezTo>
                      <a:pt x="79035" y="107279"/>
                      <a:pt x="94232" y="78830"/>
                      <a:pt x="92086" y="53210"/>
                    </a:cubicBezTo>
                    <a:lnTo>
                      <a:pt x="92086" y="53088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30" name="Grafik 20">
              <a:extLst>
                <a:ext uri="{FF2B5EF4-FFF2-40B4-BE49-F238E27FC236}">
                  <a16:creationId xmlns:a16="http://schemas.microsoft.com/office/drawing/2014/main" id="{CAFC0F40-D6BD-80C7-8CB7-F1C54FD5E64A}"/>
                </a:ext>
              </a:extLst>
            </p:cNvPr>
            <p:cNvGrpSpPr/>
            <p:nvPr/>
          </p:nvGrpSpPr>
          <p:grpSpPr>
            <a:xfrm>
              <a:off x="1943125" y="4071331"/>
              <a:ext cx="91646" cy="155495"/>
              <a:chOff x="8685058" y="3627991"/>
              <a:chExt cx="91646" cy="155495"/>
            </a:xfrm>
          </p:grpSpPr>
          <p:grpSp>
            <p:nvGrpSpPr>
              <p:cNvPr id="1539" name="Grafik 20">
                <a:extLst>
                  <a:ext uri="{FF2B5EF4-FFF2-40B4-BE49-F238E27FC236}">
                    <a16:creationId xmlns:a16="http://schemas.microsoft.com/office/drawing/2014/main" id="{C69499E8-7FFA-26BD-93F4-F6FF4CBCA238}"/>
                  </a:ext>
                </a:extLst>
              </p:cNvPr>
              <p:cNvGrpSpPr/>
              <p:nvPr/>
            </p:nvGrpSpPr>
            <p:grpSpPr>
              <a:xfrm>
                <a:off x="8724560" y="3714343"/>
                <a:ext cx="12819" cy="69143"/>
                <a:chOff x="8724560" y="3714343"/>
                <a:chExt cx="12819" cy="69143"/>
              </a:xfrm>
              <a:solidFill>
                <a:srgbClr val="AAAA96"/>
              </a:solidFill>
            </p:grpSpPr>
            <p:sp>
              <p:nvSpPr>
                <p:cNvPr id="1541" name="Freihandform: Form 1540">
                  <a:extLst>
                    <a:ext uri="{FF2B5EF4-FFF2-40B4-BE49-F238E27FC236}">
                      <a16:creationId xmlns:a16="http://schemas.microsoft.com/office/drawing/2014/main" id="{57253222-8350-8243-DB10-2F07DDFC0E6B}"/>
                    </a:ext>
                  </a:extLst>
                </p:cNvPr>
                <p:cNvSpPr/>
                <p:nvPr/>
              </p:nvSpPr>
              <p:spPr>
                <a:xfrm>
                  <a:off x="8724560" y="3717986"/>
                  <a:ext cx="12817" cy="65500"/>
                </a:xfrm>
                <a:custGeom>
                  <a:avLst/>
                  <a:gdLst>
                    <a:gd name="connsiteX0" fmla="*/ 13368 w 12817"/>
                    <a:gd name="connsiteY0" fmla="*/ 440 h 65500"/>
                    <a:gd name="connsiteX1" fmla="*/ 13193 w 12817"/>
                    <a:gd name="connsiteY1" fmla="*/ 62261 h 65500"/>
                    <a:gd name="connsiteX2" fmla="*/ 11353 w 12817"/>
                    <a:gd name="connsiteY2" fmla="*/ 64831 h 65500"/>
                    <a:gd name="connsiteX3" fmla="*/ 2416 w 12817"/>
                    <a:gd name="connsiteY3" fmla="*/ 64831 h 65500"/>
                    <a:gd name="connsiteX4" fmla="*/ 550 w 12817"/>
                    <a:gd name="connsiteY4" fmla="*/ 62224 h 65500"/>
                    <a:gd name="connsiteX5" fmla="*/ 724 w 12817"/>
                    <a:gd name="connsiteY5" fmla="*/ 403 h 65500"/>
                    <a:gd name="connsiteX6" fmla="*/ 2591 w 12817"/>
                    <a:gd name="connsiteY6" fmla="*/ 3010 h 65500"/>
                    <a:gd name="connsiteX7" fmla="*/ 11528 w 12817"/>
                    <a:gd name="connsiteY7" fmla="*/ 3010 h 65500"/>
                    <a:gd name="connsiteX8" fmla="*/ 13368 w 12817"/>
                    <a:gd name="connsiteY8" fmla="*/ 440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368" y="440"/>
                      </a:moveTo>
                      <a:lnTo>
                        <a:pt x="13193" y="62261"/>
                      </a:lnTo>
                      <a:cubicBezTo>
                        <a:pt x="13193" y="63192"/>
                        <a:pt x="12580" y="64122"/>
                        <a:pt x="11353" y="64831"/>
                      </a:cubicBezTo>
                      <a:cubicBezTo>
                        <a:pt x="8894" y="66259"/>
                        <a:pt x="4891" y="66264"/>
                        <a:pt x="2416" y="64831"/>
                      </a:cubicBezTo>
                      <a:cubicBezTo>
                        <a:pt x="1174" y="64112"/>
                        <a:pt x="550" y="63165"/>
                        <a:pt x="550" y="62224"/>
                      </a:cubicBezTo>
                      <a:lnTo>
                        <a:pt x="724" y="403"/>
                      </a:lnTo>
                      <a:cubicBezTo>
                        <a:pt x="724" y="1344"/>
                        <a:pt x="1343" y="2291"/>
                        <a:pt x="2591" y="3010"/>
                      </a:cubicBezTo>
                      <a:cubicBezTo>
                        <a:pt x="5071" y="4443"/>
                        <a:pt x="9069" y="4438"/>
                        <a:pt x="11528" y="3010"/>
                      </a:cubicBezTo>
                      <a:cubicBezTo>
                        <a:pt x="12749" y="2301"/>
                        <a:pt x="13362" y="1371"/>
                        <a:pt x="13368" y="440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42" name="Freihandform: Form 1541">
                  <a:extLst>
                    <a:ext uri="{FF2B5EF4-FFF2-40B4-BE49-F238E27FC236}">
                      <a16:creationId xmlns:a16="http://schemas.microsoft.com/office/drawing/2014/main" id="{AF5CBAC7-B4C3-F099-8AB1-9FB8E31DC7B5}"/>
                    </a:ext>
                  </a:extLst>
                </p:cNvPr>
                <p:cNvSpPr/>
                <p:nvPr/>
              </p:nvSpPr>
              <p:spPr>
                <a:xfrm>
                  <a:off x="8724743" y="3714343"/>
                  <a:ext cx="12636" cy="7322"/>
                </a:xfrm>
                <a:custGeom>
                  <a:avLst/>
                  <a:gdLst>
                    <a:gd name="connsiteX0" fmla="*/ 11319 w 12636"/>
                    <a:gd name="connsiteY0" fmla="*/ 1523 h 7322"/>
                    <a:gd name="connsiteX1" fmla="*/ 11350 w 12636"/>
                    <a:gd name="connsiteY1" fmla="*/ 6700 h 7322"/>
                    <a:gd name="connsiteX2" fmla="*/ 2414 w 12636"/>
                    <a:gd name="connsiteY2" fmla="*/ 6700 h 7322"/>
                    <a:gd name="connsiteX3" fmla="*/ 2382 w 12636"/>
                    <a:gd name="connsiteY3" fmla="*/ 1523 h 7322"/>
                    <a:gd name="connsiteX4" fmla="*/ 11319 w 12636"/>
                    <a:gd name="connsiteY4" fmla="*/ 1523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319" y="1523"/>
                      </a:moveTo>
                      <a:cubicBezTo>
                        <a:pt x="13799" y="2956"/>
                        <a:pt x="13809" y="5267"/>
                        <a:pt x="11350" y="6700"/>
                      </a:cubicBezTo>
                      <a:cubicBezTo>
                        <a:pt x="8891" y="8128"/>
                        <a:pt x="4888" y="8133"/>
                        <a:pt x="2414" y="6700"/>
                      </a:cubicBezTo>
                      <a:cubicBezTo>
                        <a:pt x="-61" y="5273"/>
                        <a:pt x="-72" y="2951"/>
                        <a:pt x="2382" y="1523"/>
                      </a:cubicBezTo>
                      <a:cubicBezTo>
                        <a:pt x="4846" y="90"/>
                        <a:pt x="8844" y="96"/>
                        <a:pt x="11319" y="1523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540" name="Freihandform: Form 1539">
                <a:extLst>
                  <a:ext uri="{FF2B5EF4-FFF2-40B4-BE49-F238E27FC236}">
                    <a16:creationId xmlns:a16="http://schemas.microsoft.com/office/drawing/2014/main" id="{8E3075E2-B05B-D8E1-D594-62893A8D6091}"/>
                  </a:ext>
                </a:extLst>
              </p:cNvPr>
              <p:cNvSpPr/>
              <p:nvPr/>
            </p:nvSpPr>
            <p:spPr>
              <a:xfrm>
                <a:off x="8685058" y="3627991"/>
                <a:ext cx="91646" cy="111740"/>
              </a:xfrm>
              <a:custGeom>
                <a:avLst/>
                <a:gdLst>
                  <a:gd name="connsiteX0" fmla="*/ 91991 w 91646"/>
                  <a:gd name="connsiteY0" fmla="*/ 53109 h 111740"/>
                  <a:gd name="connsiteX1" fmla="*/ 48011 w 91646"/>
                  <a:gd name="connsiteY1" fmla="*/ 526 h 111740"/>
                  <a:gd name="connsiteX2" fmla="*/ 11847 w 91646"/>
                  <a:gd name="connsiteY2" fmla="*/ 20647 h 111740"/>
                  <a:gd name="connsiteX3" fmla="*/ 9520 w 91646"/>
                  <a:gd name="connsiteY3" fmla="*/ 90670 h 111740"/>
                  <a:gd name="connsiteX4" fmla="*/ 52881 w 91646"/>
                  <a:gd name="connsiteY4" fmla="*/ 111652 h 111740"/>
                  <a:gd name="connsiteX5" fmla="*/ 91996 w 91646"/>
                  <a:gd name="connsiteY5" fmla="*/ 53231 h 111740"/>
                  <a:gd name="connsiteX6" fmla="*/ 91996 w 91646"/>
                  <a:gd name="connsiteY6" fmla="*/ 53109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1991" y="53109"/>
                    </a:moveTo>
                    <a:cubicBezTo>
                      <a:pt x="90605" y="28240"/>
                      <a:pt x="74281" y="1330"/>
                      <a:pt x="48011" y="526"/>
                    </a:cubicBezTo>
                    <a:cubicBezTo>
                      <a:pt x="33411" y="-39"/>
                      <a:pt x="19795" y="8665"/>
                      <a:pt x="11847" y="20647"/>
                    </a:cubicBezTo>
                    <a:cubicBezTo>
                      <a:pt x="-1759" y="40477"/>
                      <a:pt x="-3726" y="69888"/>
                      <a:pt x="9520" y="90670"/>
                    </a:cubicBezTo>
                    <a:cubicBezTo>
                      <a:pt x="18520" y="105243"/>
                      <a:pt x="35817" y="114761"/>
                      <a:pt x="52881" y="111652"/>
                    </a:cubicBezTo>
                    <a:cubicBezTo>
                      <a:pt x="78945" y="107300"/>
                      <a:pt x="94143" y="78851"/>
                      <a:pt x="91996" y="53231"/>
                    </a:cubicBezTo>
                    <a:lnTo>
                      <a:pt x="91996" y="53109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31" name="Grafik 20">
              <a:extLst>
                <a:ext uri="{FF2B5EF4-FFF2-40B4-BE49-F238E27FC236}">
                  <a16:creationId xmlns:a16="http://schemas.microsoft.com/office/drawing/2014/main" id="{28C16608-508F-C646-1F3D-F591090030D0}"/>
                </a:ext>
              </a:extLst>
            </p:cNvPr>
            <p:cNvGrpSpPr/>
            <p:nvPr/>
          </p:nvGrpSpPr>
          <p:grpSpPr>
            <a:xfrm>
              <a:off x="2228810" y="3912027"/>
              <a:ext cx="91646" cy="155495"/>
              <a:chOff x="8970743" y="3468687"/>
              <a:chExt cx="91646" cy="155495"/>
            </a:xfrm>
          </p:grpSpPr>
          <p:grpSp>
            <p:nvGrpSpPr>
              <p:cNvPr id="1535" name="Grafik 20">
                <a:extLst>
                  <a:ext uri="{FF2B5EF4-FFF2-40B4-BE49-F238E27FC236}">
                    <a16:creationId xmlns:a16="http://schemas.microsoft.com/office/drawing/2014/main" id="{C5746129-7413-D2B5-5FF3-B4C9E582E88D}"/>
                  </a:ext>
                </a:extLst>
              </p:cNvPr>
              <p:cNvGrpSpPr/>
              <p:nvPr/>
            </p:nvGrpSpPr>
            <p:grpSpPr>
              <a:xfrm>
                <a:off x="9010246" y="3555039"/>
                <a:ext cx="12818" cy="69143"/>
                <a:chOff x="9010246" y="3555039"/>
                <a:chExt cx="12818" cy="69143"/>
              </a:xfrm>
              <a:solidFill>
                <a:srgbClr val="AAAA96"/>
              </a:solidFill>
            </p:grpSpPr>
            <p:sp>
              <p:nvSpPr>
                <p:cNvPr id="1537" name="Freihandform: Form 1536">
                  <a:extLst>
                    <a:ext uri="{FF2B5EF4-FFF2-40B4-BE49-F238E27FC236}">
                      <a16:creationId xmlns:a16="http://schemas.microsoft.com/office/drawing/2014/main" id="{F34D7FBC-292E-9609-12CA-AEA97702FFA8}"/>
                    </a:ext>
                  </a:extLst>
                </p:cNvPr>
                <p:cNvSpPr/>
                <p:nvPr/>
              </p:nvSpPr>
              <p:spPr>
                <a:xfrm>
                  <a:off x="9010246" y="3558682"/>
                  <a:ext cx="12817" cy="65500"/>
                </a:xfrm>
                <a:custGeom>
                  <a:avLst/>
                  <a:gdLst>
                    <a:gd name="connsiteX0" fmla="*/ 13492 w 12817"/>
                    <a:gd name="connsiteY0" fmla="*/ 371 h 65500"/>
                    <a:gd name="connsiteX1" fmla="*/ 13318 w 12817"/>
                    <a:gd name="connsiteY1" fmla="*/ 62192 h 65500"/>
                    <a:gd name="connsiteX2" fmla="*/ 11477 w 12817"/>
                    <a:gd name="connsiteY2" fmla="*/ 64762 h 65500"/>
                    <a:gd name="connsiteX3" fmla="*/ 2541 w 12817"/>
                    <a:gd name="connsiteY3" fmla="*/ 64762 h 65500"/>
                    <a:gd name="connsiteX4" fmla="*/ 674 w 12817"/>
                    <a:gd name="connsiteY4" fmla="*/ 62155 h 65500"/>
                    <a:gd name="connsiteX5" fmla="*/ 849 w 12817"/>
                    <a:gd name="connsiteY5" fmla="*/ 334 h 65500"/>
                    <a:gd name="connsiteX6" fmla="*/ 2715 w 12817"/>
                    <a:gd name="connsiteY6" fmla="*/ 2941 h 65500"/>
                    <a:gd name="connsiteX7" fmla="*/ 11652 w 12817"/>
                    <a:gd name="connsiteY7" fmla="*/ 2941 h 65500"/>
                    <a:gd name="connsiteX8" fmla="*/ 13492 w 12817"/>
                    <a:gd name="connsiteY8" fmla="*/ 371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92" y="371"/>
                      </a:moveTo>
                      <a:lnTo>
                        <a:pt x="13318" y="62192"/>
                      </a:lnTo>
                      <a:cubicBezTo>
                        <a:pt x="13318" y="63122"/>
                        <a:pt x="12704" y="64053"/>
                        <a:pt x="11477" y="64762"/>
                      </a:cubicBezTo>
                      <a:cubicBezTo>
                        <a:pt x="9018" y="66189"/>
                        <a:pt x="5015" y="66195"/>
                        <a:pt x="2541" y="64762"/>
                      </a:cubicBezTo>
                      <a:cubicBezTo>
                        <a:pt x="1298" y="64043"/>
                        <a:pt x="674" y="63096"/>
                        <a:pt x="674" y="62155"/>
                      </a:cubicBezTo>
                      <a:lnTo>
                        <a:pt x="849" y="334"/>
                      </a:lnTo>
                      <a:cubicBezTo>
                        <a:pt x="849" y="1275"/>
                        <a:pt x="1467" y="2221"/>
                        <a:pt x="2715" y="2941"/>
                      </a:cubicBezTo>
                      <a:cubicBezTo>
                        <a:pt x="5195" y="4374"/>
                        <a:pt x="9193" y="4368"/>
                        <a:pt x="11652" y="2941"/>
                      </a:cubicBezTo>
                      <a:cubicBezTo>
                        <a:pt x="12873" y="2232"/>
                        <a:pt x="13487" y="1301"/>
                        <a:pt x="13492" y="371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38" name="Freihandform: Form 1537">
                  <a:extLst>
                    <a:ext uri="{FF2B5EF4-FFF2-40B4-BE49-F238E27FC236}">
                      <a16:creationId xmlns:a16="http://schemas.microsoft.com/office/drawing/2014/main" id="{D396B5E7-205D-7D6E-7323-018303E8288F}"/>
                    </a:ext>
                  </a:extLst>
                </p:cNvPr>
                <p:cNvSpPr/>
                <p:nvPr/>
              </p:nvSpPr>
              <p:spPr>
                <a:xfrm>
                  <a:off x="9010428" y="3555039"/>
                  <a:ext cx="12636" cy="7322"/>
                </a:xfrm>
                <a:custGeom>
                  <a:avLst/>
                  <a:gdLst>
                    <a:gd name="connsiteX0" fmla="*/ 11443 w 12636"/>
                    <a:gd name="connsiteY0" fmla="*/ 1454 h 7322"/>
                    <a:gd name="connsiteX1" fmla="*/ 11475 w 12636"/>
                    <a:gd name="connsiteY1" fmla="*/ 6631 h 7322"/>
                    <a:gd name="connsiteX2" fmla="*/ 2538 w 12636"/>
                    <a:gd name="connsiteY2" fmla="*/ 6631 h 7322"/>
                    <a:gd name="connsiteX3" fmla="*/ 2506 w 12636"/>
                    <a:gd name="connsiteY3" fmla="*/ 1454 h 7322"/>
                    <a:gd name="connsiteX4" fmla="*/ 11443 w 12636"/>
                    <a:gd name="connsiteY4" fmla="*/ 1454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443" y="1454"/>
                      </a:moveTo>
                      <a:cubicBezTo>
                        <a:pt x="13923" y="2887"/>
                        <a:pt x="13933" y="5198"/>
                        <a:pt x="11475" y="6631"/>
                      </a:cubicBezTo>
                      <a:cubicBezTo>
                        <a:pt x="9016" y="8059"/>
                        <a:pt x="5013" y="8064"/>
                        <a:pt x="2538" y="6631"/>
                      </a:cubicBezTo>
                      <a:cubicBezTo>
                        <a:pt x="63" y="5203"/>
                        <a:pt x="53" y="2882"/>
                        <a:pt x="2506" y="1454"/>
                      </a:cubicBezTo>
                      <a:cubicBezTo>
                        <a:pt x="4970" y="21"/>
                        <a:pt x="8968" y="26"/>
                        <a:pt x="11443" y="1454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536" name="Freihandform: Form 1535">
                <a:extLst>
                  <a:ext uri="{FF2B5EF4-FFF2-40B4-BE49-F238E27FC236}">
                    <a16:creationId xmlns:a16="http://schemas.microsoft.com/office/drawing/2014/main" id="{9E34BDEF-1FAC-CE92-41AF-30D9508DE9D7}"/>
                  </a:ext>
                </a:extLst>
              </p:cNvPr>
              <p:cNvSpPr/>
              <p:nvPr/>
            </p:nvSpPr>
            <p:spPr>
              <a:xfrm>
                <a:off x="8970743" y="3468687"/>
                <a:ext cx="91646" cy="111740"/>
              </a:xfrm>
              <a:custGeom>
                <a:avLst/>
                <a:gdLst>
                  <a:gd name="connsiteX0" fmla="*/ 92115 w 91646"/>
                  <a:gd name="connsiteY0" fmla="*/ 53040 h 111740"/>
                  <a:gd name="connsiteX1" fmla="*/ 48135 w 91646"/>
                  <a:gd name="connsiteY1" fmla="*/ 457 h 111740"/>
                  <a:gd name="connsiteX2" fmla="*/ 11971 w 91646"/>
                  <a:gd name="connsiteY2" fmla="*/ 20578 h 111740"/>
                  <a:gd name="connsiteX3" fmla="*/ 9645 w 91646"/>
                  <a:gd name="connsiteY3" fmla="*/ 90600 h 111740"/>
                  <a:gd name="connsiteX4" fmla="*/ 53005 w 91646"/>
                  <a:gd name="connsiteY4" fmla="*/ 111583 h 111740"/>
                  <a:gd name="connsiteX5" fmla="*/ 92120 w 91646"/>
                  <a:gd name="connsiteY5" fmla="*/ 53162 h 111740"/>
                  <a:gd name="connsiteX6" fmla="*/ 92120 w 91646"/>
                  <a:gd name="connsiteY6" fmla="*/ 53040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115" y="53040"/>
                    </a:moveTo>
                    <a:cubicBezTo>
                      <a:pt x="90729" y="28171"/>
                      <a:pt x="74406" y="1261"/>
                      <a:pt x="48135" y="457"/>
                    </a:cubicBezTo>
                    <a:cubicBezTo>
                      <a:pt x="33535" y="-109"/>
                      <a:pt x="19919" y="8595"/>
                      <a:pt x="11971" y="20578"/>
                    </a:cubicBezTo>
                    <a:cubicBezTo>
                      <a:pt x="-1635" y="40407"/>
                      <a:pt x="-3602" y="69819"/>
                      <a:pt x="9645" y="90600"/>
                    </a:cubicBezTo>
                    <a:cubicBezTo>
                      <a:pt x="18645" y="105174"/>
                      <a:pt x="35941" y="114692"/>
                      <a:pt x="53005" y="111583"/>
                    </a:cubicBezTo>
                    <a:cubicBezTo>
                      <a:pt x="79070" y="107231"/>
                      <a:pt x="94267" y="78782"/>
                      <a:pt x="92120" y="53162"/>
                    </a:cubicBezTo>
                    <a:lnTo>
                      <a:pt x="92120" y="53040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32" name="Gruppieren 1431">
              <a:extLst>
                <a:ext uri="{FF2B5EF4-FFF2-40B4-BE49-F238E27FC236}">
                  <a16:creationId xmlns:a16="http://schemas.microsoft.com/office/drawing/2014/main" id="{D7CBABAF-A79E-34CB-CE68-764F636EE8EF}"/>
                </a:ext>
              </a:extLst>
            </p:cNvPr>
            <p:cNvGrpSpPr/>
            <p:nvPr/>
          </p:nvGrpSpPr>
          <p:grpSpPr>
            <a:xfrm>
              <a:off x="918282" y="3096822"/>
              <a:ext cx="450149" cy="866096"/>
              <a:chOff x="7660215" y="2653482"/>
              <a:chExt cx="450149" cy="866096"/>
            </a:xfrm>
          </p:grpSpPr>
          <p:sp>
            <p:nvSpPr>
              <p:cNvPr id="1516" name="Freihandform: Form 1515">
                <a:extLst>
                  <a:ext uri="{FF2B5EF4-FFF2-40B4-BE49-F238E27FC236}">
                    <a16:creationId xmlns:a16="http://schemas.microsoft.com/office/drawing/2014/main" id="{0E9E27C5-5357-A7C9-14B6-62B4032C5EB4}"/>
                  </a:ext>
                </a:extLst>
              </p:cNvPr>
              <p:cNvSpPr/>
              <p:nvPr/>
            </p:nvSpPr>
            <p:spPr>
              <a:xfrm>
                <a:off x="7884941" y="2781850"/>
                <a:ext cx="225423" cy="737728"/>
              </a:xfrm>
              <a:custGeom>
                <a:avLst/>
                <a:gdLst>
                  <a:gd name="connsiteX0" fmla="*/ 225567 w 225423"/>
                  <a:gd name="connsiteY0" fmla="*/ 62 h 737728"/>
                  <a:gd name="connsiteX1" fmla="*/ 225567 w 225423"/>
                  <a:gd name="connsiteY1" fmla="*/ 607850 h 737728"/>
                  <a:gd name="connsiteX2" fmla="*/ 143 w 225423"/>
                  <a:gd name="connsiteY2" fmla="*/ 737790 h 737728"/>
                  <a:gd name="connsiteX3" fmla="*/ 143 w 225423"/>
                  <a:gd name="connsiteY3" fmla="*/ 130002 h 737728"/>
                  <a:gd name="connsiteX4" fmla="*/ 225567 w 225423"/>
                  <a:gd name="connsiteY4" fmla="*/ 62 h 73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423" h="737728">
                    <a:moveTo>
                      <a:pt x="225567" y="62"/>
                    </a:moveTo>
                    <a:lnTo>
                      <a:pt x="225567" y="607850"/>
                    </a:lnTo>
                    <a:lnTo>
                      <a:pt x="143" y="737790"/>
                    </a:lnTo>
                    <a:lnTo>
                      <a:pt x="143" y="130002"/>
                    </a:lnTo>
                    <a:lnTo>
                      <a:pt x="225567" y="62"/>
                    </a:lnTo>
                    <a:close/>
                  </a:path>
                </a:pathLst>
              </a:custGeom>
              <a:solidFill>
                <a:srgbClr val="E5E5E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7" name="Freihandform: Form 1516">
                <a:extLst>
                  <a:ext uri="{FF2B5EF4-FFF2-40B4-BE49-F238E27FC236}">
                    <a16:creationId xmlns:a16="http://schemas.microsoft.com/office/drawing/2014/main" id="{AA147F0C-6C13-EAAC-023D-6048C191C798}"/>
                  </a:ext>
                </a:extLst>
              </p:cNvPr>
              <p:cNvSpPr/>
              <p:nvPr/>
            </p:nvSpPr>
            <p:spPr>
              <a:xfrm>
                <a:off x="7660215" y="2781834"/>
                <a:ext cx="224725" cy="737743"/>
              </a:xfrm>
              <a:custGeom>
                <a:avLst/>
                <a:gdLst>
                  <a:gd name="connsiteX0" fmla="*/ 224913 w 224725"/>
                  <a:gd name="connsiteY0" fmla="*/ 737806 h 737743"/>
                  <a:gd name="connsiteX1" fmla="*/ 187 w 224725"/>
                  <a:gd name="connsiteY1" fmla="*/ 607866 h 737743"/>
                  <a:gd name="connsiteX2" fmla="*/ 187 w 224725"/>
                  <a:gd name="connsiteY2" fmla="*/ 62 h 737743"/>
                  <a:gd name="connsiteX3" fmla="*/ 224913 w 224725"/>
                  <a:gd name="connsiteY3" fmla="*/ 130018 h 737743"/>
                  <a:gd name="connsiteX4" fmla="*/ 224913 w 224725"/>
                  <a:gd name="connsiteY4" fmla="*/ 737806 h 737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725" h="737743">
                    <a:moveTo>
                      <a:pt x="224913" y="737806"/>
                    </a:moveTo>
                    <a:lnTo>
                      <a:pt x="187" y="607866"/>
                    </a:lnTo>
                    <a:lnTo>
                      <a:pt x="187" y="62"/>
                    </a:lnTo>
                    <a:lnTo>
                      <a:pt x="224913" y="130018"/>
                    </a:lnTo>
                    <a:lnTo>
                      <a:pt x="224913" y="737806"/>
                    </a:lnTo>
                    <a:close/>
                  </a:path>
                </a:pathLst>
              </a:custGeom>
              <a:solidFill>
                <a:srgbClr val="9999A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518" name="Grafik 20">
                <a:extLst>
                  <a:ext uri="{FF2B5EF4-FFF2-40B4-BE49-F238E27FC236}">
                    <a16:creationId xmlns:a16="http://schemas.microsoft.com/office/drawing/2014/main" id="{919FB21B-63C6-A895-78C7-3EB3DB4EDC98}"/>
                  </a:ext>
                </a:extLst>
              </p:cNvPr>
              <p:cNvGrpSpPr/>
              <p:nvPr/>
            </p:nvGrpSpPr>
            <p:grpSpPr>
              <a:xfrm>
                <a:off x="7884941" y="2836834"/>
                <a:ext cx="225423" cy="634312"/>
                <a:chOff x="7884941" y="2836834"/>
                <a:chExt cx="225423" cy="634312"/>
              </a:xfrm>
              <a:solidFill>
                <a:srgbClr val="CCCCD4"/>
              </a:solidFill>
            </p:grpSpPr>
            <p:sp>
              <p:nvSpPr>
                <p:cNvPr id="1528" name="Freihandform: Form 1527">
                  <a:extLst>
                    <a:ext uri="{FF2B5EF4-FFF2-40B4-BE49-F238E27FC236}">
                      <a16:creationId xmlns:a16="http://schemas.microsoft.com/office/drawing/2014/main" id="{4192B6BE-7DCB-4ECD-E587-401AD6FDAFA1}"/>
                    </a:ext>
                  </a:extLst>
                </p:cNvPr>
                <p:cNvSpPr/>
                <p:nvPr/>
              </p:nvSpPr>
              <p:spPr>
                <a:xfrm>
                  <a:off x="7884941" y="3108406"/>
                  <a:ext cx="225423" cy="181671"/>
                </a:xfrm>
                <a:custGeom>
                  <a:avLst/>
                  <a:gdLst>
                    <a:gd name="connsiteX0" fmla="*/ 143 w 225423"/>
                    <a:gd name="connsiteY0" fmla="*/ 181724 h 181671"/>
                    <a:gd name="connsiteX1" fmla="*/ 143 w 225423"/>
                    <a:gd name="connsiteY1" fmla="*/ 130008 h 181671"/>
                    <a:gd name="connsiteX2" fmla="*/ 225567 w 225423"/>
                    <a:gd name="connsiteY2" fmla="*/ 52 h 181671"/>
                    <a:gd name="connsiteX3" fmla="*/ 225567 w 225423"/>
                    <a:gd name="connsiteY3" fmla="*/ 51768 h 181671"/>
                    <a:gd name="connsiteX4" fmla="*/ 143 w 225423"/>
                    <a:gd name="connsiteY4" fmla="*/ 181724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143" y="181724"/>
                      </a:moveTo>
                      <a:lnTo>
                        <a:pt x="143" y="130008"/>
                      </a:lnTo>
                      <a:lnTo>
                        <a:pt x="225567" y="52"/>
                      </a:lnTo>
                      <a:lnTo>
                        <a:pt x="225567" y="51768"/>
                      </a:lnTo>
                      <a:lnTo>
                        <a:pt x="143" y="181724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1529" name="Grafik 20">
                  <a:extLst>
                    <a:ext uri="{FF2B5EF4-FFF2-40B4-BE49-F238E27FC236}">
                      <a16:creationId xmlns:a16="http://schemas.microsoft.com/office/drawing/2014/main" id="{383AE3DA-301E-47E4-BDC4-7F5975BAB71A}"/>
                    </a:ext>
                  </a:extLst>
                </p:cNvPr>
                <p:cNvGrpSpPr/>
                <p:nvPr/>
              </p:nvGrpSpPr>
              <p:grpSpPr>
                <a:xfrm>
                  <a:off x="7884941" y="3198956"/>
                  <a:ext cx="225423" cy="272190"/>
                  <a:chOff x="7884941" y="3198956"/>
                  <a:chExt cx="225423" cy="272190"/>
                </a:xfrm>
                <a:solidFill>
                  <a:srgbClr val="CCCCD4"/>
                </a:solidFill>
              </p:grpSpPr>
              <p:sp>
                <p:nvSpPr>
                  <p:cNvPr id="1533" name="Freihandform: Form 1532">
                    <a:extLst>
                      <a:ext uri="{FF2B5EF4-FFF2-40B4-BE49-F238E27FC236}">
                        <a16:creationId xmlns:a16="http://schemas.microsoft.com/office/drawing/2014/main" id="{B79D9908-4353-6A76-EB21-7BF44D7BDC41}"/>
                      </a:ext>
                    </a:extLst>
                  </p:cNvPr>
                  <p:cNvSpPr/>
                  <p:nvPr/>
                </p:nvSpPr>
                <p:spPr>
                  <a:xfrm>
                    <a:off x="7884941" y="3289475"/>
                    <a:ext cx="225423" cy="181671"/>
                  </a:xfrm>
                  <a:custGeom>
                    <a:avLst/>
                    <a:gdLst>
                      <a:gd name="connsiteX0" fmla="*/ 143 w 225423"/>
                      <a:gd name="connsiteY0" fmla="*/ 181689 h 181671"/>
                      <a:gd name="connsiteX1" fmla="*/ 143 w 225423"/>
                      <a:gd name="connsiteY1" fmla="*/ 129973 h 181671"/>
                      <a:gd name="connsiteX2" fmla="*/ 225567 w 225423"/>
                      <a:gd name="connsiteY2" fmla="*/ 17 h 181671"/>
                      <a:gd name="connsiteX3" fmla="*/ 225567 w 225423"/>
                      <a:gd name="connsiteY3" fmla="*/ 51749 h 181671"/>
                      <a:gd name="connsiteX4" fmla="*/ 143 w 225423"/>
                      <a:gd name="connsiteY4" fmla="*/ 181689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423" h="181671">
                        <a:moveTo>
                          <a:pt x="143" y="181689"/>
                        </a:moveTo>
                        <a:lnTo>
                          <a:pt x="143" y="129973"/>
                        </a:lnTo>
                        <a:lnTo>
                          <a:pt x="225567" y="17"/>
                        </a:lnTo>
                        <a:lnTo>
                          <a:pt x="225567" y="51749"/>
                        </a:lnTo>
                        <a:lnTo>
                          <a:pt x="143" y="181689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34" name="Freihandform: Form 1533">
                    <a:extLst>
                      <a:ext uri="{FF2B5EF4-FFF2-40B4-BE49-F238E27FC236}">
                        <a16:creationId xmlns:a16="http://schemas.microsoft.com/office/drawing/2014/main" id="{A04E2FC4-8A1D-50FD-BF8C-3E430D76EE10}"/>
                      </a:ext>
                    </a:extLst>
                  </p:cNvPr>
                  <p:cNvSpPr/>
                  <p:nvPr/>
                </p:nvSpPr>
                <p:spPr>
                  <a:xfrm>
                    <a:off x="7884941" y="3198956"/>
                    <a:ext cx="225423" cy="181671"/>
                  </a:xfrm>
                  <a:custGeom>
                    <a:avLst/>
                    <a:gdLst>
                      <a:gd name="connsiteX0" fmla="*/ 143 w 225423"/>
                      <a:gd name="connsiteY0" fmla="*/ 181706 h 181671"/>
                      <a:gd name="connsiteX1" fmla="*/ 143 w 225423"/>
                      <a:gd name="connsiteY1" fmla="*/ 129975 h 181671"/>
                      <a:gd name="connsiteX2" fmla="*/ 225567 w 225423"/>
                      <a:gd name="connsiteY2" fmla="*/ 35 h 181671"/>
                      <a:gd name="connsiteX3" fmla="*/ 225567 w 225423"/>
                      <a:gd name="connsiteY3" fmla="*/ 51750 h 181671"/>
                      <a:gd name="connsiteX4" fmla="*/ 143 w 225423"/>
                      <a:gd name="connsiteY4" fmla="*/ 181706 h 181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423" h="181671">
                        <a:moveTo>
                          <a:pt x="143" y="181706"/>
                        </a:moveTo>
                        <a:lnTo>
                          <a:pt x="143" y="129975"/>
                        </a:lnTo>
                        <a:lnTo>
                          <a:pt x="225567" y="35"/>
                        </a:lnTo>
                        <a:lnTo>
                          <a:pt x="225567" y="51750"/>
                        </a:lnTo>
                        <a:lnTo>
                          <a:pt x="143" y="181706"/>
                        </a:lnTo>
                        <a:close/>
                      </a:path>
                    </a:pathLst>
                  </a:custGeom>
                  <a:solidFill>
                    <a:srgbClr val="CCCCD4"/>
                  </a:solidFill>
                  <a:ln w="1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1530" name="Freihandform: Form 1529">
                  <a:extLst>
                    <a:ext uri="{FF2B5EF4-FFF2-40B4-BE49-F238E27FC236}">
                      <a16:creationId xmlns:a16="http://schemas.microsoft.com/office/drawing/2014/main" id="{1C761A79-5CA9-CE10-6F1B-0538B5808453}"/>
                    </a:ext>
                  </a:extLst>
                </p:cNvPr>
                <p:cNvSpPr/>
                <p:nvPr/>
              </p:nvSpPr>
              <p:spPr>
                <a:xfrm>
                  <a:off x="7884941" y="3017887"/>
                  <a:ext cx="225423" cy="181671"/>
                </a:xfrm>
                <a:custGeom>
                  <a:avLst/>
                  <a:gdLst>
                    <a:gd name="connsiteX0" fmla="*/ 143 w 225423"/>
                    <a:gd name="connsiteY0" fmla="*/ 181742 h 181671"/>
                    <a:gd name="connsiteX1" fmla="*/ 143 w 225423"/>
                    <a:gd name="connsiteY1" fmla="*/ 130010 h 181671"/>
                    <a:gd name="connsiteX2" fmla="*/ 225567 w 225423"/>
                    <a:gd name="connsiteY2" fmla="*/ 70 h 181671"/>
                    <a:gd name="connsiteX3" fmla="*/ 225567 w 225423"/>
                    <a:gd name="connsiteY3" fmla="*/ 51786 h 181671"/>
                    <a:gd name="connsiteX4" fmla="*/ 143 w 225423"/>
                    <a:gd name="connsiteY4" fmla="*/ 181742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143" y="181742"/>
                      </a:moveTo>
                      <a:lnTo>
                        <a:pt x="143" y="130010"/>
                      </a:lnTo>
                      <a:lnTo>
                        <a:pt x="225567" y="70"/>
                      </a:lnTo>
                      <a:lnTo>
                        <a:pt x="225567" y="51786"/>
                      </a:lnTo>
                      <a:lnTo>
                        <a:pt x="143" y="181742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31" name="Freihandform: Form 1530">
                  <a:extLst>
                    <a:ext uri="{FF2B5EF4-FFF2-40B4-BE49-F238E27FC236}">
                      <a16:creationId xmlns:a16="http://schemas.microsoft.com/office/drawing/2014/main" id="{64BEF34B-8681-98F1-EB48-010F69029549}"/>
                    </a:ext>
                  </a:extLst>
                </p:cNvPr>
                <p:cNvSpPr/>
                <p:nvPr/>
              </p:nvSpPr>
              <p:spPr>
                <a:xfrm>
                  <a:off x="7884941" y="2927369"/>
                  <a:ext cx="225423" cy="181671"/>
                </a:xfrm>
                <a:custGeom>
                  <a:avLst/>
                  <a:gdLst>
                    <a:gd name="connsiteX0" fmla="*/ 143 w 225423"/>
                    <a:gd name="connsiteY0" fmla="*/ 181759 h 181671"/>
                    <a:gd name="connsiteX1" fmla="*/ 143 w 225423"/>
                    <a:gd name="connsiteY1" fmla="*/ 130028 h 181671"/>
                    <a:gd name="connsiteX2" fmla="*/ 225567 w 225423"/>
                    <a:gd name="connsiteY2" fmla="*/ 88 h 181671"/>
                    <a:gd name="connsiteX3" fmla="*/ 225567 w 225423"/>
                    <a:gd name="connsiteY3" fmla="*/ 51819 h 181671"/>
                    <a:gd name="connsiteX4" fmla="*/ 143 w 225423"/>
                    <a:gd name="connsiteY4" fmla="*/ 181759 h 181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71">
                      <a:moveTo>
                        <a:pt x="143" y="181759"/>
                      </a:moveTo>
                      <a:lnTo>
                        <a:pt x="143" y="130028"/>
                      </a:lnTo>
                      <a:lnTo>
                        <a:pt x="225567" y="88"/>
                      </a:lnTo>
                      <a:lnTo>
                        <a:pt x="225567" y="51819"/>
                      </a:lnTo>
                      <a:lnTo>
                        <a:pt x="143" y="181759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32" name="Freihandform: Form 1531">
                  <a:extLst>
                    <a:ext uri="{FF2B5EF4-FFF2-40B4-BE49-F238E27FC236}">
                      <a16:creationId xmlns:a16="http://schemas.microsoft.com/office/drawing/2014/main" id="{85BDE05B-3720-7F09-4021-852BE5CC1477}"/>
                    </a:ext>
                  </a:extLst>
                </p:cNvPr>
                <p:cNvSpPr/>
                <p:nvPr/>
              </p:nvSpPr>
              <p:spPr>
                <a:xfrm>
                  <a:off x="7884941" y="2836834"/>
                  <a:ext cx="225423" cy="181687"/>
                </a:xfrm>
                <a:custGeom>
                  <a:avLst/>
                  <a:gdLst>
                    <a:gd name="connsiteX0" fmla="*/ 143 w 225423"/>
                    <a:gd name="connsiteY0" fmla="*/ 181793 h 181687"/>
                    <a:gd name="connsiteX1" fmla="*/ 143 w 225423"/>
                    <a:gd name="connsiteY1" fmla="*/ 130061 h 181687"/>
                    <a:gd name="connsiteX2" fmla="*/ 225567 w 225423"/>
                    <a:gd name="connsiteY2" fmla="*/ 105 h 181687"/>
                    <a:gd name="connsiteX3" fmla="*/ 225567 w 225423"/>
                    <a:gd name="connsiteY3" fmla="*/ 51837 h 181687"/>
                    <a:gd name="connsiteX4" fmla="*/ 143 w 225423"/>
                    <a:gd name="connsiteY4" fmla="*/ 181793 h 181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423" h="181687">
                      <a:moveTo>
                        <a:pt x="143" y="181793"/>
                      </a:moveTo>
                      <a:lnTo>
                        <a:pt x="143" y="130061"/>
                      </a:lnTo>
                      <a:lnTo>
                        <a:pt x="225567" y="105"/>
                      </a:lnTo>
                      <a:lnTo>
                        <a:pt x="225567" y="51837"/>
                      </a:lnTo>
                      <a:lnTo>
                        <a:pt x="143" y="181793"/>
                      </a:lnTo>
                      <a:close/>
                    </a:path>
                  </a:pathLst>
                </a:custGeom>
                <a:solidFill>
                  <a:srgbClr val="CCCCD4"/>
                </a:solidFill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519" name="Freihandform: Form 1518">
                <a:extLst>
                  <a:ext uri="{FF2B5EF4-FFF2-40B4-BE49-F238E27FC236}">
                    <a16:creationId xmlns:a16="http://schemas.microsoft.com/office/drawing/2014/main" id="{6E53E2CA-2782-16EA-6DF5-A9199D200853}"/>
                  </a:ext>
                </a:extLst>
              </p:cNvPr>
              <p:cNvSpPr/>
              <p:nvPr/>
            </p:nvSpPr>
            <p:spPr>
              <a:xfrm>
                <a:off x="7660215" y="2836834"/>
                <a:ext cx="224725" cy="634312"/>
              </a:xfrm>
              <a:custGeom>
                <a:avLst/>
                <a:gdLst>
                  <a:gd name="connsiteX0" fmla="*/ 224913 w 224725"/>
                  <a:gd name="connsiteY0" fmla="*/ 453304 h 634312"/>
                  <a:gd name="connsiteX1" fmla="*/ 187 w 224725"/>
                  <a:gd name="connsiteY1" fmla="*/ 323349 h 634312"/>
                  <a:gd name="connsiteX2" fmla="*/ 187 w 224725"/>
                  <a:gd name="connsiteY2" fmla="*/ 271633 h 634312"/>
                  <a:gd name="connsiteX3" fmla="*/ 224913 w 224725"/>
                  <a:gd name="connsiteY3" fmla="*/ 401589 h 634312"/>
                  <a:gd name="connsiteX4" fmla="*/ 224913 w 224725"/>
                  <a:gd name="connsiteY4" fmla="*/ 453304 h 634312"/>
                  <a:gd name="connsiteX5" fmla="*/ 224913 w 224725"/>
                  <a:gd name="connsiteY5" fmla="*/ 582657 h 634312"/>
                  <a:gd name="connsiteX6" fmla="*/ 187 w 224725"/>
                  <a:gd name="connsiteY6" fmla="*/ 452702 h 634312"/>
                  <a:gd name="connsiteX7" fmla="*/ 187 w 224725"/>
                  <a:gd name="connsiteY7" fmla="*/ 504417 h 634312"/>
                  <a:gd name="connsiteX8" fmla="*/ 224913 w 224725"/>
                  <a:gd name="connsiteY8" fmla="*/ 634373 h 634312"/>
                  <a:gd name="connsiteX9" fmla="*/ 224913 w 224725"/>
                  <a:gd name="connsiteY9" fmla="*/ 582657 h 634312"/>
                  <a:gd name="connsiteX10" fmla="*/ 224913 w 224725"/>
                  <a:gd name="connsiteY10" fmla="*/ 492139 h 634312"/>
                  <a:gd name="connsiteX11" fmla="*/ 187 w 224725"/>
                  <a:gd name="connsiteY11" fmla="*/ 362183 h 634312"/>
                  <a:gd name="connsiteX12" fmla="*/ 187 w 224725"/>
                  <a:gd name="connsiteY12" fmla="*/ 413915 h 634312"/>
                  <a:gd name="connsiteX13" fmla="*/ 224913 w 224725"/>
                  <a:gd name="connsiteY13" fmla="*/ 543871 h 634312"/>
                  <a:gd name="connsiteX14" fmla="*/ 224913 w 224725"/>
                  <a:gd name="connsiteY14" fmla="*/ 492139 h 634312"/>
                  <a:gd name="connsiteX15" fmla="*/ 224913 w 224725"/>
                  <a:gd name="connsiteY15" fmla="*/ 311054 h 634312"/>
                  <a:gd name="connsiteX16" fmla="*/ 187 w 224725"/>
                  <a:gd name="connsiteY16" fmla="*/ 181114 h 634312"/>
                  <a:gd name="connsiteX17" fmla="*/ 187 w 224725"/>
                  <a:gd name="connsiteY17" fmla="*/ 232830 h 634312"/>
                  <a:gd name="connsiteX18" fmla="*/ 224913 w 224725"/>
                  <a:gd name="connsiteY18" fmla="*/ 362786 h 634312"/>
                  <a:gd name="connsiteX19" fmla="*/ 224913 w 224725"/>
                  <a:gd name="connsiteY19" fmla="*/ 311070 h 634312"/>
                  <a:gd name="connsiteX20" fmla="*/ 224913 w 224725"/>
                  <a:gd name="connsiteY20" fmla="*/ 220536 h 634312"/>
                  <a:gd name="connsiteX21" fmla="*/ 187 w 224725"/>
                  <a:gd name="connsiteY21" fmla="*/ 90580 h 634312"/>
                  <a:gd name="connsiteX22" fmla="*/ 187 w 224725"/>
                  <a:gd name="connsiteY22" fmla="*/ 142311 h 634312"/>
                  <a:gd name="connsiteX23" fmla="*/ 224913 w 224725"/>
                  <a:gd name="connsiteY23" fmla="*/ 272267 h 634312"/>
                  <a:gd name="connsiteX24" fmla="*/ 224913 w 224725"/>
                  <a:gd name="connsiteY24" fmla="*/ 220536 h 634312"/>
                  <a:gd name="connsiteX25" fmla="*/ 224913 w 224725"/>
                  <a:gd name="connsiteY25" fmla="*/ 130017 h 634312"/>
                  <a:gd name="connsiteX26" fmla="*/ 187 w 224725"/>
                  <a:gd name="connsiteY26" fmla="*/ 61 h 634312"/>
                  <a:gd name="connsiteX27" fmla="*/ 187 w 224725"/>
                  <a:gd name="connsiteY27" fmla="*/ 51793 h 634312"/>
                  <a:gd name="connsiteX28" fmla="*/ 224913 w 224725"/>
                  <a:gd name="connsiteY28" fmla="*/ 181749 h 634312"/>
                  <a:gd name="connsiteX29" fmla="*/ 224913 w 224725"/>
                  <a:gd name="connsiteY29" fmla="*/ 130017 h 63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24725" h="634312">
                    <a:moveTo>
                      <a:pt x="224913" y="453304"/>
                    </a:moveTo>
                    <a:lnTo>
                      <a:pt x="187" y="323349"/>
                    </a:lnTo>
                    <a:lnTo>
                      <a:pt x="187" y="271633"/>
                    </a:lnTo>
                    <a:lnTo>
                      <a:pt x="224913" y="401589"/>
                    </a:lnTo>
                    <a:lnTo>
                      <a:pt x="224913" y="453304"/>
                    </a:lnTo>
                    <a:close/>
                    <a:moveTo>
                      <a:pt x="224913" y="582657"/>
                    </a:moveTo>
                    <a:lnTo>
                      <a:pt x="187" y="452702"/>
                    </a:lnTo>
                    <a:lnTo>
                      <a:pt x="187" y="504417"/>
                    </a:lnTo>
                    <a:lnTo>
                      <a:pt x="224913" y="634373"/>
                    </a:lnTo>
                    <a:lnTo>
                      <a:pt x="224913" y="582657"/>
                    </a:lnTo>
                    <a:close/>
                    <a:moveTo>
                      <a:pt x="224913" y="492139"/>
                    </a:moveTo>
                    <a:lnTo>
                      <a:pt x="187" y="362183"/>
                    </a:lnTo>
                    <a:lnTo>
                      <a:pt x="187" y="413915"/>
                    </a:lnTo>
                    <a:lnTo>
                      <a:pt x="224913" y="543871"/>
                    </a:lnTo>
                    <a:lnTo>
                      <a:pt x="224913" y="492139"/>
                    </a:lnTo>
                    <a:close/>
                    <a:moveTo>
                      <a:pt x="224913" y="311054"/>
                    </a:moveTo>
                    <a:lnTo>
                      <a:pt x="187" y="181114"/>
                    </a:lnTo>
                    <a:lnTo>
                      <a:pt x="187" y="232830"/>
                    </a:lnTo>
                    <a:lnTo>
                      <a:pt x="224913" y="362786"/>
                    </a:lnTo>
                    <a:lnTo>
                      <a:pt x="224913" y="311070"/>
                    </a:lnTo>
                    <a:close/>
                    <a:moveTo>
                      <a:pt x="224913" y="220536"/>
                    </a:moveTo>
                    <a:lnTo>
                      <a:pt x="187" y="90580"/>
                    </a:lnTo>
                    <a:lnTo>
                      <a:pt x="187" y="142311"/>
                    </a:lnTo>
                    <a:lnTo>
                      <a:pt x="224913" y="272267"/>
                    </a:lnTo>
                    <a:lnTo>
                      <a:pt x="224913" y="220536"/>
                    </a:lnTo>
                    <a:close/>
                    <a:moveTo>
                      <a:pt x="224913" y="130017"/>
                    </a:moveTo>
                    <a:lnTo>
                      <a:pt x="187" y="61"/>
                    </a:lnTo>
                    <a:lnTo>
                      <a:pt x="187" y="51793"/>
                    </a:lnTo>
                    <a:lnTo>
                      <a:pt x="224913" y="181749"/>
                    </a:lnTo>
                    <a:lnTo>
                      <a:pt x="224913" y="130017"/>
                    </a:lnTo>
                    <a:close/>
                  </a:path>
                </a:pathLst>
              </a:custGeom>
              <a:solidFill>
                <a:srgbClr val="66667E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0" name="Freihandform: Form 1519">
                <a:extLst>
                  <a:ext uri="{FF2B5EF4-FFF2-40B4-BE49-F238E27FC236}">
                    <a16:creationId xmlns:a16="http://schemas.microsoft.com/office/drawing/2014/main" id="{27E6AFC8-2890-56F2-09C9-381CE16ED445}"/>
                  </a:ext>
                </a:extLst>
              </p:cNvPr>
              <p:cNvSpPr/>
              <p:nvPr/>
            </p:nvSpPr>
            <p:spPr>
              <a:xfrm>
                <a:off x="7660215" y="2653482"/>
                <a:ext cx="450149" cy="259895"/>
              </a:xfrm>
              <a:custGeom>
                <a:avLst/>
                <a:gdLst>
                  <a:gd name="connsiteX0" fmla="*/ 224890 w 450149"/>
                  <a:gd name="connsiteY0" fmla="*/ 260030 h 259895"/>
                  <a:gd name="connsiteX1" fmla="*/ 165 w 450149"/>
                  <a:gd name="connsiteY1" fmla="*/ 130074 h 259895"/>
                  <a:gd name="connsiteX2" fmla="*/ 224890 w 450149"/>
                  <a:gd name="connsiteY2" fmla="*/ 134 h 259895"/>
                  <a:gd name="connsiteX3" fmla="*/ 450314 w 450149"/>
                  <a:gd name="connsiteY3" fmla="*/ 130090 h 259895"/>
                  <a:gd name="connsiteX4" fmla="*/ 224890 w 450149"/>
                  <a:gd name="connsiteY4" fmla="*/ 260030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890" y="260030"/>
                    </a:moveTo>
                    <a:lnTo>
                      <a:pt x="165" y="130074"/>
                    </a:lnTo>
                    <a:lnTo>
                      <a:pt x="224890" y="134"/>
                    </a:lnTo>
                    <a:lnTo>
                      <a:pt x="450314" y="130090"/>
                    </a:lnTo>
                    <a:lnTo>
                      <a:pt x="224890" y="260030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83" name="Grafik 1070">
              <a:extLst>
                <a:ext uri="{FF2B5EF4-FFF2-40B4-BE49-F238E27FC236}">
                  <a16:creationId xmlns:a16="http://schemas.microsoft.com/office/drawing/2014/main" id="{2D82DB42-80BD-4BF2-1FA3-FC0B61EE9A01}"/>
                </a:ext>
              </a:extLst>
            </p:cNvPr>
            <p:cNvGrpSpPr/>
            <p:nvPr/>
          </p:nvGrpSpPr>
          <p:grpSpPr>
            <a:xfrm>
              <a:off x="1257369" y="3450475"/>
              <a:ext cx="903174" cy="765460"/>
              <a:chOff x="8142443" y="3579399"/>
              <a:chExt cx="960120" cy="813721"/>
            </a:xfrm>
          </p:grpSpPr>
          <p:sp>
            <p:nvSpPr>
              <p:cNvPr id="1493" name="Freihandform: Form 1492">
                <a:extLst>
                  <a:ext uri="{FF2B5EF4-FFF2-40B4-BE49-F238E27FC236}">
                    <a16:creationId xmlns:a16="http://schemas.microsoft.com/office/drawing/2014/main" id="{3B20792C-865B-577E-3D15-AF8001DB21C0}"/>
                  </a:ext>
                </a:extLst>
              </p:cNvPr>
              <p:cNvSpPr/>
              <p:nvPr/>
            </p:nvSpPr>
            <p:spPr>
              <a:xfrm>
                <a:off x="8616787" y="3579399"/>
                <a:ext cx="485775" cy="336042"/>
              </a:xfrm>
              <a:custGeom>
                <a:avLst/>
                <a:gdLst>
                  <a:gd name="connsiteX0" fmla="*/ 367093 w 485775"/>
                  <a:gd name="connsiteY0" fmla="*/ 336042 h 336042"/>
                  <a:gd name="connsiteX1" fmla="*/ 0 w 485775"/>
                  <a:gd name="connsiteY1" fmla="*/ 127159 h 336042"/>
                  <a:gd name="connsiteX2" fmla="*/ 118681 w 485775"/>
                  <a:gd name="connsiteY2" fmla="*/ 0 h 336042"/>
                  <a:gd name="connsiteX3" fmla="*/ 485775 w 485775"/>
                  <a:gd name="connsiteY3" fmla="*/ 208883 h 336042"/>
                  <a:gd name="connsiteX4" fmla="*/ 367093 w 485775"/>
                  <a:gd name="connsiteY4" fmla="*/ 336042 h 336042"/>
                  <a:gd name="connsiteX5" fmla="*/ 367093 w 485775"/>
                  <a:gd name="connsiteY5" fmla="*/ 336042 h 336042"/>
                  <a:gd name="connsiteX6" fmla="*/ 367093 w 485775"/>
                  <a:gd name="connsiteY6" fmla="*/ 336042 h 336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336042">
                    <a:moveTo>
                      <a:pt x="367093" y="336042"/>
                    </a:moveTo>
                    <a:lnTo>
                      <a:pt x="0" y="127159"/>
                    </a:lnTo>
                    <a:lnTo>
                      <a:pt x="118681" y="0"/>
                    </a:lnTo>
                    <a:lnTo>
                      <a:pt x="485775" y="208883"/>
                    </a:lnTo>
                    <a:lnTo>
                      <a:pt x="367093" y="336042"/>
                    </a:lnTo>
                    <a:lnTo>
                      <a:pt x="367093" y="336042"/>
                    </a:lnTo>
                    <a:lnTo>
                      <a:pt x="367093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4" name="Freihandform: Form 1493">
                <a:extLst>
                  <a:ext uri="{FF2B5EF4-FFF2-40B4-BE49-F238E27FC236}">
                    <a16:creationId xmlns:a16="http://schemas.microsoft.com/office/drawing/2014/main" id="{63D526FA-8647-7C84-9337-F78DF89746A3}"/>
                  </a:ext>
                </a:extLst>
              </p:cNvPr>
              <p:cNvSpPr/>
              <p:nvPr/>
            </p:nvSpPr>
            <p:spPr>
              <a:xfrm>
                <a:off x="8497915" y="3647978"/>
                <a:ext cx="485775" cy="336042"/>
              </a:xfrm>
              <a:custGeom>
                <a:avLst/>
                <a:gdLst>
                  <a:gd name="connsiteX0" fmla="*/ 367094 w 485775"/>
                  <a:gd name="connsiteY0" fmla="*/ 336042 h 336042"/>
                  <a:gd name="connsiteX1" fmla="*/ 0 w 485775"/>
                  <a:gd name="connsiteY1" fmla="*/ 127159 h 336042"/>
                  <a:gd name="connsiteX2" fmla="*/ 118681 w 485775"/>
                  <a:gd name="connsiteY2" fmla="*/ 0 h 336042"/>
                  <a:gd name="connsiteX3" fmla="*/ 485775 w 485775"/>
                  <a:gd name="connsiteY3" fmla="*/ 208883 h 336042"/>
                  <a:gd name="connsiteX4" fmla="*/ 367094 w 485775"/>
                  <a:gd name="connsiteY4" fmla="*/ 336042 h 336042"/>
                  <a:gd name="connsiteX5" fmla="*/ 367094 w 485775"/>
                  <a:gd name="connsiteY5" fmla="*/ 336042 h 336042"/>
                  <a:gd name="connsiteX6" fmla="*/ 367094 w 485775"/>
                  <a:gd name="connsiteY6" fmla="*/ 336042 h 336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336042">
                    <a:moveTo>
                      <a:pt x="367094" y="336042"/>
                    </a:moveTo>
                    <a:lnTo>
                      <a:pt x="0" y="127159"/>
                    </a:lnTo>
                    <a:lnTo>
                      <a:pt x="118681" y="0"/>
                    </a:lnTo>
                    <a:lnTo>
                      <a:pt x="485775" y="208883"/>
                    </a:lnTo>
                    <a:lnTo>
                      <a:pt x="367094" y="336042"/>
                    </a:lnTo>
                    <a:lnTo>
                      <a:pt x="367094" y="336042"/>
                    </a:lnTo>
                    <a:lnTo>
                      <a:pt x="367094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5" name="Freihandform: Form 1494">
                <a:extLst>
                  <a:ext uri="{FF2B5EF4-FFF2-40B4-BE49-F238E27FC236}">
                    <a16:creationId xmlns:a16="http://schemas.microsoft.com/office/drawing/2014/main" id="{C79A988C-B55B-E296-0831-F42AAF6F5538}"/>
                  </a:ext>
                </a:extLst>
              </p:cNvPr>
              <p:cNvSpPr/>
              <p:nvPr/>
            </p:nvSpPr>
            <p:spPr>
              <a:xfrm>
                <a:off x="8380186" y="3716559"/>
                <a:ext cx="484631" cy="336041"/>
              </a:xfrm>
              <a:custGeom>
                <a:avLst/>
                <a:gdLst>
                  <a:gd name="connsiteX0" fmla="*/ 366236 w 484631"/>
                  <a:gd name="connsiteY0" fmla="*/ 336042 h 336041"/>
                  <a:gd name="connsiteX1" fmla="*/ 0 w 484631"/>
                  <a:gd name="connsiteY1" fmla="*/ 127159 h 336041"/>
                  <a:gd name="connsiteX2" fmla="*/ 118396 w 484631"/>
                  <a:gd name="connsiteY2" fmla="*/ 0 h 336041"/>
                  <a:gd name="connsiteX3" fmla="*/ 484632 w 484631"/>
                  <a:gd name="connsiteY3" fmla="*/ 208883 h 336041"/>
                  <a:gd name="connsiteX4" fmla="*/ 366236 w 484631"/>
                  <a:gd name="connsiteY4" fmla="*/ 336042 h 336041"/>
                  <a:gd name="connsiteX5" fmla="*/ 366236 w 484631"/>
                  <a:gd name="connsiteY5" fmla="*/ 336042 h 336041"/>
                  <a:gd name="connsiteX6" fmla="*/ 366236 w 484631"/>
                  <a:gd name="connsiteY6" fmla="*/ 336042 h 336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631" h="336041">
                    <a:moveTo>
                      <a:pt x="366236" y="336042"/>
                    </a:moveTo>
                    <a:lnTo>
                      <a:pt x="0" y="127159"/>
                    </a:lnTo>
                    <a:lnTo>
                      <a:pt x="118396" y="0"/>
                    </a:lnTo>
                    <a:lnTo>
                      <a:pt x="484632" y="208883"/>
                    </a:lnTo>
                    <a:lnTo>
                      <a:pt x="366236" y="336042"/>
                    </a:lnTo>
                    <a:lnTo>
                      <a:pt x="366236" y="336042"/>
                    </a:lnTo>
                    <a:lnTo>
                      <a:pt x="366236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6" name="Freihandform: Form 1495">
                <a:extLst>
                  <a:ext uri="{FF2B5EF4-FFF2-40B4-BE49-F238E27FC236}">
                    <a16:creationId xmlns:a16="http://schemas.microsoft.com/office/drawing/2014/main" id="{DCE5EA3B-CF1D-8F93-9067-1BE972646E40}"/>
                  </a:ext>
                </a:extLst>
              </p:cNvPr>
              <p:cNvSpPr/>
              <p:nvPr/>
            </p:nvSpPr>
            <p:spPr>
              <a:xfrm>
                <a:off x="8142443" y="3978211"/>
                <a:ext cx="366903" cy="414908"/>
              </a:xfrm>
              <a:custGeom>
                <a:avLst/>
                <a:gdLst>
                  <a:gd name="connsiteX0" fmla="*/ 366903 w 366903"/>
                  <a:gd name="connsiteY0" fmla="*/ 414909 h 414908"/>
                  <a:gd name="connsiteX1" fmla="*/ 476 w 366903"/>
                  <a:gd name="connsiteY1" fmla="*/ 205740 h 414908"/>
                  <a:gd name="connsiteX2" fmla="*/ 0 w 366903"/>
                  <a:gd name="connsiteY2" fmla="*/ 0 h 414908"/>
                  <a:gd name="connsiteX3" fmla="*/ 366427 w 366903"/>
                  <a:gd name="connsiteY3" fmla="*/ 209169 h 414908"/>
                  <a:gd name="connsiteX4" fmla="*/ 366903 w 366903"/>
                  <a:gd name="connsiteY4" fmla="*/ 414909 h 414908"/>
                  <a:gd name="connsiteX5" fmla="*/ 366903 w 366903"/>
                  <a:gd name="connsiteY5" fmla="*/ 414909 h 414908"/>
                  <a:gd name="connsiteX6" fmla="*/ 366903 w 366903"/>
                  <a:gd name="connsiteY6" fmla="*/ 414909 h 414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903" h="414908">
                    <a:moveTo>
                      <a:pt x="366903" y="414909"/>
                    </a:moveTo>
                    <a:lnTo>
                      <a:pt x="476" y="205740"/>
                    </a:lnTo>
                    <a:lnTo>
                      <a:pt x="0" y="0"/>
                    </a:lnTo>
                    <a:lnTo>
                      <a:pt x="366427" y="209169"/>
                    </a:lnTo>
                    <a:lnTo>
                      <a:pt x="366903" y="414909"/>
                    </a:lnTo>
                    <a:lnTo>
                      <a:pt x="366903" y="414909"/>
                    </a:lnTo>
                    <a:lnTo>
                      <a:pt x="366903" y="414909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7" name="Freihandform: Form 1496">
                <a:extLst>
                  <a:ext uri="{FF2B5EF4-FFF2-40B4-BE49-F238E27FC236}">
                    <a16:creationId xmlns:a16="http://schemas.microsoft.com/office/drawing/2014/main" id="{9D5F5CD3-EA51-CFAF-1C6E-999B487934C3}"/>
                  </a:ext>
                </a:extLst>
              </p:cNvPr>
              <p:cNvSpPr/>
              <p:nvPr/>
            </p:nvSpPr>
            <p:spPr>
              <a:xfrm>
                <a:off x="8261314" y="3785138"/>
                <a:ext cx="484632" cy="336041"/>
              </a:xfrm>
              <a:custGeom>
                <a:avLst/>
                <a:gdLst>
                  <a:gd name="connsiteX0" fmla="*/ 366236 w 484632"/>
                  <a:gd name="connsiteY0" fmla="*/ 336042 h 336041"/>
                  <a:gd name="connsiteX1" fmla="*/ 0 w 484632"/>
                  <a:gd name="connsiteY1" fmla="*/ 127159 h 336041"/>
                  <a:gd name="connsiteX2" fmla="*/ 118396 w 484632"/>
                  <a:gd name="connsiteY2" fmla="*/ 0 h 336041"/>
                  <a:gd name="connsiteX3" fmla="*/ 484632 w 484632"/>
                  <a:gd name="connsiteY3" fmla="*/ 208883 h 336041"/>
                  <a:gd name="connsiteX4" fmla="*/ 366236 w 484632"/>
                  <a:gd name="connsiteY4" fmla="*/ 336042 h 336041"/>
                  <a:gd name="connsiteX5" fmla="*/ 366236 w 484632"/>
                  <a:gd name="connsiteY5" fmla="*/ 336042 h 336041"/>
                  <a:gd name="connsiteX6" fmla="*/ 366236 w 484632"/>
                  <a:gd name="connsiteY6" fmla="*/ 336042 h 336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632" h="336041">
                    <a:moveTo>
                      <a:pt x="366236" y="336042"/>
                    </a:moveTo>
                    <a:lnTo>
                      <a:pt x="0" y="127159"/>
                    </a:lnTo>
                    <a:lnTo>
                      <a:pt x="118396" y="0"/>
                    </a:lnTo>
                    <a:lnTo>
                      <a:pt x="484632" y="208883"/>
                    </a:lnTo>
                    <a:lnTo>
                      <a:pt x="366236" y="336042"/>
                    </a:lnTo>
                    <a:lnTo>
                      <a:pt x="366236" y="336042"/>
                    </a:lnTo>
                    <a:lnTo>
                      <a:pt x="366236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8" name="Freihandform: Form 1497">
                <a:extLst>
                  <a:ext uri="{FF2B5EF4-FFF2-40B4-BE49-F238E27FC236}">
                    <a16:creationId xmlns:a16="http://schemas.microsoft.com/office/drawing/2014/main" id="{DCC08643-C018-3424-6D9F-11387ACFB761}"/>
                  </a:ext>
                </a:extLst>
              </p:cNvPr>
              <p:cNvSpPr/>
              <p:nvPr/>
            </p:nvSpPr>
            <p:spPr>
              <a:xfrm>
                <a:off x="8142443" y="3853718"/>
                <a:ext cx="484632" cy="336041"/>
              </a:xfrm>
              <a:custGeom>
                <a:avLst/>
                <a:gdLst>
                  <a:gd name="connsiteX0" fmla="*/ 366236 w 484632"/>
                  <a:gd name="connsiteY0" fmla="*/ 336042 h 336041"/>
                  <a:gd name="connsiteX1" fmla="*/ 0 w 484632"/>
                  <a:gd name="connsiteY1" fmla="*/ 127159 h 336041"/>
                  <a:gd name="connsiteX2" fmla="*/ 118396 w 484632"/>
                  <a:gd name="connsiteY2" fmla="*/ 0 h 336041"/>
                  <a:gd name="connsiteX3" fmla="*/ 484632 w 484632"/>
                  <a:gd name="connsiteY3" fmla="*/ 208883 h 336041"/>
                  <a:gd name="connsiteX4" fmla="*/ 366236 w 484632"/>
                  <a:gd name="connsiteY4" fmla="*/ 336042 h 336041"/>
                  <a:gd name="connsiteX5" fmla="*/ 366236 w 484632"/>
                  <a:gd name="connsiteY5" fmla="*/ 336042 h 336041"/>
                  <a:gd name="connsiteX6" fmla="*/ 366236 w 484632"/>
                  <a:gd name="connsiteY6" fmla="*/ 336042 h 336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632" h="336041">
                    <a:moveTo>
                      <a:pt x="366236" y="336042"/>
                    </a:moveTo>
                    <a:lnTo>
                      <a:pt x="0" y="127159"/>
                    </a:lnTo>
                    <a:lnTo>
                      <a:pt x="118396" y="0"/>
                    </a:lnTo>
                    <a:lnTo>
                      <a:pt x="484632" y="208883"/>
                    </a:lnTo>
                    <a:lnTo>
                      <a:pt x="366236" y="336042"/>
                    </a:lnTo>
                    <a:lnTo>
                      <a:pt x="366236" y="336042"/>
                    </a:lnTo>
                    <a:lnTo>
                      <a:pt x="366236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9" name="Freihandform: Form 1498">
                <a:extLst>
                  <a:ext uri="{FF2B5EF4-FFF2-40B4-BE49-F238E27FC236}">
                    <a16:creationId xmlns:a16="http://schemas.microsoft.com/office/drawing/2014/main" id="{23FC804F-2E7C-762E-A250-FB0988E8EF94}"/>
                  </a:ext>
                </a:extLst>
              </p:cNvPr>
              <p:cNvSpPr/>
              <p:nvPr/>
            </p:nvSpPr>
            <p:spPr>
              <a:xfrm>
                <a:off x="8509346" y="3786187"/>
                <a:ext cx="593217" cy="606933"/>
              </a:xfrm>
              <a:custGeom>
                <a:avLst/>
                <a:gdLst>
                  <a:gd name="connsiteX0" fmla="*/ 592550 w 593217"/>
                  <a:gd name="connsiteY0" fmla="*/ 0 h 606933"/>
                  <a:gd name="connsiteX1" fmla="*/ 592646 w 593217"/>
                  <a:gd name="connsiteY1" fmla="*/ 58769 h 606933"/>
                  <a:gd name="connsiteX2" fmla="*/ 593217 w 593217"/>
                  <a:gd name="connsiteY2" fmla="*/ 264319 h 606933"/>
                  <a:gd name="connsiteX3" fmla="*/ 120015 w 593217"/>
                  <a:gd name="connsiteY3" fmla="*/ 537972 h 606933"/>
                  <a:gd name="connsiteX4" fmla="*/ 108204 w 593217"/>
                  <a:gd name="connsiteY4" fmla="*/ 532638 h 606933"/>
                  <a:gd name="connsiteX5" fmla="*/ 18288 w 593217"/>
                  <a:gd name="connsiteY5" fmla="*/ 584454 h 606933"/>
                  <a:gd name="connsiteX6" fmla="*/ 18288 w 593217"/>
                  <a:gd name="connsiteY6" fmla="*/ 596741 h 606933"/>
                  <a:gd name="connsiteX7" fmla="*/ 476 w 593217"/>
                  <a:gd name="connsiteY7" fmla="*/ 606933 h 606933"/>
                  <a:gd name="connsiteX8" fmla="*/ 0 w 593217"/>
                  <a:gd name="connsiteY8" fmla="*/ 401384 h 606933"/>
                  <a:gd name="connsiteX9" fmla="*/ 118396 w 593217"/>
                  <a:gd name="connsiteY9" fmla="*/ 274130 h 606933"/>
                  <a:gd name="connsiteX10" fmla="*/ 118586 w 593217"/>
                  <a:gd name="connsiteY10" fmla="*/ 332804 h 606933"/>
                  <a:gd name="connsiteX11" fmla="*/ 236887 w 593217"/>
                  <a:gd name="connsiteY11" fmla="*/ 205550 h 606933"/>
                  <a:gd name="connsiteX12" fmla="*/ 237077 w 593217"/>
                  <a:gd name="connsiteY12" fmla="*/ 264319 h 606933"/>
                  <a:gd name="connsiteX13" fmla="*/ 355473 w 593217"/>
                  <a:gd name="connsiteY13" fmla="*/ 137065 h 606933"/>
                  <a:gd name="connsiteX14" fmla="*/ 355664 w 593217"/>
                  <a:gd name="connsiteY14" fmla="*/ 195739 h 606933"/>
                  <a:gd name="connsiteX15" fmla="*/ 473964 w 593217"/>
                  <a:gd name="connsiteY15" fmla="*/ 68485 h 606933"/>
                  <a:gd name="connsiteX16" fmla="*/ 474155 w 593217"/>
                  <a:gd name="connsiteY16" fmla="*/ 127254 h 606933"/>
                  <a:gd name="connsiteX17" fmla="*/ 592550 w 593217"/>
                  <a:gd name="connsiteY17" fmla="*/ 0 h 606933"/>
                  <a:gd name="connsiteX18" fmla="*/ 592550 w 593217"/>
                  <a:gd name="connsiteY18" fmla="*/ 0 h 606933"/>
                  <a:gd name="connsiteX19" fmla="*/ 592550 w 593217"/>
                  <a:gd name="connsiteY19" fmla="*/ 0 h 606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3217" h="606933">
                    <a:moveTo>
                      <a:pt x="592550" y="0"/>
                    </a:moveTo>
                    <a:lnTo>
                      <a:pt x="592646" y="58769"/>
                    </a:lnTo>
                    <a:lnTo>
                      <a:pt x="593217" y="264319"/>
                    </a:lnTo>
                    <a:lnTo>
                      <a:pt x="120015" y="537972"/>
                    </a:lnTo>
                    <a:lnTo>
                      <a:pt x="108204" y="532638"/>
                    </a:lnTo>
                    <a:lnTo>
                      <a:pt x="18288" y="584454"/>
                    </a:lnTo>
                    <a:lnTo>
                      <a:pt x="18288" y="596741"/>
                    </a:lnTo>
                    <a:lnTo>
                      <a:pt x="476" y="606933"/>
                    </a:lnTo>
                    <a:lnTo>
                      <a:pt x="0" y="401384"/>
                    </a:lnTo>
                    <a:lnTo>
                      <a:pt x="118396" y="274130"/>
                    </a:lnTo>
                    <a:lnTo>
                      <a:pt x="118586" y="332804"/>
                    </a:lnTo>
                    <a:lnTo>
                      <a:pt x="236887" y="205550"/>
                    </a:lnTo>
                    <a:lnTo>
                      <a:pt x="237077" y="264319"/>
                    </a:lnTo>
                    <a:lnTo>
                      <a:pt x="355473" y="137065"/>
                    </a:lnTo>
                    <a:lnTo>
                      <a:pt x="355664" y="195739"/>
                    </a:lnTo>
                    <a:lnTo>
                      <a:pt x="473964" y="68485"/>
                    </a:lnTo>
                    <a:lnTo>
                      <a:pt x="474155" y="127254"/>
                    </a:lnTo>
                    <a:lnTo>
                      <a:pt x="592550" y="0"/>
                    </a:lnTo>
                    <a:lnTo>
                      <a:pt x="592550" y="0"/>
                    </a:lnTo>
                    <a:lnTo>
                      <a:pt x="592550" y="0"/>
                    </a:lnTo>
                    <a:close/>
                  </a:path>
                </a:pathLst>
              </a:custGeom>
              <a:solidFill>
                <a:srgbClr val="E5E5E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0" name="Freihandform: Form 1499">
                <a:extLst>
                  <a:ext uri="{FF2B5EF4-FFF2-40B4-BE49-F238E27FC236}">
                    <a16:creationId xmlns:a16="http://schemas.microsoft.com/office/drawing/2014/main" id="{D0EBC8C2-5822-9A3B-9334-601F8A991EC1}"/>
                  </a:ext>
                </a:extLst>
              </p:cNvPr>
              <p:cNvSpPr/>
              <p:nvPr/>
            </p:nvSpPr>
            <p:spPr>
              <a:xfrm>
                <a:off x="8159587" y="4023931"/>
                <a:ext cx="101726" cy="101726"/>
              </a:xfrm>
              <a:custGeom>
                <a:avLst/>
                <a:gdLst>
                  <a:gd name="connsiteX0" fmla="*/ 0 w 101726"/>
                  <a:gd name="connsiteY0" fmla="*/ 0 h 101726"/>
                  <a:gd name="connsiteX1" fmla="*/ 0 w 101726"/>
                  <a:gd name="connsiteY1" fmla="*/ 43624 h 101726"/>
                  <a:gd name="connsiteX2" fmla="*/ 101727 w 101726"/>
                  <a:gd name="connsiteY2" fmla="*/ 101727 h 101726"/>
                  <a:gd name="connsiteX3" fmla="*/ 101727 w 101726"/>
                  <a:gd name="connsiteY3" fmla="*/ 58102 h 101726"/>
                  <a:gd name="connsiteX4" fmla="*/ 0 w 101726"/>
                  <a:gd name="connsiteY4" fmla="*/ 0 h 101726"/>
                  <a:gd name="connsiteX5" fmla="*/ 0 w 101726"/>
                  <a:gd name="connsiteY5" fmla="*/ 0 h 101726"/>
                  <a:gd name="connsiteX6" fmla="*/ 0 w 101726"/>
                  <a:gd name="connsiteY6" fmla="*/ 0 h 101726"/>
                  <a:gd name="connsiteX7" fmla="*/ 0 w 101726"/>
                  <a:gd name="connsiteY7" fmla="*/ 0 h 101726"/>
                  <a:gd name="connsiteX8" fmla="*/ 0 w 101726"/>
                  <a:gd name="connsiteY8" fmla="*/ 0 h 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101726">
                    <a:moveTo>
                      <a:pt x="0" y="0"/>
                    </a:moveTo>
                    <a:lnTo>
                      <a:pt x="0" y="43624"/>
                    </a:lnTo>
                    <a:lnTo>
                      <a:pt x="101727" y="101727"/>
                    </a:lnTo>
                    <a:lnTo>
                      <a:pt x="101727" y="5810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1" name="Freihandform: Form 1500">
                <a:extLst>
                  <a:ext uri="{FF2B5EF4-FFF2-40B4-BE49-F238E27FC236}">
                    <a16:creationId xmlns:a16="http://schemas.microsoft.com/office/drawing/2014/main" id="{189E4CF6-BAC2-C109-D526-4AF36753810F}"/>
                  </a:ext>
                </a:extLst>
              </p:cNvPr>
              <p:cNvSpPr/>
              <p:nvPr/>
            </p:nvSpPr>
            <p:spPr>
              <a:xfrm>
                <a:off x="8159587" y="4045648"/>
                <a:ext cx="101726" cy="80009"/>
              </a:xfrm>
              <a:custGeom>
                <a:avLst/>
                <a:gdLst>
                  <a:gd name="connsiteX0" fmla="*/ 0 w 101726"/>
                  <a:gd name="connsiteY0" fmla="*/ 21812 h 80009"/>
                  <a:gd name="connsiteX1" fmla="*/ 38100 w 101726"/>
                  <a:gd name="connsiteY1" fmla="*/ 0 h 80009"/>
                  <a:gd name="connsiteX2" fmla="*/ 101727 w 101726"/>
                  <a:gd name="connsiteY2" fmla="*/ 36385 h 80009"/>
                  <a:gd name="connsiteX3" fmla="*/ 101727 w 101726"/>
                  <a:gd name="connsiteY3" fmla="*/ 80010 h 80009"/>
                  <a:gd name="connsiteX4" fmla="*/ 0 w 101726"/>
                  <a:gd name="connsiteY4" fmla="*/ 21812 h 80009"/>
                  <a:gd name="connsiteX5" fmla="*/ 0 w 101726"/>
                  <a:gd name="connsiteY5" fmla="*/ 21812 h 80009"/>
                  <a:gd name="connsiteX6" fmla="*/ 0 w 101726"/>
                  <a:gd name="connsiteY6" fmla="*/ 21812 h 80009"/>
                  <a:gd name="connsiteX7" fmla="*/ 0 w 101726"/>
                  <a:gd name="connsiteY7" fmla="*/ 21812 h 80009"/>
                  <a:gd name="connsiteX8" fmla="*/ 0 w 101726"/>
                  <a:gd name="connsiteY8" fmla="*/ 21812 h 8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80009">
                    <a:moveTo>
                      <a:pt x="0" y="21812"/>
                    </a:moveTo>
                    <a:lnTo>
                      <a:pt x="38100" y="0"/>
                    </a:lnTo>
                    <a:lnTo>
                      <a:pt x="101727" y="36385"/>
                    </a:lnTo>
                    <a:lnTo>
                      <a:pt x="101727" y="80010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2" name="Freihandform: Form 1501">
                <a:extLst>
                  <a:ext uri="{FF2B5EF4-FFF2-40B4-BE49-F238E27FC236}">
                    <a16:creationId xmlns:a16="http://schemas.microsoft.com/office/drawing/2014/main" id="{B346875A-C5D1-8CFB-B5B8-D400244BFCE2}"/>
                  </a:ext>
                </a:extLst>
              </p:cNvPr>
              <p:cNvSpPr/>
              <p:nvPr/>
            </p:nvSpPr>
            <p:spPr>
              <a:xfrm>
                <a:off x="8273888" y="4089082"/>
                <a:ext cx="101726" cy="102870"/>
              </a:xfrm>
              <a:custGeom>
                <a:avLst/>
                <a:gdLst>
                  <a:gd name="connsiteX0" fmla="*/ 0 w 101726"/>
                  <a:gd name="connsiteY0" fmla="*/ 0 h 102870"/>
                  <a:gd name="connsiteX1" fmla="*/ 0 w 101726"/>
                  <a:gd name="connsiteY1" fmla="*/ 44101 h 102870"/>
                  <a:gd name="connsiteX2" fmla="*/ 101727 w 101726"/>
                  <a:gd name="connsiteY2" fmla="*/ 102870 h 102870"/>
                  <a:gd name="connsiteX3" fmla="*/ 101727 w 101726"/>
                  <a:gd name="connsiteY3" fmla="*/ 58769 h 102870"/>
                  <a:gd name="connsiteX4" fmla="*/ 0 w 101726"/>
                  <a:gd name="connsiteY4" fmla="*/ 0 h 102870"/>
                  <a:gd name="connsiteX5" fmla="*/ 0 w 101726"/>
                  <a:gd name="connsiteY5" fmla="*/ 0 h 102870"/>
                  <a:gd name="connsiteX6" fmla="*/ 0 w 101726"/>
                  <a:gd name="connsiteY6" fmla="*/ 0 h 102870"/>
                  <a:gd name="connsiteX7" fmla="*/ 0 w 101726"/>
                  <a:gd name="connsiteY7" fmla="*/ 0 h 102870"/>
                  <a:gd name="connsiteX8" fmla="*/ 0 w 101726"/>
                  <a:gd name="connsiteY8" fmla="*/ 0 h 1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102870">
                    <a:moveTo>
                      <a:pt x="0" y="0"/>
                    </a:moveTo>
                    <a:lnTo>
                      <a:pt x="0" y="44101"/>
                    </a:lnTo>
                    <a:lnTo>
                      <a:pt x="101727" y="102870"/>
                    </a:lnTo>
                    <a:lnTo>
                      <a:pt x="101727" y="5876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3" name="Freihandform: Form 1502">
                <a:extLst>
                  <a:ext uri="{FF2B5EF4-FFF2-40B4-BE49-F238E27FC236}">
                    <a16:creationId xmlns:a16="http://schemas.microsoft.com/office/drawing/2014/main" id="{64895CBC-B0A6-E020-C6B7-74E8216D5389}"/>
                  </a:ext>
                </a:extLst>
              </p:cNvPr>
              <p:cNvSpPr/>
              <p:nvPr/>
            </p:nvSpPr>
            <p:spPr>
              <a:xfrm>
                <a:off x="8273888" y="4110799"/>
                <a:ext cx="101726" cy="81153"/>
              </a:xfrm>
              <a:custGeom>
                <a:avLst/>
                <a:gdLst>
                  <a:gd name="connsiteX0" fmla="*/ 0 w 101726"/>
                  <a:gd name="connsiteY0" fmla="*/ 22098 h 81153"/>
                  <a:gd name="connsiteX1" fmla="*/ 38195 w 101726"/>
                  <a:gd name="connsiteY1" fmla="*/ 0 h 81153"/>
                  <a:gd name="connsiteX2" fmla="*/ 101727 w 101726"/>
                  <a:gd name="connsiteY2" fmla="*/ 36862 h 81153"/>
                  <a:gd name="connsiteX3" fmla="*/ 101727 w 101726"/>
                  <a:gd name="connsiteY3" fmla="*/ 81153 h 81153"/>
                  <a:gd name="connsiteX4" fmla="*/ 0 w 101726"/>
                  <a:gd name="connsiteY4" fmla="*/ 22098 h 81153"/>
                  <a:gd name="connsiteX5" fmla="*/ 0 w 101726"/>
                  <a:gd name="connsiteY5" fmla="*/ 22098 h 81153"/>
                  <a:gd name="connsiteX6" fmla="*/ 0 w 101726"/>
                  <a:gd name="connsiteY6" fmla="*/ 22098 h 81153"/>
                  <a:gd name="connsiteX7" fmla="*/ 0 w 101726"/>
                  <a:gd name="connsiteY7" fmla="*/ 22098 h 81153"/>
                  <a:gd name="connsiteX8" fmla="*/ 0 w 101726"/>
                  <a:gd name="connsiteY8" fmla="*/ 22098 h 8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81153">
                    <a:moveTo>
                      <a:pt x="0" y="22098"/>
                    </a:moveTo>
                    <a:lnTo>
                      <a:pt x="38195" y="0"/>
                    </a:lnTo>
                    <a:lnTo>
                      <a:pt x="101727" y="36862"/>
                    </a:lnTo>
                    <a:lnTo>
                      <a:pt x="101727" y="81153"/>
                    </a:lnTo>
                    <a:lnTo>
                      <a:pt x="0" y="22098"/>
                    </a:lnTo>
                    <a:lnTo>
                      <a:pt x="0" y="22098"/>
                    </a:lnTo>
                    <a:lnTo>
                      <a:pt x="0" y="22098"/>
                    </a:lnTo>
                    <a:lnTo>
                      <a:pt x="0" y="22098"/>
                    </a:lnTo>
                    <a:lnTo>
                      <a:pt x="0" y="22098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4" name="Freihandform: Form 1503">
                <a:extLst>
                  <a:ext uri="{FF2B5EF4-FFF2-40B4-BE49-F238E27FC236}">
                    <a16:creationId xmlns:a16="http://schemas.microsoft.com/office/drawing/2014/main" id="{4829748C-91C8-624E-F060-EF2E52A58153}"/>
                  </a:ext>
                </a:extLst>
              </p:cNvPr>
              <p:cNvSpPr/>
              <p:nvPr/>
            </p:nvSpPr>
            <p:spPr>
              <a:xfrm>
                <a:off x="8388187" y="4155375"/>
                <a:ext cx="101727" cy="101727"/>
              </a:xfrm>
              <a:custGeom>
                <a:avLst/>
                <a:gdLst>
                  <a:gd name="connsiteX0" fmla="*/ 0 w 101727"/>
                  <a:gd name="connsiteY0" fmla="*/ 0 h 101727"/>
                  <a:gd name="connsiteX1" fmla="*/ 0 w 101727"/>
                  <a:gd name="connsiteY1" fmla="*/ 43625 h 101727"/>
                  <a:gd name="connsiteX2" fmla="*/ 101727 w 101727"/>
                  <a:gd name="connsiteY2" fmla="*/ 101727 h 101727"/>
                  <a:gd name="connsiteX3" fmla="*/ 101727 w 101727"/>
                  <a:gd name="connsiteY3" fmla="*/ 58103 h 101727"/>
                  <a:gd name="connsiteX4" fmla="*/ 0 w 101727"/>
                  <a:gd name="connsiteY4" fmla="*/ 0 h 101727"/>
                  <a:gd name="connsiteX5" fmla="*/ 0 w 101727"/>
                  <a:gd name="connsiteY5" fmla="*/ 0 h 101727"/>
                  <a:gd name="connsiteX6" fmla="*/ 0 w 101727"/>
                  <a:gd name="connsiteY6" fmla="*/ 0 h 101727"/>
                  <a:gd name="connsiteX7" fmla="*/ 0 w 101727"/>
                  <a:gd name="connsiteY7" fmla="*/ 0 h 101727"/>
                  <a:gd name="connsiteX8" fmla="*/ 0 w 101727"/>
                  <a:gd name="connsiteY8" fmla="*/ 0 h 10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101727">
                    <a:moveTo>
                      <a:pt x="0" y="0"/>
                    </a:moveTo>
                    <a:lnTo>
                      <a:pt x="0" y="43625"/>
                    </a:lnTo>
                    <a:lnTo>
                      <a:pt x="101727" y="101727"/>
                    </a:lnTo>
                    <a:lnTo>
                      <a:pt x="101727" y="5810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5" name="Freihandform: Form 1504">
                <a:extLst>
                  <a:ext uri="{FF2B5EF4-FFF2-40B4-BE49-F238E27FC236}">
                    <a16:creationId xmlns:a16="http://schemas.microsoft.com/office/drawing/2014/main" id="{DD903E48-E44E-8685-2231-F1ABF66B58AA}"/>
                  </a:ext>
                </a:extLst>
              </p:cNvPr>
              <p:cNvSpPr/>
              <p:nvPr/>
            </p:nvSpPr>
            <p:spPr>
              <a:xfrm>
                <a:off x="8388187" y="4177092"/>
                <a:ext cx="101727" cy="80010"/>
              </a:xfrm>
              <a:custGeom>
                <a:avLst/>
                <a:gdLst>
                  <a:gd name="connsiteX0" fmla="*/ 0 w 101727"/>
                  <a:gd name="connsiteY0" fmla="*/ 21812 h 80010"/>
                  <a:gd name="connsiteX1" fmla="*/ 38195 w 101727"/>
                  <a:gd name="connsiteY1" fmla="*/ 0 h 80010"/>
                  <a:gd name="connsiteX2" fmla="*/ 101727 w 101727"/>
                  <a:gd name="connsiteY2" fmla="*/ 36386 h 80010"/>
                  <a:gd name="connsiteX3" fmla="*/ 101727 w 101727"/>
                  <a:gd name="connsiteY3" fmla="*/ 80010 h 80010"/>
                  <a:gd name="connsiteX4" fmla="*/ 0 w 101727"/>
                  <a:gd name="connsiteY4" fmla="*/ 21812 h 80010"/>
                  <a:gd name="connsiteX5" fmla="*/ 0 w 101727"/>
                  <a:gd name="connsiteY5" fmla="*/ 21812 h 80010"/>
                  <a:gd name="connsiteX6" fmla="*/ 0 w 101727"/>
                  <a:gd name="connsiteY6" fmla="*/ 21812 h 80010"/>
                  <a:gd name="connsiteX7" fmla="*/ 0 w 101727"/>
                  <a:gd name="connsiteY7" fmla="*/ 21812 h 80010"/>
                  <a:gd name="connsiteX8" fmla="*/ 0 w 101727"/>
                  <a:gd name="connsiteY8" fmla="*/ 21812 h 80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80010">
                    <a:moveTo>
                      <a:pt x="0" y="21812"/>
                    </a:moveTo>
                    <a:lnTo>
                      <a:pt x="38195" y="0"/>
                    </a:lnTo>
                    <a:lnTo>
                      <a:pt x="101727" y="36386"/>
                    </a:lnTo>
                    <a:lnTo>
                      <a:pt x="101727" y="80010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6" name="Freihandform: Form 1505">
                <a:extLst>
                  <a:ext uri="{FF2B5EF4-FFF2-40B4-BE49-F238E27FC236}">
                    <a16:creationId xmlns:a16="http://schemas.microsoft.com/office/drawing/2014/main" id="{FA20EB93-B04F-F583-4CC5-6FB28FD54372}"/>
                  </a:ext>
                </a:extLst>
              </p:cNvPr>
              <p:cNvSpPr/>
              <p:nvPr/>
            </p:nvSpPr>
            <p:spPr>
              <a:xfrm>
                <a:off x="8756234" y="4023931"/>
                <a:ext cx="101727" cy="101726"/>
              </a:xfrm>
              <a:custGeom>
                <a:avLst/>
                <a:gdLst>
                  <a:gd name="connsiteX0" fmla="*/ 101727 w 101727"/>
                  <a:gd name="connsiteY0" fmla="*/ 0 h 101726"/>
                  <a:gd name="connsiteX1" fmla="*/ 101727 w 101727"/>
                  <a:gd name="connsiteY1" fmla="*/ 43624 h 101726"/>
                  <a:gd name="connsiteX2" fmla="*/ 0 w 101727"/>
                  <a:gd name="connsiteY2" fmla="*/ 101727 h 101726"/>
                  <a:gd name="connsiteX3" fmla="*/ 0 w 101727"/>
                  <a:gd name="connsiteY3" fmla="*/ 58102 h 101726"/>
                  <a:gd name="connsiteX4" fmla="*/ 101727 w 101727"/>
                  <a:gd name="connsiteY4" fmla="*/ 0 h 101726"/>
                  <a:gd name="connsiteX5" fmla="*/ 101727 w 101727"/>
                  <a:gd name="connsiteY5" fmla="*/ 0 h 101726"/>
                  <a:gd name="connsiteX6" fmla="*/ 101727 w 101727"/>
                  <a:gd name="connsiteY6" fmla="*/ 0 h 101726"/>
                  <a:gd name="connsiteX7" fmla="*/ 101727 w 101727"/>
                  <a:gd name="connsiteY7" fmla="*/ 0 h 101726"/>
                  <a:gd name="connsiteX8" fmla="*/ 101727 w 101727"/>
                  <a:gd name="connsiteY8" fmla="*/ 0 h 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101726">
                    <a:moveTo>
                      <a:pt x="101727" y="0"/>
                    </a:moveTo>
                    <a:lnTo>
                      <a:pt x="101727" y="43624"/>
                    </a:lnTo>
                    <a:lnTo>
                      <a:pt x="0" y="101727"/>
                    </a:lnTo>
                    <a:lnTo>
                      <a:pt x="0" y="58102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7" name="Freihandform: Form 1506">
                <a:extLst>
                  <a:ext uri="{FF2B5EF4-FFF2-40B4-BE49-F238E27FC236}">
                    <a16:creationId xmlns:a16="http://schemas.microsoft.com/office/drawing/2014/main" id="{D9B759EC-0504-EA83-54F3-1F5972B78A68}"/>
                  </a:ext>
                </a:extLst>
              </p:cNvPr>
              <p:cNvSpPr/>
              <p:nvPr/>
            </p:nvSpPr>
            <p:spPr>
              <a:xfrm>
                <a:off x="8756234" y="4045648"/>
                <a:ext cx="101727" cy="80009"/>
              </a:xfrm>
              <a:custGeom>
                <a:avLst/>
                <a:gdLst>
                  <a:gd name="connsiteX0" fmla="*/ 101727 w 101727"/>
                  <a:gd name="connsiteY0" fmla="*/ 21812 h 80009"/>
                  <a:gd name="connsiteX1" fmla="*/ 63627 w 101727"/>
                  <a:gd name="connsiteY1" fmla="*/ 0 h 80009"/>
                  <a:gd name="connsiteX2" fmla="*/ 0 w 101727"/>
                  <a:gd name="connsiteY2" fmla="*/ 36385 h 80009"/>
                  <a:gd name="connsiteX3" fmla="*/ 0 w 101727"/>
                  <a:gd name="connsiteY3" fmla="*/ 80010 h 80009"/>
                  <a:gd name="connsiteX4" fmla="*/ 101727 w 101727"/>
                  <a:gd name="connsiteY4" fmla="*/ 21812 h 80009"/>
                  <a:gd name="connsiteX5" fmla="*/ 101727 w 101727"/>
                  <a:gd name="connsiteY5" fmla="*/ 21812 h 80009"/>
                  <a:gd name="connsiteX6" fmla="*/ 101727 w 101727"/>
                  <a:gd name="connsiteY6" fmla="*/ 21812 h 80009"/>
                  <a:gd name="connsiteX7" fmla="*/ 101727 w 101727"/>
                  <a:gd name="connsiteY7" fmla="*/ 21812 h 80009"/>
                  <a:gd name="connsiteX8" fmla="*/ 101727 w 101727"/>
                  <a:gd name="connsiteY8" fmla="*/ 21812 h 8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80009">
                    <a:moveTo>
                      <a:pt x="101727" y="21812"/>
                    </a:moveTo>
                    <a:lnTo>
                      <a:pt x="63627" y="0"/>
                    </a:lnTo>
                    <a:lnTo>
                      <a:pt x="0" y="36385"/>
                    </a:lnTo>
                    <a:lnTo>
                      <a:pt x="0" y="80010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8" name="Freihandform: Form 1507">
                <a:extLst>
                  <a:ext uri="{FF2B5EF4-FFF2-40B4-BE49-F238E27FC236}">
                    <a16:creationId xmlns:a16="http://schemas.microsoft.com/office/drawing/2014/main" id="{201C9EBE-6B11-0382-1A70-594A1016F653}"/>
                  </a:ext>
                </a:extLst>
              </p:cNvPr>
              <p:cNvSpPr/>
              <p:nvPr/>
            </p:nvSpPr>
            <p:spPr>
              <a:xfrm>
                <a:off x="8641933" y="4089082"/>
                <a:ext cx="100584" cy="102870"/>
              </a:xfrm>
              <a:custGeom>
                <a:avLst/>
                <a:gdLst>
                  <a:gd name="connsiteX0" fmla="*/ 100584 w 100584"/>
                  <a:gd name="connsiteY0" fmla="*/ 0 h 102870"/>
                  <a:gd name="connsiteX1" fmla="*/ 100584 w 100584"/>
                  <a:gd name="connsiteY1" fmla="*/ 44101 h 102870"/>
                  <a:gd name="connsiteX2" fmla="*/ 0 w 100584"/>
                  <a:gd name="connsiteY2" fmla="*/ 102870 h 102870"/>
                  <a:gd name="connsiteX3" fmla="*/ 0 w 100584"/>
                  <a:gd name="connsiteY3" fmla="*/ 58769 h 102870"/>
                  <a:gd name="connsiteX4" fmla="*/ 100584 w 100584"/>
                  <a:gd name="connsiteY4" fmla="*/ 0 h 102870"/>
                  <a:gd name="connsiteX5" fmla="*/ 100584 w 100584"/>
                  <a:gd name="connsiteY5" fmla="*/ 0 h 102870"/>
                  <a:gd name="connsiteX6" fmla="*/ 100584 w 100584"/>
                  <a:gd name="connsiteY6" fmla="*/ 0 h 102870"/>
                  <a:gd name="connsiteX7" fmla="*/ 100584 w 100584"/>
                  <a:gd name="connsiteY7" fmla="*/ 0 h 102870"/>
                  <a:gd name="connsiteX8" fmla="*/ 100584 w 100584"/>
                  <a:gd name="connsiteY8" fmla="*/ 0 h 1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4" h="102870">
                    <a:moveTo>
                      <a:pt x="100584" y="0"/>
                    </a:moveTo>
                    <a:lnTo>
                      <a:pt x="100584" y="44101"/>
                    </a:lnTo>
                    <a:lnTo>
                      <a:pt x="0" y="102870"/>
                    </a:lnTo>
                    <a:lnTo>
                      <a:pt x="0" y="58769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9" name="Freihandform: Form 1508">
                <a:extLst>
                  <a:ext uri="{FF2B5EF4-FFF2-40B4-BE49-F238E27FC236}">
                    <a16:creationId xmlns:a16="http://schemas.microsoft.com/office/drawing/2014/main" id="{0CC7A912-539D-F37A-3409-E93D09DCAD79}"/>
                  </a:ext>
                </a:extLst>
              </p:cNvPr>
              <p:cNvSpPr/>
              <p:nvPr/>
            </p:nvSpPr>
            <p:spPr>
              <a:xfrm>
                <a:off x="8641933" y="4110799"/>
                <a:ext cx="100584" cy="81153"/>
              </a:xfrm>
              <a:custGeom>
                <a:avLst/>
                <a:gdLst>
                  <a:gd name="connsiteX0" fmla="*/ 100584 w 100584"/>
                  <a:gd name="connsiteY0" fmla="*/ 22098 h 81153"/>
                  <a:gd name="connsiteX1" fmla="*/ 62865 w 100584"/>
                  <a:gd name="connsiteY1" fmla="*/ 0 h 81153"/>
                  <a:gd name="connsiteX2" fmla="*/ 0 w 100584"/>
                  <a:gd name="connsiteY2" fmla="*/ 36862 h 81153"/>
                  <a:gd name="connsiteX3" fmla="*/ 0 w 100584"/>
                  <a:gd name="connsiteY3" fmla="*/ 81153 h 81153"/>
                  <a:gd name="connsiteX4" fmla="*/ 100584 w 100584"/>
                  <a:gd name="connsiteY4" fmla="*/ 22098 h 81153"/>
                  <a:gd name="connsiteX5" fmla="*/ 100584 w 100584"/>
                  <a:gd name="connsiteY5" fmla="*/ 22098 h 81153"/>
                  <a:gd name="connsiteX6" fmla="*/ 100584 w 100584"/>
                  <a:gd name="connsiteY6" fmla="*/ 22098 h 81153"/>
                  <a:gd name="connsiteX7" fmla="*/ 100584 w 100584"/>
                  <a:gd name="connsiteY7" fmla="*/ 22098 h 81153"/>
                  <a:gd name="connsiteX8" fmla="*/ 100584 w 100584"/>
                  <a:gd name="connsiteY8" fmla="*/ 22098 h 8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4" h="81153">
                    <a:moveTo>
                      <a:pt x="100584" y="22098"/>
                    </a:moveTo>
                    <a:lnTo>
                      <a:pt x="62865" y="0"/>
                    </a:lnTo>
                    <a:lnTo>
                      <a:pt x="0" y="36862"/>
                    </a:lnTo>
                    <a:lnTo>
                      <a:pt x="0" y="81153"/>
                    </a:lnTo>
                    <a:lnTo>
                      <a:pt x="100584" y="22098"/>
                    </a:lnTo>
                    <a:lnTo>
                      <a:pt x="100584" y="22098"/>
                    </a:lnTo>
                    <a:lnTo>
                      <a:pt x="100584" y="22098"/>
                    </a:lnTo>
                    <a:lnTo>
                      <a:pt x="100584" y="22098"/>
                    </a:lnTo>
                    <a:lnTo>
                      <a:pt x="100584" y="22098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0" name="Freihandform: Form 1509">
                <a:extLst>
                  <a:ext uri="{FF2B5EF4-FFF2-40B4-BE49-F238E27FC236}">
                    <a16:creationId xmlns:a16="http://schemas.microsoft.com/office/drawing/2014/main" id="{D3D355E5-1036-A5AE-69A7-ADDD9975B230}"/>
                  </a:ext>
                </a:extLst>
              </p:cNvPr>
              <p:cNvSpPr/>
              <p:nvPr/>
            </p:nvSpPr>
            <p:spPr>
              <a:xfrm>
                <a:off x="8983690" y="3892486"/>
                <a:ext cx="101727" cy="101726"/>
              </a:xfrm>
              <a:custGeom>
                <a:avLst/>
                <a:gdLst>
                  <a:gd name="connsiteX0" fmla="*/ 101727 w 101727"/>
                  <a:gd name="connsiteY0" fmla="*/ 0 h 101726"/>
                  <a:gd name="connsiteX1" fmla="*/ 101727 w 101727"/>
                  <a:gd name="connsiteY1" fmla="*/ 43625 h 101726"/>
                  <a:gd name="connsiteX2" fmla="*/ 0 w 101727"/>
                  <a:gd name="connsiteY2" fmla="*/ 101727 h 101726"/>
                  <a:gd name="connsiteX3" fmla="*/ 0 w 101727"/>
                  <a:gd name="connsiteY3" fmla="*/ 58102 h 101726"/>
                  <a:gd name="connsiteX4" fmla="*/ 101727 w 101727"/>
                  <a:gd name="connsiteY4" fmla="*/ 0 h 101726"/>
                  <a:gd name="connsiteX5" fmla="*/ 101727 w 101727"/>
                  <a:gd name="connsiteY5" fmla="*/ 0 h 101726"/>
                  <a:gd name="connsiteX6" fmla="*/ 101727 w 101727"/>
                  <a:gd name="connsiteY6" fmla="*/ 0 h 101726"/>
                  <a:gd name="connsiteX7" fmla="*/ 101727 w 101727"/>
                  <a:gd name="connsiteY7" fmla="*/ 0 h 101726"/>
                  <a:gd name="connsiteX8" fmla="*/ 101727 w 101727"/>
                  <a:gd name="connsiteY8" fmla="*/ 0 h 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101726">
                    <a:moveTo>
                      <a:pt x="101727" y="0"/>
                    </a:moveTo>
                    <a:lnTo>
                      <a:pt x="101727" y="43625"/>
                    </a:lnTo>
                    <a:lnTo>
                      <a:pt x="0" y="101727"/>
                    </a:lnTo>
                    <a:lnTo>
                      <a:pt x="0" y="58102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1" name="Freihandform: Form 1510">
                <a:extLst>
                  <a:ext uri="{FF2B5EF4-FFF2-40B4-BE49-F238E27FC236}">
                    <a16:creationId xmlns:a16="http://schemas.microsoft.com/office/drawing/2014/main" id="{770A06FD-757A-61ED-C882-B5034F0D1A44}"/>
                  </a:ext>
                </a:extLst>
              </p:cNvPr>
              <p:cNvSpPr/>
              <p:nvPr/>
            </p:nvSpPr>
            <p:spPr>
              <a:xfrm>
                <a:off x="8983690" y="3914203"/>
                <a:ext cx="101727" cy="80009"/>
              </a:xfrm>
              <a:custGeom>
                <a:avLst/>
                <a:gdLst>
                  <a:gd name="connsiteX0" fmla="*/ 101727 w 101727"/>
                  <a:gd name="connsiteY0" fmla="*/ 21812 h 80009"/>
                  <a:gd name="connsiteX1" fmla="*/ 63532 w 101727"/>
                  <a:gd name="connsiteY1" fmla="*/ 0 h 80009"/>
                  <a:gd name="connsiteX2" fmla="*/ 0 w 101727"/>
                  <a:gd name="connsiteY2" fmla="*/ 36385 h 80009"/>
                  <a:gd name="connsiteX3" fmla="*/ 0 w 101727"/>
                  <a:gd name="connsiteY3" fmla="*/ 80010 h 80009"/>
                  <a:gd name="connsiteX4" fmla="*/ 101727 w 101727"/>
                  <a:gd name="connsiteY4" fmla="*/ 21812 h 80009"/>
                  <a:gd name="connsiteX5" fmla="*/ 101727 w 101727"/>
                  <a:gd name="connsiteY5" fmla="*/ 21812 h 80009"/>
                  <a:gd name="connsiteX6" fmla="*/ 101727 w 101727"/>
                  <a:gd name="connsiteY6" fmla="*/ 21812 h 80009"/>
                  <a:gd name="connsiteX7" fmla="*/ 101727 w 101727"/>
                  <a:gd name="connsiteY7" fmla="*/ 21812 h 80009"/>
                  <a:gd name="connsiteX8" fmla="*/ 101727 w 101727"/>
                  <a:gd name="connsiteY8" fmla="*/ 21812 h 8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80009">
                    <a:moveTo>
                      <a:pt x="101727" y="21812"/>
                    </a:moveTo>
                    <a:lnTo>
                      <a:pt x="63532" y="0"/>
                    </a:lnTo>
                    <a:lnTo>
                      <a:pt x="0" y="36385"/>
                    </a:lnTo>
                    <a:lnTo>
                      <a:pt x="0" y="80010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2" name="Freihandform: Form 1511">
                <a:extLst>
                  <a:ext uri="{FF2B5EF4-FFF2-40B4-BE49-F238E27FC236}">
                    <a16:creationId xmlns:a16="http://schemas.microsoft.com/office/drawing/2014/main" id="{3C9CE7DF-28BD-0B01-C769-0A13BA738FBF}"/>
                  </a:ext>
                </a:extLst>
              </p:cNvPr>
              <p:cNvSpPr/>
              <p:nvPr/>
            </p:nvSpPr>
            <p:spPr>
              <a:xfrm>
                <a:off x="8870534" y="3957637"/>
                <a:ext cx="100583" cy="102870"/>
              </a:xfrm>
              <a:custGeom>
                <a:avLst/>
                <a:gdLst>
                  <a:gd name="connsiteX0" fmla="*/ 100584 w 100583"/>
                  <a:gd name="connsiteY0" fmla="*/ 0 h 102870"/>
                  <a:gd name="connsiteX1" fmla="*/ 100584 w 100583"/>
                  <a:gd name="connsiteY1" fmla="*/ 44101 h 102870"/>
                  <a:gd name="connsiteX2" fmla="*/ 0 w 100583"/>
                  <a:gd name="connsiteY2" fmla="*/ 102870 h 102870"/>
                  <a:gd name="connsiteX3" fmla="*/ 0 w 100583"/>
                  <a:gd name="connsiteY3" fmla="*/ 58769 h 102870"/>
                  <a:gd name="connsiteX4" fmla="*/ 100584 w 100583"/>
                  <a:gd name="connsiteY4" fmla="*/ 0 h 102870"/>
                  <a:gd name="connsiteX5" fmla="*/ 100584 w 100583"/>
                  <a:gd name="connsiteY5" fmla="*/ 0 h 102870"/>
                  <a:gd name="connsiteX6" fmla="*/ 100584 w 100583"/>
                  <a:gd name="connsiteY6" fmla="*/ 0 h 102870"/>
                  <a:gd name="connsiteX7" fmla="*/ 100584 w 100583"/>
                  <a:gd name="connsiteY7" fmla="*/ 0 h 102870"/>
                  <a:gd name="connsiteX8" fmla="*/ 100584 w 100583"/>
                  <a:gd name="connsiteY8" fmla="*/ 0 h 1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3" h="102870">
                    <a:moveTo>
                      <a:pt x="100584" y="0"/>
                    </a:moveTo>
                    <a:lnTo>
                      <a:pt x="100584" y="44101"/>
                    </a:lnTo>
                    <a:lnTo>
                      <a:pt x="0" y="102870"/>
                    </a:lnTo>
                    <a:lnTo>
                      <a:pt x="0" y="58769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3" name="Freihandform: Form 1512">
                <a:extLst>
                  <a:ext uri="{FF2B5EF4-FFF2-40B4-BE49-F238E27FC236}">
                    <a16:creationId xmlns:a16="http://schemas.microsoft.com/office/drawing/2014/main" id="{5D889829-A56B-F440-DA84-BBF9A5CECABD}"/>
                  </a:ext>
                </a:extLst>
              </p:cNvPr>
              <p:cNvSpPr/>
              <p:nvPr/>
            </p:nvSpPr>
            <p:spPr>
              <a:xfrm>
                <a:off x="8870534" y="3980496"/>
                <a:ext cx="100583" cy="80010"/>
              </a:xfrm>
              <a:custGeom>
                <a:avLst/>
                <a:gdLst>
                  <a:gd name="connsiteX0" fmla="*/ 100584 w 100583"/>
                  <a:gd name="connsiteY0" fmla="*/ 21812 h 80010"/>
                  <a:gd name="connsiteX1" fmla="*/ 62865 w 100583"/>
                  <a:gd name="connsiteY1" fmla="*/ 0 h 80010"/>
                  <a:gd name="connsiteX2" fmla="*/ 0 w 100583"/>
                  <a:gd name="connsiteY2" fmla="*/ 36386 h 80010"/>
                  <a:gd name="connsiteX3" fmla="*/ 0 w 100583"/>
                  <a:gd name="connsiteY3" fmla="*/ 80010 h 80010"/>
                  <a:gd name="connsiteX4" fmla="*/ 100584 w 100583"/>
                  <a:gd name="connsiteY4" fmla="*/ 21812 h 80010"/>
                  <a:gd name="connsiteX5" fmla="*/ 100584 w 100583"/>
                  <a:gd name="connsiteY5" fmla="*/ 21812 h 80010"/>
                  <a:gd name="connsiteX6" fmla="*/ 100584 w 100583"/>
                  <a:gd name="connsiteY6" fmla="*/ 21812 h 80010"/>
                  <a:gd name="connsiteX7" fmla="*/ 100584 w 100583"/>
                  <a:gd name="connsiteY7" fmla="*/ 21812 h 80010"/>
                  <a:gd name="connsiteX8" fmla="*/ 100584 w 100583"/>
                  <a:gd name="connsiteY8" fmla="*/ 21812 h 80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3" h="80010">
                    <a:moveTo>
                      <a:pt x="100584" y="21812"/>
                    </a:moveTo>
                    <a:lnTo>
                      <a:pt x="62865" y="0"/>
                    </a:lnTo>
                    <a:lnTo>
                      <a:pt x="0" y="36386"/>
                    </a:lnTo>
                    <a:lnTo>
                      <a:pt x="0" y="80010"/>
                    </a:lnTo>
                    <a:lnTo>
                      <a:pt x="100584" y="21812"/>
                    </a:lnTo>
                    <a:lnTo>
                      <a:pt x="100584" y="21812"/>
                    </a:lnTo>
                    <a:lnTo>
                      <a:pt x="100584" y="21812"/>
                    </a:lnTo>
                    <a:lnTo>
                      <a:pt x="100584" y="21812"/>
                    </a:lnTo>
                    <a:lnTo>
                      <a:pt x="100584" y="21812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4" name="Freihandform: Form 1513">
                <a:extLst>
                  <a:ext uri="{FF2B5EF4-FFF2-40B4-BE49-F238E27FC236}">
                    <a16:creationId xmlns:a16="http://schemas.microsoft.com/office/drawing/2014/main" id="{63043802-804B-40C9-AC57-344531C32850}"/>
                  </a:ext>
                </a:extLst>
              </p:cNvPr>
              <p:cNvSpPr/>
              <p:nvPr/>
            </p:nvSpPr>
            <p:spPr>
              <a:xfrm>
                <a:off x="8617550" y="4155375"/>
                <a:ext cx="11810" cy="168783"/>
              </a:xfrm>
              <a:custGeom>
                <a:avLst/>
                <a:gdLst>
                  <a:gd name="connsiteX0" fmla="*/ 11811 w 11810"/>
                  <a:gd name="connsiteY0" fmla="*/ 0 h 168783"/>
                  <a:gd name="connsiteX1" fmla="*/ 11811 w 11810"/>
                  <a:gd name="connsiteY1" fmla="*/ 168783 h 168783"/>
                  <a:gd name="connsiteX2" fmla="*/ 0 w 11810"/>
                  <a:gd name="connsiteY2" fmla="*/ 163449 h 168783"/>
                  <a:gd name="connsiteX3" fmla="*/ 0 w 11810"/>
                  <a:gd name="connsiteY3" fmla="*/ 6858 h 168783"/>
                  <a:gd name="connsiteX4" fmla="*/ 11811 w 11810"/>
                  <a:gd name="connsiteY4" fmla="*/ 0 h 168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10" h="168783">
                    <a:moveTo>
                      <a:pt x="11811" y="0"/>
                    </a:moveTo>
                    <a:lnTo>
                      <a:pt x="11811" y="168783"/>
                    </a:lnTo>
                    <a:lnTo>
                      <a:pt x="0" y="163449"/>
                    </a:lnTo>
                    <a:lnTo>
                      <a:pt x="0" y="6858"/>
                    </a:lnTo>
                    <a:lnTo>
                      <a:pt x="11811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5" name="Freihandform: Form 1514">
                <a:extLst>
                  <a:ext uri="{FF2B5EF4-FFF2-40B4-BE49-F238E27FC236}">
                    <a16:creationId xmlns:a16="http://schemas.microsoft.com/office/drawing/2014/main" id="{B71CCB6E-9247-73CA-4F4C-4268D612FCA5}"/>
                  </a:ext>
                </a:extLst>
              </p:cNvPr>
              <p:cNvSpPr/>
              <p:nvPr/>
            </p:nvSpPr>
            <p:spPr>
              <a:xfrm>
                <a:off x="8527633" y="4162233"/>
                <a:ext cx="89916" cy="208407"/>
              </a:xfrm>
              <a:custGeom>
                <a:avLst/>
                <a:gdLst>
                  <a:gd name="connsiteX0" fmla="*/ 89916 w 89916"/>
                  <a:gd name="connsiteY0" fmla="*/ 0 h 208407"/>
                  <a:gd name="connsiteX1" fmla="*/ 89916 w 89916"/>
                  <a:gd name="connsiteY1" fmla="*/ 156591 h 208407"/>
                  <a:gd name="connsiteX2" fmla="*/ 0 w 89916"/>
                  <a:gd name="connsiteY2" fmla="*/ 208407 h 208407"/>
                  <a:gd name="connsiteX3" fmla="*/ 0 w 89916"/>
                  <a:gd name="connsiteY3" fmla="*/ 51816 h 208407"/>
                  <a:gd name="connsiteX4" fmla="*/ 89916 w 89916"/>
                  <a:gd name="connsiteY4" fmla="*/ 0 h 20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916" h="208407">
                    <a:moveTo>
                      <a:pt x="89916" y="0"/>
                    </a:moveTo>
                    <a:lnTo>
                      <a:pt x="89916" y="156591"/>
                    </a:lnTo>
                    <a:lnTo>
                      <a:pt x="0" y="208407"/>
                    </a:lnTo>
                    <a:lnTo>
                      <a:pt x="0" y="51816"/>
                    </a:lnTo>
                    <a:lnTo>
                      <a:pt x="89916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55" name="Grafik 20">
              <a:extLst>
                <a:ext uri="{FF2B5EF4-FFF2-40B4-BE49-F238E27FC236}">
                  <a16:creationId xmlns:a16="http://schemas.microsoft.com/office/drawing/2014/main" id="{025542F1-07A6-618B-92B1-D48E40792F62}"/>
                </a:ext>
              </a:extLst>
            </p:cNvPr>
            <p:cNvGrpSpPr/>
            <p:nvPr/>
          </p:nvGrpSpPr>
          <p:grpSpPr>
            <a:xfrm>
              <a:off x="605375" y="3459848"/>
              <a:ext cx="450149" cy="689914"/>
              <a:chOff x="7347308" y="3016508"/>
              <a:chExt cx="450149" cy="689914"/>
            </a:xfrm>
          </p:grpSpPr>
          <p:sp>
            <p:nvSpPr>
              <p:cNvPr id="1463" name="Freihandform: Form 1462">
                <a:extLst>
                  <a:ext uri="{FF2B5EF4-FFF2-40B4-BE49-F238E27FC236}">
                    <a16:creationId xmlns:a16="http://schemas.microsoft.com/office/drawing/2014/main" id="{DC76B1C5-C8C7-4B98-FA59-FC2997EB9900}"/>
                  </a:ext>
                </a:extLst>
              </p:cNvPr>
              <p:cNvSpPr/>
              <p:nvPr/>
            </p:nvSpPr>
            <p:spPr>
              <a:xfrm>
                <a:off x="7347308" y="3394795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14 h 259895"/>
                  <a:gd name="connsiteX1" fmla="*/ 28 w 450149"/>
                  <a:gd name="connsiteY1" fmla="*/ 130158 h 259895"/>
                  <a:gd name="connsiteX2" fmla="*/ 224754 w 450149"/>
                  <a:gd name="connsiteY2" fmla="*/ 218 h 259895"/>
                  <a:gd name="connsiteX3" fmla="*/ 450178 w 450149"/>
                  <a:gd name="connsiteY3" fmla="*/ 130158 h 259895"/>
                  <a:gd name="connsiteX4" fmla="*/ 224754 w 450149"/>
                  <a:gd name="connsiteY4" fmla="*/ 260114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14"/>
                    </a:moveTo>
                    <a:lnTo>
                      <a:pt x="28" y="130158"/>
                    </a:lnTo>
                    <a:lnTo>
                      <a:pt x="224754" y="218"/>
                    </a:lnTo>
                    <a:lnTo>
                      <a:pt x="450178" y="130158"/>
                    </a:lnTo>
                    <a:lnTo>
                      <a:pt x="224754" y="260114"/>
                    </a:lnTo>
                    <a:close/>
                  </a:path>
                </a:pathLst>
              </a:custGeom>
              <a:solidFill>
                <a:srgbClr val="DFDFD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4" name="Freihandform: Form 1463">
                <a:extLst>
                  <a:ext uri="{FF2B5EF4-FFF2-40B4-BE49-F238E27FC236}">
                    <a16:creationId xmlns:a16="http://schemas.microsoft.com/office/drawing/2014/main" id="{BF78B026-635B-08CB-7B18-ECA6A87A5BBD}"/>
                  </a:ext>
                </a:extLst>
              </p:cNvPr>
              <p:cNvSpPr/>
              <p:nvPr/>
            </p:nvSpPr>
            <p:spPr>
              <a:xfrm>
                <a:off x="7347308" y="3343063"/>
                <a:ext cx="450149" cy="259911"/>
              </a:xfrm>
              <a:custGeom>
                <a:avLst/>
                <a:gdLst>
                  <a:gd name="connsiteX0" fmla="*/ 224754 w 450149"/>
                  <a:gd name="connsiteY0" fmla="*/ 260140 h 259911"/>
                  <a:gd name="connsiteX1" fmla="*/ 28 w 450149"/>
                  <a:gd name="connsiteY1" fmla="*/ 130184 h 259911"/>
                  <a:gd name="connsiteX2" fmla="*/ 224754 w 450149"/>
                  <a:gd name="connsiteY2" fmla="*/ 229 h 259911"/>
                  <a:gd name="connsiteX3" fmla="*/ 450178 w 450149"/>
                  <a:gd name="connsiteY3" fmla="*/ 130184 h 259911"/>
                  <a:gd name="connsiteX4" fmla="*/ 224754 w 450149"/>
                  <a:gd name="connsiteY4" fmla="*/ 260140 h 259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911">
                    <a:moveTo>
                      <a:pt x="224754" y="260140"/>
                    </a:moveTo>
                    <a:lnTo>
                      <a:pt x="28" y="130184"/>
                    </a:lnTo>
                    <a:lnTo>
                      <a:pt x="224754" y="229"/>
                    </a:lnTo>
                    <a:lnTo>
                      <a:pt x="450178" y="130184"/>
                    </a:lnTo>
                    <a:lnTo>
                      <a:pt x="224754" y="260140"/>
                    </a:lnTo>
                    <a:close/>
                  </a:path>
                </a:pathLst>
              </a:custGeom>
              <a:solidFill>
                <a:srgbClr val="FFFFFF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5" name="Freihandform: Form 1464">
                <a:extLst>
                  <a:ext uri="{FF2B5EF4-FFF2-40B4-BE49-F238E27FC236}">
                    <a16:creationId xmlns:a16="http://schemas.microsoft.com/office/drawing/2014/main" id="{87C0E4AC-AABC-0F62-F3C3-DD23E75D7E01}"/>
                  </a:ext>
                </a:extLst>
              </p:cNvPr>
              <p:cNvSpPr/>
              <p:nvPr/>
            </p:nvSpPr>
            <p:spPr>
              <a:xfrm>
                <a:off x="7572034" y="3473019"/>
                <a:ext cx="225423" cy="181671"/>
              </a:xfrm>
              <a:custGeom>
                <a:avLst/>
                <a:gdLst>
                  <a:gd name="connsiteX0" fmla="*/ 7 w 225423"/>
                  <a:gd name="connsiteY0" fmla="*/ 181883 h 181671"/>
                  <a:gd name="connsiteX1" fmla="*/ 7 w 225423"/>
                  <a:gd name="connsiteY1" fmla="*/ 130167 h 181671"/>
                  <a:gd name="connsiteX2" fmla="*/ 225430 w 225423"/>
                  <a:gd name="connsiteY2" fmla="*/ 211 h 181671"/>
                  <a:gd name="connsiteX3" fmla="*/ 225430 w 225423"/>
                  <a:gd name="connsiteY3" fmla="*/ 51927 h 181671"/>
                  <a:gd name="connsiteX4" fmla="*/ 7 w 225423"/>
                  <a:gd name="connsiteY4" fmla="*/ 181883 h 181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423" h="181671">
                    <a:moveTo>
                      <a:pt x="7" y="181883"/>
                    </a:moveTo>
                    <a:lnTo>
                      <a:pt x="7" y="130167"/>
                    </a:lnTo>
                    <a:lnTo>
                      <a:pt x="225430" y="211"/>
                    </a:lnTo>
                    <a:lnTo>
                      <a:pt x="225430" y="51927"/>
                    </a:lnTo>
                    <a:lnTo>
                      <a:pt x="7" y="181883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6" name="Freihandform: Form 1465">
                <a:extLst>
                  <a:ext uri="{FF2B5EF4-FFF2-40B4-BE49-F238E27FC236}">
                    <a16:creationId xmlns:a16="http://schemas.microsoft.com/office/drawing/2014/main" id="{66B1B0A9-2FDD-541D-20BC-0BFA4F10A0AC}"/>
                  </a:ext>
                </a:extLst>
              </p:cNvPr>
              <p:cNvSpPr/>
              <p:nvPr/>
            </p:nvSpPr>
            <p:spPr>
              <a:xfrm>
                <a:off x="7347308" y="3304276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32 h 259895"/>
                  <a:gd name="connsiteX1" fmla="*/ 28 w 450149"/>
                  <a:gd name="connsiteY1" fmla="*/ 130176 h 259895"/>
                  <a:gd name="connsiteX2" fmla="*/ 224754 w 450149"/>
                  <a:gd name="connsiteY2" fmla="*/ 236 h 259895"/>
                  <a:gd name="connsiteX3" fmla="*/ 450178 w 450149"/>
                  <a:gd name="connsiteY3" fmla="*/ 130176 h 259895"/>
                  <a:gd name="connsiteX4" fmla="*/ 224754 w 450149"/>
                  <a:gd name="connsiteY4" fmla="*/ 260132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32"/>
                    </a:moveTo>
                    <a:lnTo>
                      <a:pt x="28" y="130176"/>
                    </a:lnTo>
                    <a:lnTo>
                      <a:pt x="224754" y="236"/>
                    </a:lnTo>
                    <a:lnTo>
                      <a:pt x="450178" y="130176"/>
                    </a:lnTo>
                    <a:lnTo>
                      <a:pt x="224754" y="260132"/>
                    </a:lnTo>
                    <a:close/>
                  </a:path>
                </a:pathLst>
              </a:custGeom>
              <a:solidFill>
                <a:srgbClr val="DFDFD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7" name="Freihandform: Form 1466">
                <a:extLst>
                  <a:ext uri="{FF2B5EF4-FFF2-40B4-BE49-F238E27FC236}">
                    <a16:creationId xmlns:a16="http://schemas.microsoft.com/office/drawing/2014/main" id="{47ABE1A7-4881-E7A0-20C0-D288C7623359}"/>
                  </a:ext>
                </a:extLst>
              </p:cNvPr>
              <p:cNvSpPr/>
              <p:nvPr/>
            </p:nvSpPr>
            <p:spPr>
              <a:xfrm>
                <a:off x="7347308" y="3252545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42 h 259895"/>
                  <a:gd name="connsiteX1" fmla="*/ 28 w 450149"/>
                  <a:gd name="connsiteY1" fmla="*/ 130202 h 259895"/>
                  <a:gd name="connsiteX2" fmla="*/ 224754 w 450149"/>
                  <a:gd name="connsiteY2" fmla="*/ 246 h 259895"/>
                  <a:gd name="connsiteX3" fmla="*/ 450178 w 450149"/>
                  <a:gd name="connsiteY3" fmla="*/ 130202 h 259895"/>
                  <a:gd name="connsiteX4" fmla="*/ 224754 w 450149"/>
                  <a:gd name="connsiteY4" fmla="*/ 260142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42"/>
                    </a:moveTo>
                    <a:lnTo>
                      <a:pt x="28" y="130202"/>
                    </a:lnTo>
                    <a:lnTo>
                      <a:pt x="224754" y="246"/>
                    </a:lnTo>
                    <a:lnTo>
                      <a:pt x="450178" y="130202"/>
                    </a:lnTo>
                    <a:lnTo>
                      <a:pt x="224754" y="260142"/>
                    </a:lnTo>
                    <a:close/>
                  </a:path>
                </a:pathLst>
              </a:custGeom>
              <a:solidFill>
                <a:srgbClr val="FFFFFF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8" name="Freihandform: Form 1467">
                <a:extLst>
                  <a:ext uri="{FF2B5EF4-FFF2-40B4-BE49-F238E27FC236}">
                    <a16:creationId xmlns:a16="http://schemas.microsoft.com/office/drawing/2014/main" id="{56EF8482-76A4-CFB6-8CC1-94374F7BDC73}"/>
                  </a:ext>
                </a:extLst>
              </p:cNvPr>
              <p:cNvSpPr/>
              <p:nvPr/>
            </p:nvSpPr>
            <p:spPr>
              <a:xfrm>
                <a:off x="7572034" y="3382501"/>
                <a:ext cx="225423" cy="181671"/>
              </a:xfrm>
              <a:custGeom>
                <a:avLst/>
                <a:gdLst>
                  <a:gd name="connsiteX0" fmla="*/ 7 w 225423"/>
                  <a:gd name="connsiteY0" fmla="*/ 181900 h 181671"/>
                  <a:gd name="connsiteX1" fmla="*/ 7 w 225423"/>
                  <a:gd name="connsiteY1" fmla="*/ 130168 h 181671"/>
                  <a:gd name="connsiteX2" fmla="*/ 225430 w 225423"/>
                  <a:gd name="connsiteY2" fmla="*/ 228 h 181671"/>
                  <a:gd name="connsiteX3" fmla="*/ 225430 w 225423"/>
                  <a:gd name="connsiteY3" fmla="*/ 51944 h 181671"/>
                  <a:gd name="connsiteX4" fmla="*/ 7 w 225423"/>
                  <a:gd name="connsiteY4" fmla="*/ 181900 h 181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423" h="181671">
                    <a:moveTo>
                      <a:pt x="7" y="181900"/>
                    </a:moveTo>
                    <a:lnTo>
                      <a:pt x="7" y="130168"/>
                    </a:lnTo>
                    <a:lnTo>
                      <a:pt x="225430" y="228"/>
                    </a:lnTo>
                    <a:lnTo>
                      <a:pt x="225430" y="51944"/>
                    </a:lnTo>
                    <a:lnTo>
                      <a:pt x="7" y="181900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9" name="Freihandform: Form 1468">
                <a:extLst>
                  <a:ext uri="{FF2B5EF4-FFF2-40B4-BE49-F238E27FC236}">
                    <a16:creationId xmlns:a16="http://schemas.microsoft.com/office/drawing/2014/main" id="{7B6032B2-264F-595B-2C06-D610427CA190}"/>
                  </a:ext>
                </a:extLst>
              </p:cNvPr>
              <p:cNvSpPr/>
              <p:nvPr/>
            </p:nvSpPr>
            <p:spPr>
              <a:xfrm>
                <a:off x="7347308" y="3213758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50 h 259895"/>
                  <a:gd name="connsiteX1" fmla="*/ 28 w 450149"/>
                  <a:gd name="connsiteY1" fmla="*/ 130194 h 259895"/>
                  <a:gd name="connsiteX2" fmla="*/ 224754 w 450149"/>
                  <a:gd name="connsiteY2" fmla="*/ 254 h 259895"/>
                  <a:gd name="connsiteX3" fmla="*/ 450178 w 450149"/>
                  <a:gd name="connsiteY3" fmla="*/ 130210 h 259895"/>
                  <a:gd name="connsiteX4" fmla="*/ 224754 w 450149"/>
                  <a:gd name="connsiteY4" fmla="*/ 260150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50"/>
                    </a:moveTo>
                    <a:lnTo>
                      <a:pt x="28" y="130194"/>
                    </a:lnTo>
                    <a:lnTo>
                      <a:pt x="224754" y="254"/>
                    </a:lnTo>
                    <a:lnTo>
                      <a:pt x="450178" y="130210"/>
                    </a:lnTo>
                    <a:lnTo>
                      <a:pt x="224754" y="260150"/>
                    </a:lnTo>
                    <a:close/>
                  </a:path>
                </a:pathLst>
              </a:custGeom>
              <a:solidFill>
                <a:srgbClr val="DFDFD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0" name="Freihandform: Form 1469">
                <a:extLst>
                  <a:ext uri="{FF2B5EF4-FFF2-40B4-BE49-F238E27FC236}">
                    <a16:creationId xmlns:a16="http://schemas.microsoft.com/office/drawing/2014/main" id="{9163C4D4-041D-C6A0-39EE-95E511C9F5E8}"/>
                  </a:ext>
                </a:extLst>
              </p:cNvPr>
              <p:cNvSpPr/>
              <p:nvPr/>
            </p:nvSpPr>
            <p:spPr>
              <a:xfrm>
                <a:off x="7572034" y="3291982"/>
                <a:ext cx="225423" cy="181671"/>
              </a:xfrm>
              <a:custGeom>
                <a:avLst/>
                <a:gdLst>
                  <a:gd name="connsiteX0" fmla="*/ 7 w 225423"/>
                  <a:gd name="connsiteY0" fmla="*/ 181918 h 181671"/>
                  <a:gd name="connsiteX1" fmla="*/ 7 w 225423"/>
                  <a:gd name="connsiteY1" fmla="*/ 130186 h 181671"/>
                  <a:gd name="connsiteX2" fmla="*/ 225430 w 225423"/>
                  <a:gd name="connsiteY2" fmla="*/ 246 h 181671"/>
                  <a:gd name="connsiteX3" fmla="*/ 225430 w 225423"/>
                  <a:gd name="connsiteY3" fmla="*/ 51978 h 181671"/>
                  <a:gd name="connsiteX4" fmla="*/ 7 w 225423"/>
                  <a:gd name="connsiteY4" fmla="*/ 181918 h 181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423" h="181671">
                    <a:moveTo>
                      <a:pt x="7" y="181918"/>
                    </a:moveTo>
                    <a:lnTo>
                      <a:pt x="7" y="130186"/>
                    </a:lnTo>
                    <a:lnTo>
                      <a:pt x="225430" y="246"/>
                    </a:lnTo>
                    <a:lnTo>
                      <a:pt x="225430" y="51978"/>
                    </a:lnTo>
                    <a:lnTo>
                      <a:pt x="7" y="181918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1" name="Freihandform: Form 1470">
                <a:extLst>
                  <a:ext uri="{FF2B5EF4-FFF2-40B4-BE49-F238E27FC236}">
                    <a16:creationId xmlns:a16="http://schemas.microsoft.com/office/drawing/2014/main" id="{30FB480C-9F5B-3DA1-DDB6-2C81BBEC9329}"/>
                  </a:ext>
                </a:extLst>
              </p:cNvPr>
              <p:cNvSpPr/>
              <p:nvPr/>
            </p:nvSpPr>
            <p:spPr>
              <a:xfrm>
                <a:off x="7347308" y="3162026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60 h 259895"/>
                  <a:gd name="connsiteX1" fmla="*/ 28 w 450149"/>
                  <a:gd name="connsiteY1" fmla="*/ 130204 h 259895"/>
                  <a:gd name="connsiteX2" fmla="*/ 224754 w 450149"/>
                  <a:gd name="connsiteY2" fmla="*/ 264 h 259895"/>
                  <a:gd name="connsiteX3" fmla="*/ 450178 w 450149"/>
                  <a:gd name="connsiteY3" fmla="*/ 130220 h 259895"/>
                  <a:gd name="connsiteX4" fmla="*/ 224754 w 450149"/>
                  <a:gd name="connsiteY4" fmla="*/ 260160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60"/>
                    </a:moveTo>
                    <a:lnTo>
                      <a:pt x="28" y="130204"/>
                    </a:lnTo>
                    <a:lnTo>
                      <a:pt x="224754" y="264"/>
                    </a:lnTo>
                    <a:lnTo>
                      <a:pt x="450178" y="130220"/>
                    </a:lnTo>
                    <a:lnTo>
                      <a:pt x="224754" y="260160"/>
                    </a:lnTo>
                    <a:close/>
                  </a:path>
                </a:pathLst>
              </a:custGeom>
              <a:solidFill>
                <a:srgbClr val="FFFFFF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2" name="Freihandform: Form 1471">
                <a:extLst>
                  <a:ext uri="{FF2B5EF4-FFF2-40B4-BE49-F238E27FC236}">
                    <a16:creationId xmlns:a16="http://schemas.microsoft.com/office/drawing/2014/main" id="{D0A65F04-2D52-B33F-F087-30E4F7F3983E}"/>
                  </a:ext>
                </a:extLst>
              </p:cNvPr>
              <p:cNvSpPr/>
              <p:nvPr/>
            </p:nvSpPr>
            <p:spPr>
              <a:xfrm>
                <a:off x="7347308" y="3123239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67 h 259895"/>
                  <a:gd name="connsiteX1" fmla="*/ 28 w 450149"/>
                  <a:gd name="connsiteY1" fmla="*/ 130212 h 259895"/>
                  <a:gd name="connsiteX2" fmla="*/ 224754 w 450149"/>
                  <a:gd name="connsiteY2" fmla="*/ 272 h 259895"/>
                  <a:gd name="connsiteX3" fmla="*/ 450178 w 450149"/>
                  <a:gd name="connsiteY3" fmla="*/ 130212 h 259895"/>
                  <a:gd name="connsiteX4" fmla="*/ 224754 w 450149"/>
                  <a:gd name="connsiteY4" fmla="*/ 260167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67"/>
                    </a:moveTo>
                    <a:lnTo>
                      <a:pt x="28" y="130212"/>
                    </a:lnTo>
                    <a:lnTo>
                      <a:pt x="224754" y="272"/>
                    </a:lnTo>
                    <a:lnTo>
                      <a:pt x="450178" y="130212"/>
                    </a:lnTo>
                    <a:lnTo>
                      <a:pt x="224754" y="260167"/>
                    </a:lnTo>
                    <a:close/>
                  </a:path>
                </a:pathLst>
              </a:custGeom>
              <a:solidFill>
                <a:srgbClr val="DFDFD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3" name="Freihandform: Form 1472">
                <a:extLst>
                  <a:ext uri="{FF2B5EF4-FFF2-40B4-BE49-F238E27FC236}">
                    <a16:creationId xmlns:a16="http://schemas.microsoft.com/office/drawing/2014/main" id="{2B23A145-2810-3A56-6E62-D7F05723B306}"/>
                  </a:ext>
                </a:extLst>
              </p:cNvPr>
              <p:cNvSpPr/>
              <p:nvPr/>
            </p:nvSpPr>
            <p:spPr>
              <a:xfrm>
                <a:off x="7572034" y="3201448"/>
                <a:ext cx="225423" cy="181687"/>
              </a:xfrm>
              <a:custGeom>
                <a:avLst/>
                <a:gdLst>
                  <a:gd name="connsiteX0" fmla="*/ 7 w 225423"/>
                  <a:gd name="connsiteY0" fmla="*/ 181951 h 181687"/>
                  <a:gd name="connsiteX1" fmla="*/ 7 w 225423"/>
                  <a:gd name="connsiteY1" fmla="*/ 130220 h 181687"/>
                  <a:gd name="connsiteX2" fmla="*/ 225430 w 225423"/>
                  <a:gd name="connsiteY2" fmla="*/ 264 h 181687"/>
                  <a:gd name="connsiteX3" fmla="*/ 225430 w 225423"/>
                  <a:gd name="connsiteY3" fmla="*/ 51996 h 181687"/>
                  <a:gd name="connsiteX4" fmla="*/ 7 w 225423"/>
                  <a:gd name="connsiteY4" fmla="*/ 181951 h 181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423" h="181687">
                    <a:moveTo>
                      <a:pt x="7" y="181951"/>
                    </a:moveTo>
                    <a:lnTo>
                      <a:pt x="7" y="130220"/>
                    </a:lnTo>
                    <a:lnTo>
                      <a:pt x="225430" y="264"/>
                    </a:lnTo>
                    <a:lnTo>
                      <a:pt x="225430" y="51996"/>
                    </a:lnTo>
                    <a:lnTo>
                      <a:pt x="7" y="181951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4" name="Freihandform: Form 1473">
                <a:extLst>
                  <a:ext uri="{FF2B5EF4-FFF2-40B4-BE49-F238E27FC236}">
                    <a16:creationId xmlns:a16="http://schemas.microsoft.com/office/drawing/2014/main" id="{F32E3BCD-A9ED-D2FC-090E-7DEF118DD162}"/>
                  </a:ext>
                </a:extLst>
              </p:cNvPr>
              <p:cNvSpPr/>
              <p:nvPr/>
            </p:nvSpPr>
            <p:spPr>
              <a:xfrm>
                <a:off x="7347308" y="3071508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78 h 259895"/>
                  <a:gd name="connsiteX1" fmla="*/ 28 w 450149"/>
                  <a:gd name="connsiteY1" fmla="*/ 130222 h 259895"/>
                  <a:gd name="connsiteX2" fmla="*/ 224754 w 450149"/>
                  <a:gd name="connsiteY2" fmla="*/ 282 h 259895"/>
                  <a:gd name="connsiteX3" fmla="*/ 450178 w 450149"/>
                  <a:gd name="connsiteY3" fmla="*/ 130222 h 259895"/>
                  <a:gd name="connsiteX4" fmla="*/ 224754 w 450149"/>
                  <a:gd name="connsiteY4" fmla="*/ 260178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78"/>
                    </a:moveTo>
                    <a:lnTo>
                      <a:pt x="28" y="130222"/>
                    </a:lnTo>
                    <a:lnTo>
                      <a:pt x="224754" y="282"/>
                    </a:lnTo>
                    <a:lnTo>
                      <a:pt x="450178" y="130222"/>
                    </a:lnTo>
                    <a:lnTo>
                      <a:pt x="224754" y="260178"/>
                    </a:lnTo>
                    <a:close/>
                  </a:path>
                </a:pathLst>
              </a:custGeom>
              <a:solidFill>
                <a:srgbClr val="FFFFFF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5" name="Freihandform: Form 1474">
                <a:extLst>
                  <a:ext uri="{FF2B5EF4-FFF2-40B4-BE49-F238E27FC236}">
                    <a16:creationId xmlns:a16="http://schemas.microsoft.com/office/drawing/2014/main" id="{23538036-1925-9656-8AEA-2EB77BFE9C3A}"/>
                  </a:ext>
                </a:extLst>
              </p:cNvPr>
              <p:cNvSpPr/>
              <p:nvPr/>
            </p:nvSpPr>
            <p:spPr>
              <a:xfrm>
                <a:off x="7347308" y="3032705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85 h 259895"/>
                  <a:gd name="connsiteX1" fmla="*/ 28 w 450149"/>
                  <a:gd name="connsiteY1" fmla="*/ 130245 h 259895"/>
                  <a:gd name="connsiteX2" fmla="*/ 224754 w 450149"/>
                  <a:gd name="connsiteY2" fmla="*/ 289 h 259895"/>
                  <a:gd name="connsiteX3" fmla="*/ 450178 w 450149"/>
                  <a:gd name="connsiteY3" fmla="*/ 130245 h 259895"/>
                  <a:gd name="connsiteX4" fmla="*/ 224754 w 450149"/>
                  <a:gd name="connsiteY4" fmla="*/ 260185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85"/>
                    </a:moveTo>
                    <a:lnTo>
                      <a:pt x="28" y="130245"/>
                    </a:lnTo>
                    <a:lnTo>
                      <a:pt x="224754" y="289"/>
                    </a:lnTo>
                    <a:lnTo>
                      <a:pt x="450178" y="130245"/>
                    </a:lnTo>
                    <a:lnTo>
                      <a:pt x="224754" y="260185"/>
                    </a:lnTo>
                    <a:close/>
                  </a:path>
                </a:pathLst>
              </a:custGeom>
              <a:solidFill>
                <a:srgbClr val="DFDFD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6" name="Freihandform: Form 1475">
                <a:extLst>
                  <a:ext uri="{FF2B5EF4-FFF2-40B4-BE49-F238E27FC236}">
                    <a16:creationId xmlns:a16="http://schemas.microsoft.com/office/drawing/2014/main" id="{E607DA12-F147-1A68-D630-21DAD5C00288}"/>
                  </a:ext>
                </a:extLst>
              </p:cNvPr>
              <p:cNvSpPr/>
              <p:nvPr/>
            </p:nvSpPr>
            <p:spPr>
              <a:xfrm>
                <a:off x="7347308" y="3146448"/>
                <a:ext cx="224725" cy="559974"/>
              </a:xfrm>
              <a:custGeom>
                <a:avLst/>
                <a:gdLst>
                  <a:gd name="connsiteX0" fmla="*/ 224776 w 224725"/>
                  <a:gd name="connsiteY0" fmla="*/ 560212 h 559974"/>
                  <a:gd name="connsiteX1" fmla="*/ 50 w 224725"/>
                  <a:gd name="connsiteY1" fmla="*/ 430256 h 559974"/>
                  <a:gd name="connsiteX2" fmla="*/ 50 w 224725"/>
                  <a:gd name="connsiteY2" fmla="*/ 238 h 559974"/>
                  <a:gd name="connsiteX3" fmla="*/ 224776 w 224725"/>
                  <a:gd name="connsiteY3" fmla="*/ 130194 h 559974"/>
                  <a:gd name="connsiteX4" fmla="*/ 224776 w 224725"/>
                  <a:gd name="connsiteY4" fmla="*/ 560212 h 559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725" h="559974">
                    <a:moveTo>
                      <a:pt x="224776" y="560212"/>
                    </a:moveTo>
                    <a:lnTo>
                      <a:pt x="50" y="430256"/>
                    </a:lnTo>
                    <a:lnTo>
                      <a:pt x="50" y="238"/>
                    </a:lnTo>
                    <a:lnTo>
                      <a:pt x="224776" y="130194"/>
                    </a:lnTo>
                    <a:lnTo>
                      <a:pt x="224776" y="560212"/>
                    </a:lnTo>
                    <a:close/>
                  </a:path>
                </a:pathLst>
              </a:custGeom>
              <a:solidFill>
                <a:srgbClr val="9999A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7" name="Freihandform: Form 1476">
                <a:extLst>
                  <a:ext uri="{FF2B5EF4-FFF2-40B4-BE49-F238E27FC236}">
                    <a16:creationId xmlns:a16="http://schemas.microsoft.com/office/drawing/2014/main" id="{0D024F6C-A688-FD6E-DFDC-60B307A0E174}"/>
                  </a:ext>
                </a:extLst>
              </p:cNvPr>
              <p:cNvSpPr/>
              <p:nvPr/>
            </p:nvSpPr>
            <p:spPr>
              <a:xfrm>
                <a:off x="7572034" y="3146464"/>
                <a:ext cx="225423" cy="559958"/>
              </a:xfrm>
              <a:custGeom>
                <a:avLst/>
                <a:gdLst>
                  <a:gd name="connsiteX0" fmla="*/ 225430 w 225423"/>
                  <a:gd name="connsiteY0" fmla="*/ 238 h 559958"/>
                  <a:gd name="connsiteX1" fmla="*/ 225430 w 225423"/>
                  <a:gd name="connsiteY1" fmla="*/ 55221 h 559958"/>
                  <a:gd name="connsiteX2" fmla="*/ 7 w 225423"/>
                  <a:gd name="connsiteY2" fmla="*/ 185177 h 559958"/>
                  <a:gd name="connsiteX3" fmla="*/ 7 w 225423"/>
                  <a:gd name="connsiteY3" fmla="*/ 236909 h 559958"/>
                  <a:gd name="connsiteX4" fmla="*/ 225430 w 225423"/>
                  <a:gd name="connsiteY4" fmla="*/ 106953 h 559958"/>
                  <a:gd name="connsiteX5" fmla="*/ 225430 w 225423"/>
                  <a:gd name="connsiteY5" fmla="*/ 145756 h 559958"/>
                  <a:gd name="connsiteX6" fmla="*/ 7 w 225423"/>
                  <a:gd name="connsiteY6" fmla="*/ 275696 h 559958"/>
                  <a:gd name="connsiteX7" fmla="*/ 7 w 225423"/>
                  <a:gd name="connsiteY7" fmla="*/ 327428 h 559958"/>
                  <a:gd name="connsiteX8" fmla="*/ 225430 w 225423"/>
                  <a:gd name="connsiteY8" fmla="*/ 197488 h 559958"/>
                  <a:gd name="connsiteX9" fmla="*/ 225430 w 225423"/>
                  <a:gd name="connsiteY9" fmla="*/ 236274 h 559958"/>
                  <a:gd name="connsiteX10" fmla="*/ 7 w 225423"/>
                  <a:gd name="connsiteY10" fmla="*/ 366214 h 559958"/>
                  <a:gd name="connsiteX11" fmla="*/ 7 w 225423"/>
                  <a:gd name="connsiteY11" fmla="*/ 417946 h 559958"/>
                  <a:gd name="connsiteX12" fmla="*/ 225430 w 225423"/>
                  <a:gd name="connsiteY12" fmla="*/ 287990 h 559958"/>
                  <a:gd name="connsiteX13" fmla="*/ 225430 w 225423"/>
                  <a:gd name="connsiteY13" fmla="*/ 326793 h 559958"/>
                  <a:gd name="connsiteX14" fmla="*/ 7 w 225423"/>
                  <a:gd name="connsiteY14" fmla="*/ 456749 h 559958"/>
                  <a:gd name="connsiteX15" fmla="*/ 7 w 225423"/>
                  <a:gd name="connsiteY15" fmla="*/ 508465 h 559958"/>
                  <a:gd name="connsiteX16" fmla="*/ 225430 w 225423"/>
                  <a:gd name="connsiteY16" fmla="*/ 378509 h 559958"/>
                  <a:gd name="connsiteX17" fmla="*/ 225430 w 225423"/>
                  <a:gd name="connsiteY17" fmla="*/ 430256 h 559958"/>
                  <a:gd name="connsiteX18" fmla="*/ 7 w 225423"/>
                  <a:gd name="connsiteY18" fmla="*/ 560196 h 559958"/>
                  <a:gd name="connsiteX19" fmla="*/ 7 w 225423"/>
                  <a:gd name="connsiteY19" fmla="*/ 130178 h 559958"/>
                  <a:gd name="connsiteX20" fmla="*/ 225430 w 225423"/>
                  <a:gd name="connsiteY20" fmla="*/ 238 h 559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25423" h="559958">
                    <a:moveTo>
                      <a:pt x="225430" y="238"/>
                    </a:moveTo>
                    <a:lnTo>
                      <a:pt x="225430" y="55221"/>
                    </a:lnTo>
                    <a:lnTo>
                      <a:pt x="7" y="185177"/>
                    </a:lnTo>
                    <a:lnTo>
                      <a:pt x="7" y="236909"/>
                    </a:lnTo>
                    <a:lnTo>
                      <a:pt x="225430" y="106953"/>
                    </a:lnTo>
                    <a:lnTo>
                      <a:pt x="225430" y="145756"/>
                    </a:lnTo>
                    <a:lnTo>
                      <a:pt x="7" y="275696"/>
                    </a:lnTo>
                    <a:lnTo>
                      <a:pt x="7" y="327428"/>
                    </a:lnTo>
                    <a:lnTo>
                      <a:pt x="225430" y="197488"/>
                    </a:lnTo>
                    <a:lnTo>
                      <a:pt x="225430" y="236274"/>
                    </a:lnTo>
                    <a:lnTo>
                      <a:pt x="7" y="366214"/>
                    </a:lnTo>
                    <a:lnTo>
                      <a:pt x="7" y="417946"/>
                    </a:lnTo>
                    <a:lnTo>
                      <a:pt x="225430" y="287990"/>
                    </a:lnTo>
                    <a:lnTo>
                      <a:pt x="225430" y="326793"/>
                    </a:lnTo>
                    <a:lnTo>
                      <a:pt x="7" y="456749"/>
                    </a:lnTo>
                    <a:lnTo>
                      <a:pt x="7" y="508465"/>
                    </a:lnTo>
                    <a:lnTo>
                      <a:pt x="225430" y="378509"/>
                    </a:lnTo>
                    <a:lnTo>
                      <a:pt x="225430" y="430256"/>
                    </a:lnTo>
                    <a:lnTo>
                      <a:pt x="7" y="560196"/>
                    </a:lnTo>
                    <a:lnTo>
                      <a:pt x="7" y="130178"/>
                    </a:lnTo>
                    <a:lnTo>
                      <a:pt x="225430" y="238"/>
                    </a:lnTo>
                    <a:close/>
                  </a:path>
                </a:pathLst>
              </a:custGeom>
              <a:solidFill>
                <a:srgbClr val="E5E5E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8" name="Freihandform: Form 1477">
                <a:extLst>
                  <a:ext uri="{FF2B5EF4-FFF2-40B4-BE49-F238E27FC236}">
                    <a16:creationId xmlns:a16="http://schemas.microsoft.com/office/drawing/2014/main" id="{95535E36-47BE-70FC-255F-C92FF3A8A5C9}"/>
                  </a:ext>
                </a:extLst>
              </p:cNvPr>
              <p:cNvSpPr/>
              <p:nvPr/>
            </p:nvSpPr>
            <p:spPr>
              <a:xfrm>
                <a:off x="7347308" y="3016508"/>
                <a:ext cx="450149" cy="259895"/>
              </a:xfrm>
              <a:custGeom>
                <a:avLst/>
                <a:gdLst>
                  <a:gd name="connsiteX0" fmla="*/ 224754 w 450149"/>
                  <a:gd name="connsiteY0" fmla="*/ 260188 h 259895"/>
                  <a:gd name="connsiteX1" fmla="*/ 28 w 450149"/>
                  <a:gd name="connsiteY1" fmla="*/ 130232 h 259895"/>
                  <a:gd name="connsiteX2" fmla="*/ 224754 w 450149"/>
                  <a:gd name="connsiteY2" fmla="*/ 292 h 259895"/>
                  <a:gd name="connsiteX3" fmla="*/ 450178 w 450149"/>
                  <a:gd name="connsiteY3" fmla="*/ 130248 h 259895"/>
                  <a:gd name="connsiteX4" fmla="*/ 224754 w 450149"/>
                  <a:gd name="connsiteY4" fmla="*/ 260188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149" h="259895">
                    <a:moveTo>
                      <a:pt x="224754" y="260188"/>
                    </a:moveTo>
                    <a:lnTo>
                      <a:pt x="28" y="130232"/>
                    </a:lnTo>
                    <a:lnTo>
                      <a:pt x="224754" y="292"/>
                    </a:lnTo>
                    <a:lnTo>
                      <a:pt x="450178" y="130248"/>
                    </a:lnTo>
                    <a:lnTo>
                      <a:pt x="224754" y="260188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9" name="Freihandform: Form 1478">
                <a:extLst>
                  <a:ext uri="{FF2B5EF4-FFF2-40B4-BE49-F238E27FC236}">
                    <a16:creationId xmlns:a16="http://schemas.microsoft.com/office/drawing/2014/main" id="{CB227139-3CA7-0806-5E31-D2565061FEB6}"/>
                  </a:ext>
                </a:extLst>
              </p:cNvPr>
              <p:cNvSpPr/>
              <p:nvPr/>
            </p:nvSpPr>
            <p:spPr>
              <a:xfrm>
                <a:off x="7347308" y="3201448"/>
                <a:ext cx="224725" cy="453243"/>
              </a:xfrm>
              <a:custGeom>
                <a:avLst/>
                <a:gdLst>
                  <a:gd name="connsiteX0" fmla="*/ 224776 w 224725"/>
                  <a:gd name="connsiteY0" fmla="*/ 453481 h 453243"/>
                  <a:gd name="connsiteX1" fmla="*/ 50 w 224725"/>
                  <a:gd name="connsiteY1" fmla="*/ 323525 h 453243"/>
                  <a:gd name="connsiteX2" fmla="*/ 50 w 224725"/>
                  <a:gd name="connsiteY2" fmla="*/ 271809 h 453243"/>
                  <a:gd name="connsiteX3" fmla="*/ 224776 w 224725"/>
                  <a:gd name="connsiteY3" fmla="*/ 401765 h 453243"/>
                  <a:gd name="connsiteX4" fmla="*/ 224776 w 224725"/>
                  <a:gd name="connsiteY4" fmla="*/ 453481 h 453243"/>
                  <a:gd name="connsiteX5" fmla="*/ 224776 w 224725"/>
                  <a:gd name="connsiteY5" fmla="*/ 311230 h 453243"/>
                  <a:gd name="connsiteX6" fmla="*/ 50 w 224725"/>
                  <a:gd name="connsiteY6" fmla="*/ 181290 h 453243"/>
                  <a:gd name="connsiteX7" fmla="*/ 50 w 224725"/>
                  <a:gd name="connsiteY7" fmla="*/ 233006 h 453243"/>
                  <a:gd name="connsiteX8" fmla="*/ 224776 w 224725"/>
                  <a:gd name="connsiteY8" fmla="*/ 362962 h 453243"/>
                  <a:gd name="connsiteX9" fmla="*/ 224776 w 224725"/>
                  <a:gd name="connsiteY9" fmla="*/ 311246 h 453243"/>
                  <a:gd name="connsiteX10" fmla="*/ 224776 w 224725"/>
                  <a:gd name="connsiteY10" fmla="*/ 220712 h 453243"/>
                  <a:gd name="connsiteX11" fmla="*/ 50 w 224725"/>
                  <a:gd name="connsiteY11" fmla="*/ 90756 h 453243"/>
                  <a:gd name="connsiteX12" fmla="*/ 50 w 224725"/>
                  <a:gd name="connsiteY12" fmla="*/ 142488 h 453243"/>
                  <a:gd name="connsiteX13" fmla="*/ 224776 w 224725"/>
                  <a:gd name="connsiteY13" fmla="*/ 272444 h 453243"/>
                  <a:gd name="connsiteX14" fmla="*/ 224776 w 224725"/>
                  <a:gd name="connsiteY14" fmla="*/ 220712 h 453243"/>
                  <a:gd name="connsiteX15" fmla="*/ 224776 w 224725"/>
                  <a:gd name="connsiteY15" fmla="*/ 130193 h 453243"/>
                  <a:gd name="connsiteX16" fmla="*/ 50 w 224725"/>
                  <a:gd name="connsiteY16" fmla="*/ 237 h 453243"/>
                  <a:gd name="connsiteX17" fmla="*/ 50 w 224725"/>
                  <a:gd name="connsiteY17" fmla="*/ 51969 h 453243"/>
                  <a:gd name="connsiteX18" fmla="*/ 224776 w 224725"/>
                  <a:gd name="connsiteY18" fmla="*/ 181925 h 453243"/>
                  <a:gd name="connsiteX19" fmla="*/ 224776 w 224725"/>
                  <a:gd name="connsiteY19" fmla="*/ 130193 h 453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725" h="453243">
                    <a:moveTo>
                      <a:pt x="224776" y="453481"/>
                    </a:moveTo>
                    <a:lnTo>
                      <a:pt x="50" y="323525"/>
                    </a:lnTo>
                    <a:lnTo>
                      <a:pt x="50" y="271809"/>
                    </a:lnTo>
                    <a:lnTo>
                      <a:pt x="224776" y="401765"/>
                    </a:lnTo>
                    <a:lnTo>
                      <a:pt x="224776" y="453481"/>
                    </a:lnTo>
                    <a:close/>
                    <a:moveTo>
                      <a:pt x="224776" y="311230"/>
                    </a:moveTo>
                    <a:lnTo>
                      <a:pt x="50" y="181290"/>
                    </a:lnTo>
                    <a:lnTo>
                      <a:pt x="50" y="233006"/>
                    </a:lnTo>
                    <a:lnTo>
                      <a:pt x="224776" y="362962"/>
                    </a:lnTo>
                    <a:lnTo>
                      <a:pt x="224776" y="311246"/>
                    </a:lnTo>
                    <a:close/>
                    <a:moveTo>
                      <a:pt x="224776" y="220712"/>
                    </a:moveTo>
                    <a:lnTo>
                      <a:pt x="50" y="90756"/>
                    </a:lnTo>
                    <a:lnTo>
                      <a:pt x="50" y="142488"/>
                    </a:lnTo>
                    <a:lnTo>
                      <a:pt x="224776" y="272444"/>
                    </a:lnTo>
                    <a:lnTo>
                      <a:pt x="224776" y="220712"/>
                    </a:lnTo>
                    <a:close/>
                    <a:moveTo>
                      <a:pt x="224776" y="130193"/>
                    </a:moveTo>
                    <a:lnTo>
                      <a:pt x="50" y="237"/>
                    </a:lnTo>
                    <a:lnTo>
                      <a:pt x="50" y="51969"/>
                    </a:lnTo>
                    <a:lnTo>
                      <a:pt x="224776" y="181925"/>
                    </a:lnTo>
                    <a:lnTo>
                      <a:pt x="224776" y="130193"/>
                    </a:lnTo>
                    <a:close/>
                  </a:path>
                </a:pathLst>
              </a:custGeom>
              <a:solidFill>
                <a:srgbClr val="66667E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535" name="Gruppieren 4534">
            <a:extLst>
              <a:ext uri="{FF2B5EF4-FFF2-40B4-BE49-F238E27FC236}">
                <a16:creationId xmlns:a16="http://schemas.microsoft.com/office/drawing/2014/main" id="{B7A72FE5-C988-9DF6-B7F2-C8408A36A693}"/>
              </a:ext>
            </a:extLst>
          </p:cNvPr>
          <p:cNvGrpSpPr/>
          <p:nvPr/>
        </p:nvGrpSpPr>
        <p:grpSpPr>
          <a:xfrm>
            <a:off x="6332377" y="2166104"/>
            <a:ext cx="2069185" cy="1888055"/>
            <a:chOff x="6332377" y="2734720"/>
            <a:chExt cx="2069185" cy="1888055"/>
          </a:xfrm>
        </p:grpSpPr>
        <p:sp>
          <p:nvSpPr>
            <p:cNvPr id="4381" name="Freihandform: Form 4380">
              <a:extLst>
                <a:ext uri="{FF2B5EF4-FFF2-40B4-BE49-F238E27FC236}">
                  <a16:creationId xmlns:a16="http://schemas.microsoft.com/office/drawing/2014/main" id="{116EEB74-96A4-0B7F-8CBC-4372396FAF24}"/>
                </a:ext>
              </a:extLst>
            </p:cNvPr>
            <p:cNvSpPr/>
            <p:nvPr/>
          </p:nvSpPr>
          <p:spPr>
            <a:xfrm>
              <a:off x="6332377" y="3428120"/>
              <a:ext cx="2069185" cy="1194655"/>
            </a:xfrm>
            <a:custGeom>
              <a:avLst/>
              <a:gdLst>
                <a:gd name="connsiteX0" fmla="*/ 1034616 w 2069185"/>
                <a:gd name="connsiteY0" fmla="*/ 0 h 1194655"/>
                <a:gd name="connsiteX1" fmla="*/ 0 w 2069185"/>
                <a:gd name="connsiteY1" fmla="*/ 597328 h 1194655"/>
                <a:gd name="connsiteX2" fmla="*/ 1034570 w 2069185"/>
                <a:gd name="connsiteY2" fmla="*/ 1194656 h 1194655"/>
                <a:gd name="connsiteX3" fmla="*/ 2069185 w 2069185"/>
                <a:gd name="connsiteY3" fmla="*/ 597328 h 1194655"/>
                <a:gd name="connsiteX4" fmla="*/ 1034616 w 2069185"/>
                <a:gd name="connsiteY4" fmla="*/ 0 h 119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185" h="1194655">
                  <a:moveTo>
                    <a:pt x="1034616" y="0"/>
                  </a:moveTo>
                  <a:lnTo>
                    <a:pt x="0" y="597328"/>
                  </a:lnTo>
                  <a:lnTo>
                    <a:pt x="1034570" y="1194656"/>
                  </a:lnTo>
                  <a:lnTo>
                    <a:pt x="2069185" y="597328"/>
                  </a:lnTo>
                  <a:lnTo>
                    <a:pt x="1034616" y="0"/>
                  </a:lnTo>
                  <a:close/>
                </a:path>
              </a:pathLst>
            </a:custGeom>
            <a:solidFill>
              <a:schemeClr val="tx1"/>
            </a:solidFill>
            <a:ln w="22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4382" name="Gruppieren 4381">
              <a:extLst>
                <a:ext uri="{FF2B5EF4-FFF2-40B4-BE49-F238E27FC236}">
                  <a16:creationId xmlns:a16="http://schemas.microsoft.com/office/drawing/2014/main" id="{9936755D-F24F-851B-82BB-A5317C226BE8}"/>
                </a:ext>
              </a:extLst>
            </p:cNvPr>
            <p:cNvGrpSpPr/>
            <p:nvPr/>
          </p:nvGrpSpPr>
          <p:grpSpPr>
            <a:xfrm>
              <a:off x="7716680" y="3912027"/>
              <a:ext cx="584797" cy="396876"/>
              <a:chOff x="10663499" y="3912027"/>
              <a:chExt cx="584797" cy="396876"/>
            </a:xfrm>
          </p:grpSpPr>
          <p:sp>
            <p:nvSpPr>
              <p:cNvPr id="4383" name="Freihandform: Form 4382">
                <a:extLst>
                  <a:ext uri="{FF2B5EF4-FFF2-40B4-BE49-F238E27FC236}">
                    <a16:creationId xmlns:a16="http://schemas.microsoft.com/office/drawing/2014/main" id="{89AACD26-F9D4-995A-B1C4-D1E16E3184A7}"/>
                  </a:ext>
                </a:extLst>
              </p:cNvPr>
              <p:cNvSpPr/>
              <p:nvPr/>
            </p:nvSpPr>
            <p:spPr>
              <a:xfrm>
                <a:off x="10663499" y="3972546"/>
                <a:ext cx="584797" cy="336357"/>
              </a:xfrm>
              <a:custGeom>
                <a:avLst/>
                <a:gdLst>
                  <a:gd name="connsiteX0" fmla="*/ 189261 w 584797"/>
                  <a:gd name="connsiteY0" fmla="*/ 336358 h 336357"/>
                  <a:gd name="connsiteX1" fmla="*/ 584798 w 584797"/>
                  <a:gd name="connsiteY1" fmla="*/ 107988 h 336357"/>
                  <a:gd name="connsiteX2" fmla="*/ 395536 w 584797"/>
                  <a:gd name="connsiteY2" fmla="*/ 0 h 336357"/>
                  <a:gd name="connsiteX3" fmla="*/ 0 w 584797"/>
                  <a:gd name="connsiteY3" fmla="*/ 228369 h 336357"/>
                  <a:gd name="connsiteX4" fmla="*/ 189261 w 584797"/>
                  <a:gd name="connsiteY4" fmla="*/ 336358 h 336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4797" h="336357">
                    <a:moveTo>
                      <a:pt x="189261" y="336358"/>
                    </a:moveTo>
                    <a:lnTo>
                      <a:pt x="584798" y="107988"/>
                    </a:lnTo>
                    <a:lnTo>
                      <a:pt x="395536" y="0"/>
                    </a:lnTo>
                    <a:lnTo>
                      <a:pt x="0" y="228369"/>
                    </a:lnTo>
                    <a:lnTo>
                      <a:pt x="189261" y="336358"/>
                    </a:lnTo>
                    <a:close/>
                  </a:path>
                </a:pathLst>
              </a:custGeom>
              <a:solidFill>
                <a:srgbClr val="E5E5E9"/>
              </a:solidFill>
              <a:ln w="22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4384" name="Grafik 20">
                <a:extLst>
                  <a:ext uri="{FF2B5EF4-FFF2-40B4-BE49-F238E27FC236}">
                    <a16:creationId xmlns:a16="http://schemas.microsoft.com/office/drawing/2014/main" id="{904298D6-88D0-665C-8159-46A8161B1791}"/>
                  </a:ext>
                </a:extLst>
              </p:cNvPr>
              <p:cNvGrpSpPr/>
              <p:nvPr/>
            </p:nvGrpSpPr>
            <p:grpSpPr>
              <a:xfrm>
                <a:off x="10858212" y="3968700"/>
                <a:ext cx="91646" cy="155495"/>
                <a:chOff x="8759755" y="3525360"/>
                <a:chExt cx="91646" cy="155495"/>
              </a:xfrm>
            </p:grpSpPr>
            <p:grpSp>
              <p:nvGrpSpPr>
                <p:cNvPr id="4400" name="Grafik 20">
                  <a:extLst>
                    <a:ext uri="{FF2B5EF4-FFF2-40B4-BE49-F238E27FC236}">
                      <a16:creationId xmlns:a16="http://schemas.microsoft.com/office/drawing/2014/main" id="{491F5915-6CFA-974E-8A89-3853F185020F}"/>
                    </a:ext>
                  </a:extLst>
                </p:cNvPr>
                <p:cNvGrpSpPr/>
                <p:nvPr/>
              </p:nvGrpSpPr>
              <p:grpSpPr>
                <a:xfrm>
                  <a:off x="8799258" y="3611712"/>
                  <a:ext cx="12818" cy="69143"/>
                  <a:chOff x="8799258" y="3611712"/>
                  <a:chExt cx="12818" cy="69143"/>
                </a:xfrm>
                <a:solidFill>
                  <a:srgbClr val="AAAA96"/>
                </a:solidFill>
              </p:grpSpPr>
              <p:sp>
                <p:nvSpPr>
                  <p:cNvPr id="4402" name="Freihandform: Form 4401">
                    <a:extLst>
                      <a:ext uri="{FF2B5EF4-FFF2-40B4-BE49-F238E27FC236}">
                        <a16:creationId xmlns:a16="http://schemas.microsoft.com/office/drawing/2014/main" id="{9EA2BAB5-90FB-AEA9-8FBC-A6147612AEA1}"/>
                      </a:ext>
                    </a:extLst>
                  </p:cNvPr>
                  <p:cNvSpPr/>
                  <p:nvPr/>
                </p:nvSpPr>
                <p:spPr>
                  <a:xfrm>
                    <a:off x="8799258" y="3615355"/>
                    <a:ext cx="12817" cy="65500"/>
                  </a:xfrm>
                  <a:custGeom>
                    <a:avLst/>
                    <a:gdLst>
                      <a:gd name="connsiteX0" fmla="*/ 13400 w 12817"/>
                      <a:gd name="connsiteY0" fmla="*/ 395 h 65500"/>
                      <a:gd name="connsiteX1" fmla="*/ 13226 w 12817"/>
                      <a:gd name="connsiteY1" fmla="*/ 62216 h 65500"/>
                      <a:gd name="connsiteX2" fmla="*/ 11386 w 12817"/>
                      <a:gd name="connsiteY2" fmla="*/ 64786 h 65500"/>
                      <a:gd name="connsiteX3" fmla="*/ 2449 w 12817"/>
                      <a:gd name="connsiteY3" fmla="*/ 64786 h 65500"/>
                      <a:gd name="connsiteX4" fmla="*/ 582 w 12817"/>
                      <a:gd name="connsiteY4" fmla="*/ 62179 h 65500"/>
                      <a:gd name="connsiteX5" fmla="*/ 757 w 12817"/>
                      <a:gd name="connsiteY5" fmla="*/ 358 h 65500"/>
                      <a:gd name="connsiteX6" fmla="*/ 2623 w 12817"/>
                      <a:gd name="connsiteY6" fmla="*/ 2965 h 65500"/>
                      <a:gd name="connsiteX7" fmla="*/ 11560 w 12817"/>
                      <a:gd name="connsiteY7" fmla="*/ 2965 h 65500"/>
                      <a:gd name="connsiteX8" fmla="*/ 13400 w 12817"/>
                      <a:gd name="connsiteY8" fmla="*/ 395 h 655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817" h="65500">
                        <a:moveTo>
                          <a:pt x="13400" y="395"/>
                        </a:moveTo>
                        <a:lnTo>
                          <a:pt x="13226" y="62216"/>
                        </a:lnTo>
                        <a:cubicBezTo>
                          <a:pt x="13226" y="63147"/>
                          <a:pt x="12612" y="64078"/>
                          <a:pt x="11386" y="64786"/>
                        </a:cubicBezTo>
                        <a:cubicBezTo>
                          <a:pt x="8927" y="66214"/>
                          <a:pt x="4924" y="66219"/>
                          <a:pt x="2449" y="64786"/>
                        </a:cubicBezTo>
                        <a:cubicBezTo>
                          <a:pt x="1206" y="64067"/>
                          <a:pt x="582" y="63121"/>
                          <a:pt x="582" y="62179"/>
                        </a:cubicBezTo>
                        <a:lnTo>
                          <a:pt x="757" y="358"/>
                        </a:lnTo>
                        <a:cubicBezTo>
                          <a:pt x="757" y="1300"/>
                          <a:pt x="1376" y="2246"/>
                          <a:pt x="2623" y="2965"/>
                        </a:cubicBezTo>
                        <a:cubicBezTo>
                          <a:pt x="5104" y="4398"/>
                          <a:pt x="9101" y="4393"/>
                          <a:pt x="11560" y="2965"/>
                        </a:cubicBezTo>
                        <a:cubicBezTo>
                          <a:pt x="12782" y="2257"/>
                          <a:pt x="13395" y="1326"/>
                          <a:pt x="13400" y="395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403" name="Freihandform: Form 4402">
                    <a:extLst>
                      <a:ext uri="{FF2B5EF4-FFF2-40B4-BE49-F238E27FC236}">
                        <a16:creationId xmlns:a16="http://schemas.microsoft.com/office/drawing/2014/main" id="{BCAC9AB7-BD0E-927E-A095-D4BDA754879A}"/>
                      </a:ext>
                    </a:extLst>
                  </p:cNvPr>
                  <p:cNvSpPr/>
                  <p:nvPr/>
                </p:nvSpPr>
                <p:spPr>
                  <a:xfrm>
                    <a:off x="8799440" y="3611712"/>
                    <a:ext cx="12636" cy="7322"/>
                  </a:xfrm>
                  <a:custGeom>
                    <a:avLst/>
                    <a:gdLst>
                      <a:gd name="connsiteX0" fmla="*/ 11351 w 12636"/>
                      <a:gd name="connsiteY0" fmla="*/ 1479 h 7322"/>
                      <a:gd name="connsiteX1" fmla="*/ 11383 w 12636"/>
                      <a:gd name="connsiteY1" fmla="*/ 6656 h 7322"/>
                      <a:gd name="connsiteX2" fmla="*/ 2446 w 12636"/>
                      <a:gd name="connsiteY2" fmla="*/ 6656 h 7322"/>
                      <a:gd name="connsiteX3" fmla="*/ 2415 w 12636"/>
                      <a:gd name="connsiteY3" fmla="*/ 1479 h 7322"/>
                      <a:gd name="connsiteX4" fmla="*/ 11351 w 12636"/>
                      <a:gd name="connsiteY4" fmla="*/ 1479 h 7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6" h="7322">
                        <a:moveTo>
                          <a:pt x="11351" y="1479"/>
                        </a:moveTo>
                        <a:cubicBezTo>
                          <a:pt x="13831" y="2912"/>
                          <a:pt x="13842" y="5223"/>
                          <a:pt x="11383" y="6656"/>
                        </a:cubicBezTo>
                        <a:cubicBezTo>
                          <a:pt x="8924" y="8083"/>
                          <a:pt x="4921" y="8089"/>
                          <a:pt x="2446" y="6656"/>
                        </a:cubicBezTo>
                        <a:cubicBezTo>
                          <a:pt x="-29" y="5228"/>
                          <a:pt x="-39" y="2907"/>
                          <a:pt x="2415" y="1479"/>
                        </a:cubicBezTo>
                        <a:cubicBezTo>
                          <a:pt x="4879" y="46"/>
                          <a:pt x="8876" y="51"/>
                          <a:pt x="11351" y="1479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4401" name="Freihandform: Form 4400">
                  <a:extLst>
                    <a:ext uri="{FF2B5EF4-FFF2-40B4-BE49-F238E27FC236}">
                      <a16:creationId xmlns:a16="http://schemas.microsoft.com/office/drawing/2014/main" id="{19ED42EC-7BFB-A0F6-453C-42B569117ED4}"/>
                    </a:ext>
                  </a:extLst>
                </p:cNvPr>
                <p:cNvSpPr/>
                <p:nvPr/>
              </p:nvSpPr>
              <p:spPr>
                <a:xfrm>
                  <a:off x="8759755" y="3525360"/>
                  <a:ext cx="91646" cy="111740"/>
                </a:xfrm>
                <a:custGeom>
                  <a:avLst/>
                  <a:gdLst>
                    <a:gd name="connsiteX0" fmla="*/ 92023 w 91646"/>
                    <a:gd name="connsiteY0" fmla="*/ 53065 h 111740"/>
                    <a:gd name="connsiteX1" fmla="*/ 48044 w 91646"/>
                    <a:gd name="connsiteY1" fmla="*/ 482 h 111740"/>
                    <a:gd name="connsiteX2" fmla="*/ 11879 w 91646"/>
                    <a:gd name="connsiteY2" fmla="*/ 20602 h 111740"/>
                    <a:gd name="connsiteX3" fmla="*/ 9553 w 91646"/>
                    <a:gd name="connsiteY3" fmla="*/ 90625 h 111740"/>
                    <a:gd name="connsiteX4" fmla="*/ 52914 w 91646"/>
                    <a:gd name="connsiteY4" fmla="*/ 111607 h 111740"/>
                    <a:gd name="connsiteX5" fmla="*/ 92028 w 91646"/>
                    <a:gd name="connsiteY5" fmla="*/ 53186 h 111740"/>
                    <a:gd name="connsiteX6" fmla="*/ 92028 w 91646"/>
                    <a:gd name="connsiteY6" fmla="*/ 53065 h 11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1646" h="111740">
                      <a:moveTo>
                        <a:pt x="92023" y="53065"/>
                      </a:moveTo>
                      <a:cubicBezTo>
                        <a:pt x="90638" y="28196"/>
                        <a:pt x="74314" y="1286"/>
                        <a:pt x="48044" y="482"/>
                      </a:cubicBezTo>
                      <a:cubicBezTo>
                        <a:pt x="33444" y="-84"/>
                        <a:pt x="19827" y="8620"/>
                        <a:pt x="11879" y="20602"/>
                      </a:cubicBezTo>
                      <a:cubicBezTo>
                        <a:pt x="-1726" y="40432"/>
                        <a:pt x="-3693" y="69843"/>
                        <a:pt x="9553" y="90625"/>
                      </a:cubicBezTo>
                      <a:cubicBezTo>
                        <a:pt x="18553" y="105198"/>
                        <a:pt x="35850" y="114717"/>
                        <a:pt x="52914" y="111607"/>
                      </a:cubicBezTo>
                      <a:cubicBezTo>
                        <a:pt x="78978" y="107255"/>
                        <a:pt x="94175" y="78806"/>
                        <a:pt x="92028" y="53186"/>
                      </a:cubicBezTo>
                      <a:lnTo>
                        <a:pt x="92028" y="53065"/>
                      </a:lnTo>
                      <a:close/>
                    </a:path>
                  </a:pathLst>
                </a:custGeom>
                <a:solidFill>
                  <a:srgbClr val="00646E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4385" name="Grafik 20">
                <a:extLst>
                  <a:ext uri="{FF2B5EF4-FFF2-40B4-BE49-F238E27FC236}">
                    <a16:creationId xmlns:a16="http://schemas.microsoft.com/office/drawing/2014/main" id="{6ECA3EBB-A20A-24C8-C761-CC3215AB6FEF}"/>
                  </a:ext>
                </a:extLst>
              </p:cNvPr>
              <p:cNvGrpSpPr/>
              <p:nvPr/>
            </p:nvGrpSpPr>
            <p:grpSpPr>
              <a:xfrm>
                <a:off x="10989514" y="4022338"/>
                <a:ext cx="91646" cy="155494"/>
                <a:chOff x="8891057" y="3578998"/>
                <a:chExt cx="91646" cy="155494"/>
              </a:xfrm>
            </p:grpSpPr>
            <p:grpSp>
              <p:nvGrpSpPr>
                <p:cNvPr id="4396" name="Grafik 20">
                  <a:extLst>
                    <a:ext uri="{FF2B5EF4-FFF2-40B4-BE49-F238E27FC236}">
                      <a16:creationId xmlns:a16="http://schemas.microsoft.com/office/drawing/2014/main" id="{C8F3F153-D6F8-3432-2D0D-CB72958490FA}"/>
                    </a:ext>
                  </a:extLst>
                </p:cNvPr>
                <p:cNvGrpSpPr/>
                <p:nvPr/>
              </p:nvGrpSpPr>
              <p:grpSpPr>
                <a:xfrm>
                  <a:off x="8930559" y="3665350"/>
                  <a:ext cx="12819" cy="69142"/>
                  <a:chOff x="8930559" y="3665350"/>
                  <a:chExt cx="12819" cy="69142"/>
                </a:xfrm>
                <a:solidFill>
                  <a:srgbClr val="AAAA96"/>
                </a:solidFill>
              </p:grpSpPr>
              <p:sp>
                <p:nvSpPr>
                  <p:cNvPr id="4398" name="Freihandform: Form 4397">
                    <a:extLst>
                      <a:ext uri="{FF2B5EF4-FFF2-40B4-BE49-F238E27FC236}">
                        <a16:creationId xmlns:a16="http://schemas.microsoft.com/office/drawing/2014/main" id="{6DB731B6-0FFD-6C6D-F31E-CEBC70EBD11F}"/>
                      </a:ext>
                    </a:extLst>
                  </p:cNvPr>
                  <p:cNvSpPr/>
                  <p:nvPr/>
                </p:nvSpPr>
                <p:spPr>
                  <a:xfrm>
                    <a:off x="8930559" y="3668992"/>
                    <a:ext cx="12817" cy="65500"/>
                  </a:xfrm>
                  <a:custGeom>
                    <a:avLst/>
                    <a:gdLst>
                      <a:gd name="connsiteX0" fmla="*/ 13457 w 12817"/>
                      <a:gd name="connsiteY0" fmla="*/ 419 h 65500"/>
                      <a:gd name="connsiteX1" fmla="*/ 13283 w 12817"/>
                      <a:gd name="connsiteY1" fmla="*/ 62240 h 65500"/>
                      <a:gd name="connsiteX2" fmla="*/ 11443 w 12817"/>
                      <a:gd name="connsiteY2" fmla="*/ 64810 h 65500"/>
                      <a:gd name="connsiteX3" fmla="*/ 2506 w 12817"/>
                      <a:gd name="connsiteY3" fmla="*/ 64810 h 65500"/>
                      <a:gd name="connsiteX4" fmla="*/ 639 w 12817"/>
                      <a:gd name="connsiteY4" fmla="*/ 62203 h 65500"/>
                      <a:gd name="connsiteX5" fmla="*/ 814 w 12817"/>
                      <a:gd name="connsiteY5" fmla="*/ 382 h 65500"/>
                      <a:gd name="connsiteX6" fmla="*/ 2681 w 12817"/>
                      <a:gd name="connsiteY6" fmla="*/ 2989 h 65500"/>
                      <a:gd name="connsiteX7" fmla="*/ 11617 w 12817"/>
                      <a:gd name="connsiteY7" fmla="*/ 2989 h 65500"/>
                      <a:gd name="connsiteX8" fmla="*/ 13457 w 12817"/>
                      <a:gd name="connsiteY8" fmla="*/ 419 h 655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817" h="65500">
                        <a:moveTo>
                          <a:pt x="13457" y="419"/>
                        </a:moveTo>
                        <a:lnTo>
                          <a:pt x="13283" y="62240"/>
                        </a:lnTo>
                        <a:cubicBezTo>
                          <a:pt x="13283" y="63170"/>
                          <a:pt x="12669" y="64101"/>
                          <a:pt x="11443" y="64810"/>
                        </a:cubicBezTo>
                        <a:cubicBezTo>
                          <a:pt x="8984" y="66237"/>
                          <a:pt x="4981" y="66243"/>
                          <a:pt x="2506" y="64810"/>
                        </a:cubicBezTo>
                        <a:cubicBezTo>
                          <a:pt x="1263" y="64090"/>
                          <a:pt x="639" y="63144"/>
                          <a:pt x="639" y="62203"/>
                        </a:cubicBezTo>
                        <a:lnTo>
                          <a:pt x="814" y="382"/>
                        </a:lnTo>
                        <a:cubicBezTo>
                          <a:pt x="814" y="1323"/>
                          <a:pt x="1433" y="2269"/>
                          <a:pt x="2681" y="2989"/>
                        </a:cubicBezTo>
                        <a:cubicBezTo>
                          <a:pt x="5161" y="4422"/>
                          <a:pt x="9158" y="4416"/>
                          <a:pt x="11617" y="2989"/>
                        </a:cubicBezTo>
                        <a:cubicBezTo>
                          <a:pt x="12839" y="2280"/>
                          <a:pt x="13452" y="1349"/>
                          <a:pt x="13457" y="419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399" name="Freihandform: Form 4398">
                    <a:extLst>
                      <a:ext uri="{FF2B5EF4-FFF2-40B4-BE49-F238E27FC236}">
                        <a16:creationId xmlns:a16="http://schemas.microsoft.com/office/drawing/2014/main" id="{BAB4B1DC-CE94-C4F9-8E4C-D1E2CB5A2930}"/>
                      </a:ext>
                    </a:extLst>
                  </p:cNvPr>
                  <p:cNvSpPr/>
                  <p:nvPr/>
                </p:nvSpPr>
                <p:spPr>
                  <a:xfrm>
                    <a:off x="8930742" y="3665350"/>
                    <a:ext cx="12636" cy="7322"/>
                  </a:xfrm>
                  <a:custGeom>
                    <a:avLst/>
                    <a:gdLst>
                      <a:gd name="connsiteX0" fmla="*/ 11408 w 12636"/>
                      <a:gd name="connsiteY0" fmla="*/ 1502 h 7322"/>
                      <a:gd name="connsiteX1" fmla="*/ 11440 w 12636"/>
                      <a:gd name="connsiteY1" fmla="*/ 6679 h 7322"/>
                      <a:gd name="connsiteX2" fmla="*/ 2503 w 12636"/>
                      <a:gd name="connsiteY2" fmla="*/ 6679 h 7322"/>
                      <a:gd name="connsiteX3" fmla="*/ 2472 w 12636"/>
                      <a:gd name="connsiteY3" fmla="*/ 1502 h 7322"/>
                      <a:gd name="connsiteX4" fmla="*/ 11408 w 12636"/>
                      <a:gd name="connsiteY4" fmla="*/ 1502 h 7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6" h="7322">
                        <a:moveTo>
                          <a:pt x="11408" y="1502"/>
                        </a:moveTo>
                        <a:cubicBezTo>
                          <a:pt x="13888" y="2935"/>
                          <a:pt x="13899" y="5246"/>
                          <a:pt x="11440" y="6679"/>
                        </a:cubicBezTo>
                        <a:cubicBezTo>
                          <a:pt x="8981" y="8107"/>
                          <a:pt x="4978" y="8112"/>
                          <a:pt x="2503" y="6679"/>
                        </a:cubicBezTo>
                        <a:cubicBezTo>
                          <a:pt x="29" y="5251"/>
                          <a:pt x="18" y="2930"/>
                          <a:pt x="2472" y="1502"/>
                        </a:cubicBezTo>
                        <a:cubicBezTo>
                          <a:pt x="4936" y="69"/>
                          <a:pt x="8933" y="74"/>
                          <a:pt x="11408" y="1502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4397" name="Freihandform: Form 4396">
                  <a:extLst>
                    <a:ext uri="{FF2B5EF4-FFF2-40B4-BE49-F238E27FC236}">
                      <a16:creationId xmlns:a16="http://schemas.microsoft.com/office/drawing/2014/main" id="{82CD64F4-E57D-C92C-E4A9-1B54E1812297}"/>
                    </a:ext>
                  </a:extLst>
                </p:cNvPr>
                <p:cNvSpPr/>
                <p:nvPr/>
              </p:nvSpPr>
              <p:spPr>
                <a:xfrm>
                  <a:off x="8891057" y="3578998"/>
                  <a:ext cx="91646" cy="111740"/>
                </a:xfrm>
                <a:custGeom>
                  <a:avLst/>
                  <a:gdLst>
                    <a:gd name="connsiteX0" fmla="*/ 92080 w 91646"/>
                    <a:gd name="connsiteY0" fmla="*/ 53088 h 111740"/>
                    <a:gd name="connsiteX1" fmla="*/ 48101 w 91646"/>
                    <a:gd name="connsiteY1" fmla="*/ 505 h 111740"/>
                    <a:gd name="connsiteX2" fmla="*/ 11937 w 91646"/>
                    <a:gd name="connsiteY2" fmla="*/ 20626 h 111740"/>
                    <a:gd name="connsiteX3" fmla="*/ 9610 w 91646"/>
                    <a:gd name="connsiteY3" fmla="*/ 90648 h 111740"/>
                    <a:gd name="connsiteX4" fmla="*/ 52971 w 91646"/>
                    <a:gd name="connsiteY4" fmla="*/ 111631 h 111740"/>
                    <a:gd name="connsiteX5" fmla="*/ 92086 w 91646"/>
                    <a:gd name="connsiteY5" fmla="*/ 53210 h 111740"/>
                    <a:gd name="connsiteX6" fmla="*/ 92086 w 91646"/>
                    <a:gd name="connsiteY6" fmla="*/ 53088 h 11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1646" h="111740">
                      <a:moveTo>
                        <a:pt x="92080" y="53088"/>
                      </a:moveTo>
                      <a:cubicBezTo>
                        <a:pt x="90695" y="28219"/>
                        <a:pt x="74371" y="1309"/>
                        <a:pt x="48101" y="505"/>
                      </a:cubicBezTo>
                      <a:cubicBezTo>
                        <a:pt x="33501" y="-61"/>
                        <a:pt x="19884" y="8643"/>
                        <a:pt x="11937" y="20626"/>
                      </a:cubicBezTo>
                      <a:cubicBezTo>
                        <a:pt x="-1669" y="40455"/>
                        <a:pt x="-3636" y="69867"/>
                        <a:pt x="9610" y="90648"/>
                      </a:cubicBezTo>
                      <a:cubicBezTo>
                        <a:pt x="18610" y="105222"/>
                        <a:pt x="35907" y="114740"/>
                        <a:pt x="52971" y="111631"/>
                      </a:cubicBezTo>
                      <a:cubicBezTo>
                        <a:pt x="79035" y="107279"/>
                        <a:pt x="94232" y="78830"/>
                        <a:pt x="92086" y="53210"/>
                      </a:cubicBezTo>
                      <a:lnTo>
                        <a:pt x="92086" y="53088"/>
                      </a:lnTo>
                      <a:close/>
                    </a:path>
                  </a:pathLst>
                </a:custGeom>
                <a:solidFill>
                  <a:srgbClr val="00646E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4386" name="Grafik 20">
                <a:extLst>
                  <a:ext uri="{FF2B5EF4-FFF2-40B4-BE49-F238E27FC236}">
                    <a16:creationId xmlns:a16="http://schemas.microsoft.com/office/drawing/2014/main" id="{20E3C5EA-0229-99FC-3E71-D544DF7E20C7}"/>
                  </a:ext>
                </a:extLst>
              </p:cNvPr>
              <p:cNvGrpSpPr/>
              <p:nvPr/>
            </p:nvGrpSpPr>
            <p:grpSpPr>
              <a:xfrm>
                <a:off x="10783515" y="4071331"/>
                <a:ext cx="91646" cy="155495"/>
                <a:chOff x="8685058" y="3627991"/>
                <a:chExt cx="91646" cy="155495"/>
              </a:xfrm>
            </p:grpSpPr>
            <p:grpSp>
              <p:nvGrpSpPr>
                <p:cNvPr id="4392" name="Grafik 20">
                  <a:extLst>
                    <a:ext uri="{FF2B5EF4-FFF2-40B4-BE49-F238E27FC236}">
                      <a16:creationId xmlns:a16="http://schemas.microsoft.com/office/drawing/2014/main" id="{C04C5233-5078-4ABC-EEB3-8E3A360C3454}"/>
                    </a:ext>
                  </a:extLst>
                </p:cNvPr>
                <p:cNvGrpSpPr/>
                <p:nvPr/>
              </p:nvGrpSpPr>
              <p:grpSpPr>
                <a:xfrm>
                  <a:off x="8724560" y="3714343"/>
                  <a:ext cx="12819" cy="69143"/>
                  <a:chOff x="8724560" y="3714343"/>
                  <a:chExt cx="12819" cy="69143"/>
                </a:xfrm>
                <a:solidFill>
                  <a:srgbClr val="AAAA96"/>
                </a:solidFill>
              </p:grpSpPr>
              <p:sp>
                <p:nvSpPr>
                  <p:cNvPr id="4394" name="Freihandform: Form 4393">
                    <a:extLst>
                      <a:ext uri="{FF2B5EF4-FFF2-40B4-BE49-F238E27FC236}">
                        <a16:creationId xmlns:a16="http://schemas.microsoft.com/office/drawing/2014/main" id="{EEB67414-EE14-F597-511E-289E1E17726C}"/>
                      </a:ext>
                    </a:extLst>
                  </p:cNvPr>
                  <p:cNvSpPr/>
                  <p:nvPr/>
                </p:nvSpPr>
                <p:spPr>
                  <a:xfrm>
                    <a:off x="8724560" y="3717986"/>
                    <a:ext cx="12817" cy="65500"/>
                  </a:xfrm>
                  <a:custGeom>
                    <a:avLst/>
                    <a:gdLst>
                      <a:gd name="connsiteX0" fmla="*/ 13368 w 12817"/>
                      <a:gd name="connsiteY0" fmla="*/ 440 h 65500"/>
                      <a:gd name="connsiteX1" fmla="*/ 13193 w 12817"/>
                      <a:gd name="connsiteY1" fmla="*/ 62261 h 65500"/>
                      <a:gd name="connsiteX2" fmla="*/ 11353 w 12817"/>
                      <a:gd name="connsiteY2" fmla="*/ 64831 h 65500"/>
                      <a:gd name="connsiteX3" fmla="*/ 2416 w 12817"/>
                      <a:gd name="connsiteY3" fmla="*/ 64831 h 65500"/>
                      <a:gd name="connsiteX4" fmla="*/ 550 w 12817"/>
                      <a:gd name="connsiteY4" fmla="*/ 62224 h 65500"/>
                      <a:gd name="connsiteX5" fmla="*/ 724 w 12817"/>
                      <a:gd name="connsiteY5" fmla="*/ 403 h 65500"/>
                      <a:gd name="connsiteX6" fmla="*/ 2591 w 12817"/>
                      <a:gd name="connsiteY6" fmla="*/ 3010 h 65500"/>
                      <a:gd name="connsiteX7" fmla="*/ 11528 w 12817"/>
                      <a:gd name="connsiteY7" fmla="*/ 3010 h 65500"/>
                      <a:gd name="connsiteX8" fmla="*/ 13368 w 12817"/>
                      <a:gd name="connsiteY8" fmla="*/ 440 h 655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817" h="65500">
                        <a:moveTo>
                          <a:pt x="13368" y="440"/>
                        </a:moveTo>
                        <a:lnTo>
                          <a:pt x="13193" y="62261"/>
                        </a:lnTo>
                        <a:cubicBezTo>
                          <a:pt x="13193" y="63192"/>
                          <a:pt x="12580" y="64122"/>
                          <a:pt x="11353" y="64831"/>
                        </a:cubicBezTo>
                        <a:cubicBezTo>
                          <a:pt x="8894" y="66259"/>
                          <a:pt x="4891" y="66264"/>
                          <a:pt x="2416" y="64831"/>
                        </a:cubicBezTo>
                        <a:cubicBezTo>
                          <a:pt x="1174" y="64112"/>
                          <a:pt x="550" y="63165"/>
                          <a:pt x="550" y="62224"/>
                        </a:cubicBezTo>
                        <a:lnTo>
                          <a:pt x="724" y="403"/>
                        </a:lnTo>
                        <a:cubicBezTo>
                          <a:pt x="724" y="1344"/>
                          <a:pt x="1343" y="2291"/>
                          <a:pt x="2591" y="3010"/>
                        </a:cubicBezTo>
                        <a:cubicBezTo>
                          <a:pt x="5071" y="4443"/>
                          <a:pt x="9069" y="4438"/>
                          <a:pt x="11528" y="3010"/>
                        </a:cubicBezTo>
                        <a:cubicBezTo>
                          <a:pt x="12749" y="2301"/>
                          <a:pt x="13362" y="1371"/>
                          <a:pt x="13368" y="440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395" name="Freihandform: Form 4394">
                    <a:extLst>
                      <a:ext uri="{FF2B5EF4-FFF2-40B4-BE49-F238E27FC236}">
                        <a16:creationId xmlns:a16="http://schemas.microsoft.com/office/drawing/2014/main" id="{672366DA-FF6A-736C-1469-855F40292231}"/>
                      </a:ext>
                    </a:extLst>
                  </p:cNvPr>
                  <p:cNvSpPr/>
                  <p:nvPr/>
                </p:nvSpPr>
                <p:spPr>
                  <a:xfrm>
                    <a:off x="8724743" y="3714343"/>
                    <a:ext cx="12636" cy="7322"/>
                  </a:xfrm>
                  <a:custGeom>
                    <a:avLst/>
                    <a:gdLst>
                      <a:gd name="connsiteX0" fmla="*/ 11319 w 12636"/>
                      <a:gd name="connsiteY0" fmla="*/ 1523 h 7322"/>
                      <a:gd name="connsiteX1" fmla="*/ 11350 w 12636"/>
                      <a:gd name="connsiteY1" fmla="*/ 6700 h 7322"/>
                      <a:gd name="connsiteX2" fmla="*/ 2414 w 12636"/>
                      <a:gd name="connsiteY2" fmla="*/ 6700 h 7322"/>
                      <a:gd name="connsiteX3" fmla="*/ 2382 w 12636"/>
                      <a:gd name="connsiteY3" fmla="*/ 1523 h 7322"/>
                      <a:gd name="connsiteX4" fmla="*/ 11319 w 12636"/>
                      <a:gd name="connsiteY4" fmla="*/ 1523 h 7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6" h="7322">
                        <a:moveTo>
                          <a:pt x="11319" y="1523"/>
                        </a:moveTo>
                        <a:cubicBezTo>
                          <a:pt x="13799" y="2956"/>
                          <a:pt x="13809" y="5267"/>
                          <a:pt x="11350" y="6700"/>
                        </a:cubicBezTo>
                        <a:cubicBezTo>
                          <a:pt x="8891" y="8128"/>
                          <a:pt x="4888" y="8133"/>
                          <a:pt x="2414" y="6700"/>
                        </a:cubicBezTo>
                        <a:cubicBezTo>
                          <a:pt x="-61" y="5273"/>
                          <a:pt x="-72" y="2951"/>
                          <a:pt x="2382" y="1523"/>
                        </a:cubicBezTo>
                        <a:cubicBezTo>
                          <a:pt x="4846" y="90"/>
                          <a:pt x="8844" y="96"/>
                          <a:pt x="11319" y="1523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4393" name="Freihandform: Form 4392">
                  <a:extLst>
                    <a:ext uri="{FF2B5EF4-FFF2-40B4-BE49-F238E27FC236}">
                      <a16:creationId xmlns:a16="http://schemas.microsoft.com/office/drawing/2014/main" id="{B191C814-4034-8C81-08B0-E46EB21A052F}"/>
                    </a:ext>
                  </a:extLst>
                </p:cNvPr>
                <p:cNvSpPr/>
                <p:nvPr/>
              </p:nvSpPr>
              <p:spPr>
                <a:xfrm>
                  <a:off x="8685058" y="3627991"/>
                  <a:ext cx="91646" cy="111740"/>
                </a:xfrm>
                <a:custGeom>
                  <a:avLst/>
                  <a:gdLst>
                    <a:gd name="connsiteX0" fmla="*/ 91991 w 91646"/>
                    <a:gd name="connsiteY0" fmla="*/ 53109 h 111740"/>
                    <a:gd name="connsiteX1" fmla="*/ 48011 w 91646"/>
                    <a:gd name="connsiteY1" fmla="*/ 526 h 111740"/>
                    <a:gd name="connsiteX2" fmla="*/ 11847 w 91646"/>
                    <a:gd name="connsiteY2" fmla="*/ 20647 h 111740"/>
                    <a:gd name="connsiteX3" fmla="*/ 9520 w 91646"/>
                    <a:gd name="connsiteY3" fmla="*/ 90670 h 111740"/>
                    <a:gd name="connsiteX4" fmla="*/ 52881 w 91646"/>
                    <a:gd name="connsiteY4" fmla="*/ 111652 h 111740"/>
                    <a:gd name="connsiteX5" fmla="*/ 91996 w 91646"/>
                    <a:gd name="connsiteY5" fmla="*/ 53231 h 111740"/>
                    <a:gd name="connsiteX6" fmla="*/ 91996 w 91646"/>
                    <a:gd name="connsiteY6" fmla="*/ 53109 h 11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1646" h="111740">
                      <a:moveTo>
                        <a:pt x="91991" y="53109"/>
                      </a:moveTo>
                      <a:cubicBezTo>
                        <a:pt x="90605" y="28240"/>
                        <a:pt x="74281" y="1330"/>
                        <a:pt x="48011" y="526"/>
                      </a:cubicBezTo>
                      <a:cubicBezTo>
                        <a:pt x="33411" y="-39"/>
                        <a:pt x="19795" y="8665"/>
                        <a:pt x="11847" y="20647"/>
                      </a:cubicBezTo>
                      <a:cubicBezTo>
                        <a:pt x="-1759" y="40477"/>
                        <a:pt x="-3726" y="69888"/>
                        <a:pt x="9520" y="90670"/>
                      </a:cubicBezTo>
                      <a:cubicBezTo>
                        <a:pt x="18520" y="105243"/>
                        <a:pt x="35817" y="114761"/>
                        <a:pt x="52881" y="111652"/>
                      </a:cubicBezTo>
                      <a:cubicBezTo>
                        <a:pt x="78945" y="107300"/>
                        <a:pt x="94143" y="78851"/>
                        <a:pt x="91996" y="53231"/>
                      </a:cubicBezTo>
                      <a:lnTo>
                        <a:pt x="91996" y="53109"/>
                      </a:lnTo>
                      <a:close/>
                    </a:path>
                  </a:pathLst>
                </a:custGeom>
                <a:solidFill>
                  <a:srgbClr val="00646E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4387" name="Grafik 20">
                <a:extLst>
                  <a:ext uri="{FF2B5EF4-FFF2-40B4-BE49-F238E27FC236}">
                    <a16:creationId xmlns:a16="http://schemas.microsoft.com/office/drawing/2014/main" id="{864D7B4D-206B-4EC3-024D-BF6B1E60C06C}"/>
                  </a:ext>
                </a:extLst>
              </p:cNvPr>
              <p:cNvGrpSpPr/>
              <p:nvPr/>
            </p:nvGrpSpPr>
            <p:grpSpPr>
              <a:xfrm>
                <a:off x="11069200" y="3912027"/>
                <a:ext cx="91646" cy="155495"/>
                <a:chOff x="8970743" y="3468687"/>
                <a:chExt cx="91646" cy="155495"/>
              </a:xfrm>
            </p:grpSpPr>
            <p:grpSp>
              <p:nvGrpSpPr>
                <p:cNvPr id="4388" name="Grafik 20">
                  <a:extLst>
                    <a:ext uri="{FF2B5EF4-FFF2-40B4-BE49-F238E27FC236}">
                      <a16:creationId xmlns:a16="http://schemas.microsoft.com/office/drawing/2014/main" id="{62397B44-06E1-5A62-6E9D-92532C3752BD}"/>
                    </a:ext>
                  </a:extLst>
                </p:cNvPr>
                <p:cNvGrpSpPr/>
                <p:nvPr/>
              </p:nvGrpSpPr>
              <p:grpSpPr>
                <a:xfrm>
                  <a:off x="9010246" y="3555039"/>
                  <a:ext cx="12818" cy="69143"/>
                  <a:chOff x="9010246" y="3555039"/>
                  <a:chExt cx="12818" cy="69143"/>
                </a:xfrm>
                <a:solidFill>
                  <a:srgbClr val="AAAA96"/>
                </a:solidFill>
              </p:grpSpPr>
              <p:sp>
                <p:nvSpPr>
                  <p:cNvPr id="4390" name="Freihandform: Form 4389">
                    <a:extLst>
                      <a:ext uri="{FF2B5EF4-FFF2-40B4-BE49-F238E27FC236}">
                        <a16:creationId xmlns:a16="http://schemas.microsoft.com/office/drawing/2014/main" id="{C4574AD1-151A-4BEF-91BF-2B726BEA41BF}"/>
                      </a:ext>
                    </a:extLst>
                  </p:cNvPr>
                  <p:cNvSpPr/>
                  <p:nvPr/>
                </p:nvSpPr>
                <p:spPr>
                  <a:xfrm>
                    <a:off x="9010246" y="3558682"/>
                    <a:ext cx="12817" cy="65500"/>
                  </a:xfrm>
                  <a:custGeom>
                    <a:avLst/>
                    <a:gdLst>
                      <a:gd name="connsiteX0" fmla="*/ 13492 w 12817"/>
                      <a:gd name="connsiteY0" fmla="*/ 371 h 65500"/>
                      <a:gd name="connsiteX1" fmla="*/ 13318 w 12817"/>
                      <a:gd name="connsiteY1" fmla="*/ 62192 h 65500"/>
                      <a:gd name="connsiteX2" fmla="*/ 11477 w 12817"/>
                      <a:gd name="connsiteY2" fmla="*/ 64762 h 65500"/>
                      <a:gd name="connsiteX3" fmla="*/ 2541 w 12817"/>
                      <a:gd name="connsiteY3" fmla="*/ 64762 h 65500"/>
                      <a:gd name="connsiteX4" fmla="*/ 674 w 12817"/>
                      <a:gd name="connsiteY4" fmla="*/ 62155 h 65500"/>
                      <a:gd name="connsiteX5" fmla="*/ 849 w 12817"/>
                      <a:gd name="connsiteY5" fmla="*/ 334 h 65500"/>
                      <a:gd name="connsiteX6" fmla="*/ 2715 w 12817"/>
                      <a:gd name="connsiteY6" fmla="*/ 2941 h 65500"/>
                      <a:gd name="connsiteX7" fmla="*/ 11652 w 12817"/>
                      <a:gd name="connsiteY7" fmla="*/ 2941 h 65500"/>
                      <a:gd name="connsiteX8" fmla="*/ 13492 w 12817"/>
                      <a:gd name="connsiteY8" fmla="*/ 371 h 655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817" h="65500">
                        <a:moveTo>
                          <a:pt x="13492" y="371"/>
                        </a:moveTo>
                        <a:lnTo>
                          <a:pt x="13318" y="62192"/>
                        </a:lnTo>
                        <a:cubicBezTo>
                          <a:pt x="13318" y="63122"/>
                          <a:pt x="12704" y="64053"/>
                          <a:pt x="11477" y="64762"/>
                        </a:cubicBezTo>
                        <a:cubicBezTo>
                          <a:pt x="9018" y="66189"/>
                          <a:pt x="5015" y="66195"/>
                          <a:pt x="2541" y="64762"/>
                        </a:cubicBezTo>
                        <a:cubicBezTo>
                          <a:pt x="1298" y="64043"/>
                          <a:pt x="674" y="63096"/>
                          <a:pt x="674" y="62155"/>
                        </a:cubicBezTo>
                        <a:lnTo>
                          <a:pt x="849" y="334"/>
                        </a:lnTo>
                        <a:cubicBezTo>
                          <a:pt x="849" y="1275"/>
                          <a:pt x="1467" y="2221"/>
                          <a:pt x="2715" y="2941"/>
                        </a:cubicBezTo>
                        <a:cubicBezTo>
                          <a:pt x="5195" y="4374"/>
                          <a:pt x="9193" y="4368"/>
                          <a:pt x="11652" y="2941"/>
                        </a:cubicBezTo>
                        <a:cubicBezTo>
                          <a:pt x="12873" y="2232"/>
                          <a:pt x="13487" y="1301"/>
                          <a:pt x="13492" y="371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391" name="Freihandform: Form 4390">
                    <a:extLst>
                      <a:ext uri="{FF2B5EF4-FFF2-40B4-BE49-F238E27FC236}">
                        <a16:creationId xmlns:a16="http://schemas.microsoft.com/office/drawing/2014/main" id="{F35C91B3-84D8-C66B-F03D-D7CA1DA76C59}"/>
                      </a:ext>
                    </a:extLst>
                  </p:cNvPr>
                  <p:cNvSpPr/>
                  <p:nvPr/>
                </p:nvSpPr>
                <p:spPr>
                  <a:xfrm>
                    <a:off x="9010428" y="3555039"/>
                    <a:ext cx="12636" cy="7322"/>
                  </a:xfrm>
                  <a:custGeom>
                    <a:avLst/>
                    <a:gdLst>
                      <a:gd name="connsiteX0" fmla="*/ 11443 w 12636"/>
                      <a:gd name="connsiteY0" fmla="*/ 1454 h 7322"/>
                      <a:gd name="connsiteX1" fmla="*/ 11475 w 12636"/>
                      <a:gd name="connsiteY1" fmla="*/ 6631 h 7322"/>
                      <a:gd name="connsiteX2" fmla="*/ 2538 w 12636"/>
                      <a:gd name="connsiteY2" fmla="*/ 6631 h 7322"/>
                      <a:gd name="connsiteX3" fmla="*/ 2506 w 12636"/>
                      <a:gd name="connsiteY3" fmla="*/ 1454 h 7322"/>
                      <a:gd name="connsiteX4" fmla="*/ 11443 w 12636"/>
                      <a:gd name="connsiteY4" fmla="*/ 1454 h 7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6" h="7322">
                        <a:moveTo>
                          <a:pt x="11443" y="1454"/>
                        </a:moveTo>
                        <a:cubicBezTo>
                          <a:pt x="13923" y="2887"/>
                          <a:pt x="13933" y="5198"/>
                          <a:pt x="11475" y="6631"/>
                        </a:cubicBezTo>
                        <a:cubicBezTo>
                          <a:pt x="9016" y="8059"/>
                          <a:pt x="5013" y="8064"/>
                          <a:pt x="2538" y="6631"/>
                        </a:cubicBezTo>
                        <a:cubicBezTo>
                          <a:pt x="63" y="5203"/>
                          <a:pt x="53" y="2882"/>
                          <a:pt x="2506" y="1454"/>
                        </a:cubicBezTo>
                        <a:cubicBezTo>
                          <a:pt x="4970" y="21"/>
                          <a:pt x="8968" y="26"/>
                          <a:pt x="11443" y="1454"/>
                        </a:cubicBezTo>
                        <a:close/>
                      </a:path>
                    </a:pathLst>
                  </a:custGeom>
                  <a:solidFill>
                    <a:srgbClr val="AAAA96"/>
                  </a:solidFill>
                  <a:ln w="5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9999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4389" name="Freihandform: Form 4388">
                  <a:extLst>
                    <a:ext uri="{FF2B5EF4-FFF2-40B4-BE49-F238E27FC236}">
                      <a16:creationId xmlns:a16="http://schemas.microsoft.com/office/drawing/2014/main" id="{FFB1457F-00E4-32A3-B0D0-EC72103A0BE5}"/>
                    </a:ext>
                  </a:extLst>
                </p:cNvPr>
                <p:cNvSpPr/>
                <p:nvPr/>
              </p:nvSpPr>
              <p:spPr>
                <a:xfrm>
                  <a:off x="8970743" y="3468687"/>
                  <a:ext cx="91646" cy="111740"/>
                </a:xfrm>
                <a:custGeom>
                  <a:avLst/>
                  <a:gdLst>
                    <a:gd name="connsiteX0" fmla="*/ 92115 w 91646"/>
                    <a:gd name="connsiteY0" fmla="*/ 53040 h 111740"/>
                    <a:gd name="connsiteX1" fmla="*/ 48135 w 91646"/>
                    <a:gd name="connsiteY1" fmla="*/ 457 h 111740"/>
                    <a:gd name="connsiteX2" fmla="*/ 11971 w 91646"/>
                    <a:gd name="connsiteY2" fmla="*/ 20578 h 111740"/>
                    <a:gd name="connsiteX3" fmla="*/ 9645 w 91646"/>
                    <a:gd name="connsiteY3" fmla="*/ 90600 h 111740"/>
                    <a:gd name="connsiteX4" fmla="*/ 53005 w 91646"/>
                    <a:gd name="connsiteY4" fmla="*/ 111583 h 111740"/>
                    <a:gd name="connsiteX5" fmla="*/ 92120 w 91646"/>
                    <a:gd name="connsiteY5" fmla="*/ 53162 h 111740"/>
                    <a:gd name="connsiteX6" fmla="*/ 92120 w 91646"/>
                    <a:gd name="connsiteY6" fmla="*/ 53040 h 11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1646" h="111740">
                      <a:moveTo>
                        <a:pt x="92115" y="53040"/>
                      </a:moveTo>
                      <a:cubicBezTo>
                        <a:pt x="90729" y="28171"/>
                        <a:pt x="74406" y="1261"/>
                        <a:pt x="48135" y="457"/>
                      </a:cubicBezTo>
                      <a:cubicBezTo>
                        <a:pt x="33535" y="-109"/>
                        <a:pt x="19919" y="8595"/>
                        <a:pt x="11971" y="20578"/>
                      </a:cubicBezTo>
                      <a:cubicBezTo>
                        <a:pt x="-1635" y="40407"/>
                        <a:pt x="-3602" y="69819"/>
                        <a:pt x="9645" y="90600"/>
                      </a:cubicBezTo>
                      <a:cubicBezTo>
                        <a:pt x="18645" y="105174"/>
                        <a:pt x="35941" y="114692"/>
                        <a:pt x="53005" y="111583"/>
                      </a:cubicBezTo>
                      <a:cubicBezTo>
                        <a:pt x="79070" y="107231"/>
                        <a:pt x="94267" y="78782"/>
                        <a:pt x="92120" y="53162"/>
                      </a:cubicBezTo>
                      <a:lnTo>
                        <a:pt x="92120" y="53040"/>
                      </a:lnTo>
                      <a:close/>
                    </a:path>
                  </a:pathLst>
                </a:custGeom>
                <a:solidFill>
                  <a:srgbClr val="00646E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404" name="Gruppieren 4403">
              <a:extLst>
                <a:ext uri="{FF2B5EF4-FFF2-40B4-BE49-F238E27FC236}">
                  <a16:creationId xmlns:a16="http://schemas.microsoft.com/office/drawing/2014/main" id="{99133793-2252-19AA-EC6B-6DFCE62EA435}"/>
                </a:ext>
              </a:extLst>
            </p:cNvPr>
            <p:cNvGrpSpPr/>
            <p:nvPr/>
          </p:nvGrpSpPr>
          <p:grpSpPr>
            <a:xfrm>
              <a:off x="7118742" y="2734720"/>
              <a:ext cx="474276" cy="1046296"/>
              <a:chOff x="14694656" y="1634215"/>
              <a:chExt cx="474276" cy="1046296"/>
            </a:xfrm>
          </p:grpSpPr>
          <p:sp>
            <p:nvSpPr>
              <p:cNvPr id="4405" name="Freihandform: Form 4404">
                <a:extLst>
                  <a:ext uri="{FF2B5EF4-FFF2-40B4-BE49-F238E27FC236}">
                    <a16:creationId xmlns:a16="http://schemas.microsoft.com/office/drawing/2014/main" id="{2319D6AD-F768-4D07-EB48-B6AE4B069D0B}"/>
                  </a:ext>
                </a:extLst>
              </p:cNvPr>
              <p:cNvSpPr/>
              <p:nvPr/>
            </p:nvSpPr>
            <p:spPr>
              <a:xfrm>
                <a:off x="14715227" y="2030964"/>
                <a:ext cx="224805" cy="647209"/>
              </a:xfrm>
              <a:custGeom>
                <a:avLst/>
                <a:gdLst>
                  <a:gd name="connsiteX0" fmla="*/ 225134 w 224805"/>
                  <a:gd name="connsiteY0" fmla="*/ 647068 h 647209"/>
                  <a:gd name="connsiteX1" fmla="*/ 329 w 224805"/>
                  <a:gd name="connsiteY1" fmla="*/ 517112 h 647209"/>
                  <a:gd name="connsiteX2" fmla="*/ 329 w 224805"/>
                  <a:gd name="connsiteY2" fmla="*/ -142 h 647209"/>
                  <a:gd name="connsiteX3" fmla="*/ 225134 w 224805"/>
                  <a:gd name="connsiteY3" fmla="*/ 129798 h 647209"/>
                  <a:gd name="connsiteX4" fmla="*/ 225134 w 224805"/>
                  <a:gd name="connsiteY4" fmla="*/ 647068 h 647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647209">
                    <a:moveTo>
                      <a:pt x="225134" y="647068"/>
                    </a:moveTo>
                    <a:lnTo>
                      <a:pt x="329" y="517112"/>
                    </a:lnTo>
                    <a:lnTo>
                      <a:pt x="329" y="-142"/>
                    </a:lnTo>
                    <a:lnTo>
                      <a:pt x="225134" y="129798"/>
                    </a:lnTo>
                    <a:lnTo>
                      <a:pt x="225134" y="647068"/>
                    </a:lnTo>
                    <a:close/>
                  </a:path>
                </a:pathLst>
              </a:custGeom>
              <a:solidFill>
                <a:srgbClr val="000028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06" name="Freihandform: Form 4405">
                <a:extLst>
                  <a:ext uri="{FF2B5EF4-FFF2-40B4-BE49-F238E27FC236}">
                    <a16:creationId xmlns:a16="http://schemas.microsoft.com/office/drawing/2014/main" id="{4DDAB044-9EEE-E52B-EE79-AD6724DAD66A}"/>
                  </a:ext>
                </a:extLst>
              </p:cNvPr>
              <p:cNvSpPr/>
              <p:nvPr/>
            </p:nvSpPr>
            <p:spPr>
              <a:xfrm>
                <a:off x="14715227" y="1963398"/>
                <a:ext cx="224805" cy="543746"/>
              </a:xfrm>
              <a:custGeom>
                <a:avLst/>
                <a:gdLst>
                  <a:gd name="connsiteX0" fmla="*/ 225134 w 224805"/>
                  <a:gd name="connsiteY0" fmla="*/ 543604 h 543746"/>
                  <a:gd name="connsiteX1" fmla="*/ 329 w 224805"/>
                  <a:gd name="connsiteY1" fmla="*/ 413648 h 543746"/>
                  <a:gd name="connsiteX2" fmla="*/ 329 w 224805"/>
                  <a:gd name="connsiteY2" fmla="*/ 361933 h 543746"/>
                  <a:gd name="connsiteX3" fmla="*/ 225134 w 224805"/>
                  <a:gd name="connsiteY3" fmla="*/ 491889 h 543746"/>
                  <a:gd name="connsiteX4" fmla="*/ 225134 w 224805"/>
                  <a:gd name="connsiteY4" fmla="*/ 543604 h 543746"/>
                  <a:gd name="connsiteX5" fmla="*/ 225134 w 224805"/>
                  <a:gd name="connsiteY5" fmla="*/ 401354 h 543746"/>
                  <a:gd name="connsiteX6" fmla="*/ 329 w 224805"/>
                  <a:gd name="connsiteY6" fmla="*/ 271414 h 543746"/>
                  <a:gd name="connsiteX7" fmla="*/ 329 w 224805"/>
                  <a:gd name="connsiteY7" fmla="*/ 323130 h 543746"/>
                  <a:gd name="connsiteX8" fmla="*/ 225134 w 224805"/>
                  <a:gd name="connsiteY8" fmla="*/ 453086 h 543746"/>
                  <a:gd name="connsiteX9" fmla="*/ 225134 w 224805"/>
                  <a:gd name="connsiteY9" fmla="*/ 401370 h 543746"/>
                  <a:gd name="connsiteX10" fmla="*/ 225134 w 224805"/>
                  <a:gd name="connsiteY10" fmla="*/ 310835 h 543746"/>
                  <a:gd name="connsiteX11" fmla="*/ 329 w 224805"/>
                  <a:gd name="connsiteY11" fmla="*/ 180895 h 543746"/>
                  <a:gd name="connsiteX12" fmla="*/ 329 w 224805"/>
                  <a:gd name="connsiteY12" fmla="*/ 232627 h 543746"/>
                  <a:gd name="connsiteX13" fmla="*/ 225134 w 224805"/>
                  <a:gd name="connsiteY13" fmla="*/ 362583 h 543746"/>
                  <a:gd name="connsiteX14" fmla="*/ 225134 w 224805"/>
                  <a:gd name="connsiteY14" fmla="*/ 310851 h 543746"/>
                  <a:gd name="connsiteX15" fmla="*/ 225134 w 224805"/>
                  <a:gd name="connsiteY15" fmla="*/ 129798 h 543746"/>
                  <a:gd name="connsiteX16" fmla="*/ 329 w 224805"/>
                  <a:gd name="connsiteY16" fmla="*/ -142 h 543746"/>
                  <a:gd name="connsiteX17" fmla="*/ 329 w 224805"/>
                  <a:gd name="connsiteY17" fmla="*/ 51574 h 543746"/>
                  <a:gd name="connsiteX18" fmla="*/ 225134 w 224805"/>
                  <a:gd name="connsiteY18" fmla="*/ 181530 h 543746"/>
                  <a:gd name="connsiteX19" fmla="*/ 225134 w 224805"/>
                  <a:gd name="connsiteY19" fmla="*/ 129814 h 543746"/>
                  <a:gd name="connsiteX20" fmla="*/ 225134 w 224805"/>
                  <a:gd name="connsiteY20" fmla="*/ 220317 h 543746"/>
                  <a:gd name="connsiteX21" fmla="*/ 329 w 224805"/>
                  <a:gd name="connsiteY21" fmla="*/ 90361 h 543746"/>
                  <a:gd name="connsiteX22" fmla="*/ 329 w 224805"/>
                  <a:gd name="connsiteY22" fmla="*/ 142093 h 543746"/>
                  <a:gd name="connsiteX23" fmla="*/ 225134 w 224805"/>
                  <a:gd name="connsiteY23" fmla="*/ 272049 h 543746"/>
                  <a:gd name="connsiteX24" fmla="*/ 225134 w 224805"/>
                  <a:gd name="connsiteY24" fmla="*/ 220317 h 543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46">
                    <a:moveTo>
                      <a:pt x="225134" y="543604"/>
                    </a:moveTo>
                    <a:lnTo>
                      <a:pt x="329" y="413648"/>
                    </a:lnTo>
                    <a:lnTo>
                      <a:pt x="329" y="361933"/>
                    </a:lnTo>
                    <a:lnTo>
                      <a:pt x="225134" y="491889"/>
                    </a:lnTo>
                    <a:lnTo>
                      <a:pt x="225134" y="543604"/>
                    </a:lnTo>
                    <a:close/>
                    <a:moveTo>
                      <a:pt x="225134" y="401354"/>
                    </a:moveTo>
                    <a:lnTo>
                      <a:pt x="329" y="271414"/>
                    </a:lnTo>
                    <a:lnTo>
                      <a:pt x="329" y="323130"/>
                    </a:lnTo>
                    <a:lnTo>
                      <a:pt x="225134" y="453086"/>
                    </a:lnTo>
                    <a:lnTo>
                      <a:pt x="225134" y="401370"/>
                    </a:lnTo>
                    <a:close/>
                    <a:moveTo>
                      <a:pt x="225134" y="310835"/>
                    </a:moveTo>
                    <a:lnTo>
                      <a:pt x="329" y="180895"/>
                    </a:lnTo>
                    <a:lnTo>
                      <a:pt x="329" y="232627"/>
                    </a:lnTo>
                    <a:lnTo>
                      <a:pt x="225134" y="362583"/>
                    </a:lnTo>
                    <a:lnTo>
                      <a:pt x="225134" y="310851"/>
                    </a:lnTo>
                    <a:close/>
                    <a:moveTo>
                      <a:pt x="225134" y="129798"/>
                    </a:moveTo>
                    <a:lnTo>
                      <a:pt x="329" y="-142"/>
                    </a:lnTo>
                    <a:lnTo>
                      <a:pt x="329" y="51574"/>
                    </a:lnTo>
                    <a:lnTo>
                      <a:pt x="225134" y="181530"/>
                    </a:lnTo>
                    <a:lnTo>
                      <a:pt x="225134" y="129814"/>
                    </a:lnTo>
                    <a:close/>
                    <a:moveTo>
                      <a:pt x="225134" y="220317"/>
                    </a:moveTo>
                    <a:lnTo>
                      <a:pt x="329" y="90361"/>
                    </a:lnTo>
                    <a:lnTo>
                      <a:pt x="329" y="142093"/>
                    </a:lnTo>
                    <a:lnTo>
                      <a:pt x="225134" y="272049"/>
                    </a:lnTo>
                    <a:lnTo>
                      <a:pt x="225134" y="220317"/>
                    </a:lnTo>
                    <a:close/>
                  </a:path>
                </a:pathLst>
              </a:custGeom>
              <a:solidFill>
                <a:srgbClr val="000028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07" name="Freihandform: Form 4406">
                <a:extLst>
                  <a:ext uri="{FF2B5EF4-FFF2-40B4-BE49-F238E27FC236}">
                    <a16:creationId xmlns:a16="http://schemas.microsoft.com/office/drawing/2014/main" id="{2FB2AC79-33AA-F65A-126C-B8267459245A}"/>
                  </a:ext>
                </a:extLst>
              </p:cNvPr>
              <p:cNvSpPr/>
              <p:nvPr/>
            </p:nvSpPr>
            <p:spPr>
              <a:xfrm>
                <a:off x="14715227" y="1759393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solidFill>
                <a:srgbClr val="000028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08" name="Freihandform: Form 4407">
                <a:extLst>
                  <a:ext uri="{FF2B5EF4-FFF2-40B4-BE49-F238E27FC236}">
                    <a16:creationId xmlns:a16="http://schemas.microsoft.com/office/drawing/2014/main" id="{C096666D-9CE0-E45C-6D17-F5C825A8C9E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715227" y="1634215"/>
                <a:ext cx="450530" cy="259895"/>
              </a:xfrm>
              <a:custGeom>
                <a:avLst/>
                <a:gdLst>
                  <a:gd name="connsiteX0" fmla="*/ 225112 w 450530"/>
                  <a:gd name="connsiteY0" fmla="*/ 259871 h 259895"/>
                  <a:gd name="connsiteX1" fmla="*/ 307 w 450530"/>
                  <a:gd name="connsiteY1" fmla="*/ 129915 h 259895"/>
                  <a:gd name="connsiteX2" fmla="*/ 225112 w 450530"/>
                  <a:gd name="connsiteY2" fmla="*/ -25 h 259895"/>
                  <a:gd name="connsiteX3" fmla="*/ 450838 w 450530"/>
                  <a:gd name="connsiteY3" fmla="*/ 129930 h 259895"/>
                  <a:gd name="connsiteX4" fmla="*/ 225112 w 450530"/>
                  <a:gd name="connsiteY4" fmla="*/ 259871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530" h="259895">
                    <a:moveTo>
                      <a:pt x="225112" y="259871"/>
                    </a:moveTo>
                    <a:lnTo>
                      <a:pt x="307" y="129915"/>
                    </a:lnTo>
                    <a:lnTo>
                      <a:pt x="225112" y="-25"/>
                    </a:lnTo>
                    <a:lnTo>
                      <a:pt x="450838" y="129930"/>
                    </a:lnTo>
                    <a:lnTo>
                      <a:pt x="225112" y="259871"/>
                    </a:lnTo>
                    <a:close/>
                  </a:path>
                </a:pathLst>
              </a:custGeom>
              <a:solidFill>
                <a:srgbClr val="CCCCD4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09" name="Freihandform: Form 4408">
                <a:extLst>
                  <a:ext uri="{FF2B5EF4-FFF2-40B4-BE49-F238E27FC236}">
                    <a16:creationId xmlns:a16="http://schemas.microsoft.com/office/drawing/2014/main" id="{CBB29837-061C-9D0D-632D-689F9DB85E1C}"/>
                  </a:ext>
                </a:extLst>
              </p:cNvPr>
              <p:cNvSpPr/>
              <p:nvPr/>
            </p:nvSpPr>
            <p:spPr>
              <a:xfrm>
                <a:off x="14715227" y="1811124"/>
                <a:ext cx="224805" cy="543761"/>
              </a:xfrm>
              <a:custGeom>
                <a:avLst/>
                <a:gdLst>
                  <a:gd name="connsiteX0" fmla="*/ 225134 w 224805"/>
                  <a:gd name="connsiteY0" fmla="*/ 543673 h 543761"/>
                  <a:gd name="connsiteX1" fmla="*/ 329 w 224805"/>
                  <a:gd name="connsiteY1" fmla="*/ 413717 h 543761"/>
                  <a:gd name="connsiteX2" fmla="*/ 329 w 224805"/>
                  <a:gd name="connsiteY2" fmla="*/ 362002 h 543761"/>
                  <a:gd name="connsiteX3" fmla="*/ 225134 w 224805"/>
                  <a:gd name="connsiteY3" fmla="*/ 491957 h 543761"/>
                  <a:gd name="connsiteX4" fmla="*/ 225134 w 224805"/>
                  <a:gd name="connsiteY4" fmla="*/ 543673 h 543761"/>
                  <a:gd name="connsiteX5" fmla="*/ 225134 w 224805"/>
                  <a:gd name="connsiteY5" fmla="*/ 401423 h 543761"/>
                  <a:gd name="connsiteX6" fmla="*/ 329 w 224805"/>
                  <a:gd name="connsiteY6" fmla="*/ 271483 h 543761"/>
                  <a:gd name="connsiteX7" fmla="*/ 329 w 224805"/>
                  <a:gd name="connsiteY7" fmla="*/ 323199 h 543761"/>
                  <a:gd name="connsiteX8" fmla="*/ 225134 w 224805"/>
                  <a:gd name="connsiteY8" fmla="*/ 453155 h 543761"/>
                  <a:gd name="connsiteX9" fmla="*/ 225134 w 224805"/>
                  <a:gd name="connsiteY9" fmla="*/ 401439 h 543761"/>
                  <a:gd name="connsiteX10" fmla="*/ 225134 w 224805"/>
                  <a:gd name="connsiteY10" fmla="*/ 310904 h 543761"/>
                  <a:gd name="connsiteX11" fmla="*/ 329 w 224805"/>
                  <a:gd name="connsiteY11" fmla="*/ 180949 h 543761"/>
                  <a:gd name="connsiteX12" fmla="*/ 329 w 224805"/>
                  <a:gd name="connsiteY12" fmla="*/ 232680 h 543761"/>
                  <a:gd name="connsiteX13" fmla="*/ 225134 w 224805"/>
                  <a:gd name="connsiteY13" fmla="*/ 362636 h 543761"/>
                  <a:gd name="connsiteX14" fmla="*/ 225134 w 224805"/>
                  <a:gd name="connsiteY14" fmla="*/ 310904 h 543761"/>
                  <a:gd name="connsiteX15" fmla="*/ 225134 w 224805"/>
                  <a:gd name="connsiteY15" fmla="*/ 129867 h 543761"/>
                  <a:gd name="connsiteX16" fmla="*/ 329 w 224805"/>
                  <a:gd name="connsiteY16" fmla="*/ -89 h 543761"/>
                  <a:gd name="connsiteX17" fmla="*/ 329 w 224805"/>
                  <a:gd name="connsiteY17" fmla="*/ 51627 h 543761"/>
                  <a:gd name="connsiteX18" fmla="*/ 225134 w 224805"/>
                  <a:gd name="connsiteY18" fmla="*/ 181583 h 543761"/>
                  <a:gd name="connsiteX19" fmla="*/ 225134 w 224805"/>
                  <a:gd name="connsiteY19" fmla="*/ 129867 h 543761"/>
                  <a:gd name="connsiteX20" fmla="*/ 225134 w 224805"/>
                  <a:gd name="connsiteY20" fmla="*/ 220386 h 543761"/>
                  <a:gd name="connsiteX21" fmla="*/ 329 w 224805"/>
                  <a:gd name="connsiteY21" fmla="*/ 90430 h 543761"/>
                  <a:gd name="connsiteX22" fmla="*/ 329 w 224805"/>
                  <a:gd name="connsiteY22" fmla="*/ 142162 h 543761"/>
                  <a:gd name="connsiteX23" fmla="*/ 225134 w 224805"/>
                  <a:gd name="connsiteY23" fmla="*/ 272118 h 543761"/>
                  <a:gd name="connsiteX24" fmla="*/ 225134 w 224805"/>
                  <a:gd name="connsiteY24" fmla="*/ 220386 h 54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61">
                    <a:moveTo>
                      <a:pt x="225134" y="543673"/>
                    </a:moveTo>
                    <a:lnTo>
                      <a:pt x="329" y="413717"/>
                    </a:lnTo>
                    <a:lnTo>
                      <a:pt x="329" y="362002"/>
                    </a:lnTo>
                    <a:lnTo>
                      <a:pt x="225134" y="491957"/>
                    </a:lnTo>
                    <a:lnTo>
                      <a:pt x="225134" y="543673"/>
                    </a:lnTo>
                    <a:close/>
                    <a:moveTo>
                      <a:pt x="225134" y="401423"/>
                    </a:moveTo>
                    <a:lnTo>
                      <a:pt x="329" y="271483"/>
                    </a:lnTo>
                    <a:lnTo>
                      <a:pt x="329" y="323199"/>
                    </a:lnTo>
                    <a:lnTo>
                      <a:pt x="225134" y="453155"/>
                    </a:lnTo>
                    <a:lnTo>
                      <a:pt x="225134" y="401439"/>
                    </a:lnTo>
                    <a:close/>
                    <a:moveTo>
                      <a:pt x="225134" y="310904"/>
                    </a:moveTo>
                    <a:lnTo>
                      <a:pt x="329" y="180949"/>
                    </a:lnTo>
                    <a:lnTo>
                      <a:pt x="329" y="232680"/>
                    </a:lnTo>
                    <a:lnTo>
                      <a:pt x="225134" y="362636"/>
                    </a:lnTo>
                    <a:lnTo>
                      <a:pt x="225134" y="310904"/>
                    </a:lnTo>
                    <a:close/>
                    <a:moveTo>
                      <a:pt x="225134" y="129867"/>
                    </a:moveTo>
                    <a:lnTo>
                      <a:pt x="329" y="-89"/>
                    </a:lnTo>
                    <a:lnTo>
                      <a:pt x="329" y="51627"/>
                    </a:lnTo>
                    <a:lnTo>
                      <a:pt x="225134" y="181583"/>
                    </a:lnTo>
                    <a:lnTo>
                      <a:pt x="225134" y="129867"/>
                    </a:lnTo>
                    <a:close/>
                    <a:moveTo>
                      <a:pt x="225134" y="220386"/>
                    </a:moveTo>
                    <a:lnTo>
                      <a:pt x="329" y="90430"/>
                    </a:lnTo>
                    <a:lnTo>
                      <a:pt x="329" y="142162"/>
                    </a:lnTo>
                    <a:lnTo>
                      <a:pt x="225134" y="272118"/>
                    </a:lnTo>
                    <a:lnTo>
                      <a:pt x="225134" y="220386"/>
                    </a:lnTo>
                    <a:close/>
                  </a:path>
                </a:pathLst>
              </a:custGeom>
              <a:solidFill>
                <a:srgbClr val="000028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0" name="Freihandform: Form 4409">
                <a:extLst>
                  <a:ext uri="{FF2B5EF4-FFF2-40B4-BE49-F238E27FC236}">
                    <a16:creationId xmlns:a16="http://schemas.microsoft.com/office/drawing/2014/main" id="{286B0393-C42C-CA19-644E-BDBE6D5F5FF5}"/>
                  </a:ext>
                </a:extLst>
              </p:cNvPr>
              <p:cNvSpPr/>
              <p:nvPr/>
            </p:nvSpPr>
            <p:spPr>
              <a:xfrm>
                <a:off x="14715390" y="1859817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33353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1" name="Freihandform: Form 4410">
                <a:extLst>
                  <a:ext uri="{FF2B5EF4-FFF2-40B4-BE49-F238E27FC236}">
                    <a16:creationId xmlns:a16="http://schemas.microsoft.com/office/drawing/2014/main" id="{AF9E56CB-F936-98CD-3C4A-0F82213ABFB9}"/>
                  </a:ext>
                </a:extLst>
              </p:cNvPr>
              <p:cNvSpPr/>
              <p:nvPr/>
            </p:nvSpPr>
            <p:spPr>
              <a:xfrm>
                <a:off x="14715390" y="1951971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33353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4412" name="Gruppieren 4411">
                <a:extLst>
                  <a:ext uri="{FF2B5EF4-FFF2-40B4-BE49-F238E27FC236}">
                    <a16:creationId xmlns:a16="http://schemas.microsoft.com/office/drawing/2014/main" id="{1C62B2D2-914A-E581-7282-A3C53CDC8E72}"/>
                  </a:ext>
                </a:extLst>
              </p:cNvPr>
              <p:cNvGrpSpPr/>
              <p:nvPr/>
            </p:nvGrpSpPr>
            <p:grpSpPr>
              <a:xfrm flipH="1">
                <a:off x="14941689" y="1761731"/>
                <a:ext cx="224805" cy="918780"/>
                <a:chOff x="14265058" y="1759393"/>
                <a:chExt cx="224805" cy="918780"/>
              </a:xfrm>
              <a:solidFill>
                <a:srgbClr val="66667E"/>
              </a:solidFill>
            </p:grpSpPr>
            <p:sp>
              <p:nvSpPr>
                <p:cNvPr id="4440" name="Freihandform: Form 4439">
                  <a:extLst>
                    <a:ext uri="{FF2B5EF4-FFF2-40B4-BE49-F238E27FC236}">
                      <a16:creationId xmlns:a16="http://schemas.microsoft.com/office/drawing/2014/main" id="{1FF5AAA1-1114-CC8E-D5B2-C660EEC20623}"/>
                    </a:ext>
                  </a:extLst>
                </p:cNvPr>
                <p:cNvSpPr/>
                <p:nvPr/>
              </p:nvSpPr>
              <p:spPr>
                <a:xfrm>
                  <a:off x="14265058" y="2030964"/>
                  <a:ext cx="224805" cy="647209"/>
                </a:xfrm>
                <a:custGeom>
                  <a:avLst/>
                  <a:gdLst>
                    <a:gd name="connsiteX0" fmla="*/ 225134 w 224805"/>
                    <a:gd name="connsiteY0" fmla="*/ 647068 h 647209"/>
                    <a:gd name="connsiteX1" fmla="*/ 329 w 224805"/>
                    <a:gd name="connsiteY1" fmla="*/ 517112 h 647209"/>
                    <a:gd name="connsiteX2" fmla="*/ 329 w 224805"/>
                    <a:gd name="connsiteY2" fmla="*/ -142 h 647209"/>
                    <a:gd name="connsiteX3" fmla="*/ 225134 w 224805"/>
                    <a:gd name="connsiteY3" fmla="*/ 129798 h 647209"/>
                    <a:gd name="connsiteX4" fmla="*/ 225134 w 224805"/>
                    <a:gd name="connsiteY4" fmla="*/ 647068 h 647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4805" h="647209">
                      <a:moveTo>
                        <a:pt x="225134" y="647068"/>
                      </a:moveTo>
                      <a:lnTo>
                        <a:pt x="329" y="517112"/>
                      </a:lnTo>
                      <a:lnTo>
                        <a:pt x="329" y="-142"/>
                      </a:lnTo>
                      <a:lnTo>
                        <a:pt x="225134" y="129798"/>
                      </a:lnTo>
                      <a:lnTo>
                        <a:pt x="225134" y="647068"/>
                      </a:lnTo>
                      <a:close/>
                    </a:path>
                  </a:pathLst>
                </a:custGeom>
                <a:grpFill/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41" name="Freihandform: Form 4440">
                  <a:extLst>
                    <a:ext uri="{FF2B5EF4-FFF2-40B4-BE49-F238E27FC236}">
                      <a16:creationId xmlns:a16="http://schemas.microsoft.com/office/drawing/2014/main" id="{9ACC3307-F5D4-39E6-CC2A-7D0B0C62F538}"/>
                    </a:ext>
                  </a:extLst>
                </p:cNvPr>
                <p:cNvSpPr/>
                <p:nvPr/>
              </p:nvSpPr>
              <p:spPr>
                <a:xfrm>
                  <a:off x="14265058" y="1963398"/>
                  <a:ext cx="224805" cy="543746"/>
                </a:xfrm>
                <a:custGeom>
                  <a:avLst/>
                  <a:gdLst>
                    <a:gd name="connsiteX0" fmla="*/ 225134 w 224805"/>
                    <a:gd name="connsiteY0" fmla="*/ 543604 h 543746"/>
                    <a:gd name="connsiteX1" fmla="*/ 329 w 224805"/>
                    <a:gd name="connsiteY1" fmla="*/ 413648 h 543746"/>
                    <a:gd name="connsiteX2" fmla="*/ 329 w 224805"/>
                    <a:gd name="connsiteY2" fmla="*/ 361933 h 543746"/>
                    <a:gd name="connsiteX3" fmla="*/ 225134 w 224805"/>
                    <a:gd name="connsiteY3" fmla="*/ 491889 h 543746"/>
                    <a:gd name="connsiteX4" fmla="*/ 225134 w 224805"/>
                    <a:gd name="connsiteY4" fmla="*/ 543604 h 543746"/>
                    <a:gd name="connsiteX5" fmla="*/ 225134 w 224805"/>
                    <a:gd name="connsiteY5" fmla="*/ 401354 h 543746"/>
                    <a:gd name="connsiteX6" fmla="*/ 329 w 224805"/>
                    <a:gd name="connsiteY6" fmla="*/ 271414 h 543746"/>
                    <a:gd name="connsiteX7" fmla="*/ 329 w 224805"/>
                    <a:gd name="connsiteY7" fmla="*/ 323130 h 543746"/>
                    <a:gd name="connsiteX8" fmla="*/ 225134 w 224805"/>
                    <a:gd name="connsiteY8" fmla="*/ 453086 h 543746"/>
                    <a:gd name="connsiteX9" fmla="*/ 225134 w 224805"/>
                    <a:gd name="connsiteY9" fmla="*/ 401370 h 543746"/>
                    <a:gd name="connsiteX10" fmla="*/ 225134 w 224805"/>
                    <a:gd name="connsiteY10" fmla="*/ 310835 h 543746"/>
                    <a:gd name="connsiteX11" fmla="*/ 329 w 224805"/>
                    <a:gd name="connsiteY11" fmla="*/ 180895 h 543746"/>
                    <a:gd name="connsiteX12" fmla="*/ 329 w 224805"/>
                    <a:gd name="connsiteY12" fmla="*/ 232627 h 543746"/>
                    <a:gd name="connsiteX13" fmla="*/ 225134 w 224805"/>
                    <a:gd name="connsiteY13" fmla="*/ 362583 h 543746"/>
                    <a:gd name="connsiteX14" fmla="*/ 225134 w 224805"/>
                    <a:gd name="connsiteY14" fmla="*/ 310851 h 543746"/>
                    <a:gd name="connsiteX15" fmla="*/ 225134 w 224805"/>
                    <a:gd name="connsiteY15" fmla="*/ 129798 h 543746"/>
                    <a:gd name="connsiteX16" fmla="*/ 329 w 224805"/>
                    <a:gd name="connsiteY16" fmla="*/ -142 h 543746"/>
                    <a:gd name="connsiteX17" fmla="*/ 329 w 224805"/>
                    <a:gd name="connsiteY17" fmla="*/ 51574 h 543746"/>
                    <a:gd name="connsiteX18" fmla="*/ 225134 w 224805"/>
                    <a:gd name="connsiteY18" fmla="*/ 181530 h 543746"/>
                    <a:gd name="connsiteX19" fmla="*/ 225134 w 224805"/>
                    <a:gd name="connsiteY19" fmla="*/ 129814 h 543746"/>
                    <a:gd name="connsiteX20" fmla="*/ 225134 w 224805"/>
                    <a:gd name="connsiteY20" fmla="*/ 220317 h 543746"/>
                    <a:gd name="connsiteX21" fmla="*/ 329 w 224805"/>
                    <a:gd name="connsiteY21" fmla="*/ 90361 h 543746"/>
                    <a:gd name="connsiteX22" fmla="*/ 329 w 224805"/>
                    <a:gd name="connsiteY22" fmla="*/ 142093 h 543746"/>
                    <a:gd name="connsiteX23" fmla="*/ 225134 w 224805"/>
                    <a:gd name="connsiteY23" fmla="*/ 272049 h 543746"/>
                    <a:gd name="connsiteX24" fmla="*/ 225134 w 224805"/>
                    <a:gd name="connsiteY24" fmla="*/ 220317 h 543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24805" h="543746">
                      <a:moveTo>
                        <a:pt x="225134" y="543604"/>
                      </a:moveTo>
                      <a:lnTo>
                        <a:pt x="329" y="413648"/>
                      </a:lnTo>
                      <a:lnTo>
                        <a:pt x="329" y="361933"/>
                      </a:lnTo>
                      <a:lnTo>
                        <a:pt x="225134" y="491889"/>
                      </a:lnTo>
                      <a:lnTo>
                        <a:pt x="225134" y="543604"/>
                      </a:lnTo>
                      <a:close/>
                      <a:moveTo>
                        <a:pt x="225134" y="401354"/>
                      </a:moveTo>
                      <a:lnTo>
                        <a:pt x="329" y="271414"/>
                      </a:lnTo>
                      <a:lnTo>
                        <a:pt x="329" y="323130"/>
                      </a:lnTo>
                      <a:lnTo>
                        <a:pt x="225134" y="453086"/>
                      </a:lnTo>
                      <a:lnTo>
                        <a:pt x="225134" y="401370"/>
                      </a:lnTo>
                      <a:close/>
                      <a:moveTo>
                        <a:pt x="225134" y="310835"/>
                      </a:moveTo>
                      <a:lnTo>
                        <a:pt x="329" y="180895"/>
                      </a:lnTo>
                      <a:lnTo>
                        <a:pt x="329" y="232627"/>
                      </a:lnTo>
                      <a:lnTo>
                        <a:pt x="225134" y="362583"/>
                      </a:lnTo>
                      <a:lnTo>
                        <a:pt x="225134" y="310851"/>
                      </a:lnTo>
                      <a:close/>
                      <a:moveTo>
                        <a:pt x="225134" y="129798"/>
                      </a:moveTo>
                      <a:lnTo>
                        <a:pt x="329" y="-142"/>
                      </a:lnTo>
                      <a:lnTo>
                        <a:pt x="329" y="51574"/>
                      </a:lnTo>
                      <a:lnTo>
                        <a:pt x="225134" y="181530"/>
                      </a:lnTo>
                      <a:lnTo>
                        <a:pt x="225134" y="129814"/>
                      </a:lnTo>
                      <a:close/>
                      <a:moveTo>
                        <a:pt x="225134" y="220317"/>
                      </a:moveTo>
                      <a:lnTo>
                        <a:pt x="329" y="90361"/>
                      </a:lnTo>
                      <a:lnTo>
                        <a:pt x="329" y="142093"/>
                      </a:lnTo>
                      <a:lnTo>
                        <a:pt x="225134" y="272049"/>
                      </a:lnTo>
                      <a:lnTo>
                        <a:pt x="225134" y="220317"/>
                      </a:lnTo>
                      <a:close/>
                    </a:path>
                  </a:pathLst>
                </a:custGeom>
                <a:grpFill/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42" name="Freihandform: Form 4441">
                  <a:extLst>
                    <a:ext uri="{FF2B5EF4-FFF2-40B4-BE49-F238E27FC236}">
                      <a16:creationId xmlns:a16="http://schemas.microsoft.com/office/drawing/2014/main" id="{617D5DD5-B89C-43DA-8210-1031D680A946}"/>
                    </a:ext>
                  </a:extLst>
                </p:cNvPr>
                <p:cNvSpPr/>
                <p:nvPr/>
              </p:nvSpPr>
              <p:spPr>
                <a:xfrm>
                  <a:off x="14265058" y="1759393"/>
                  <a:ext cx="224805" cy="595493"/>
                </a:xfrm>
                <a:custGeom>
                  <a:avLst/>
                  <a:gdLst>
                    <a:gd name="connsiteX0" fmla="*/ 225134 w 224805"/>
                    <a:gd name="connsiteY0" fmla="*/ 595410 h 595493"/>
                    <a:gd name="connsiteX1" fmla="*/ 329 w 224805"/>
                    <a:gd name="connsiteY1" fmla="*/ 465454 h 595493"/>
                    <a:gd name="connsiteX2" fmla="*/ 329 w 224805"/>
                    <a:gd name="connsiteY2" fmla="*/ -84 h 595493"/>
                    <a:gd name="connsiteX3" fmla="*/ 225134 w 224805"/>
                    <a:gd name="connsiteY3" fmla="*/ 129872 h 595493"/>
                    <a:gd name="connsiteX4" fmla="*/ 225134 w 224805"/>
                    <a:gd name="connsiteY4" fmla="*/ 595410 h 595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4805" h="595493">
                      <a:moveTo>
                        <a:pt x="225134" y="595410"/>
                      </a:moveTo>
                      <a:lnTo>
                        <a:pt x="329" y="465454"/>
                      </a:lnTo>
                      <a:lnTo>
                        <a:pt x="329" y="-84"/>
                      </a:lnTo>
                      <a:lnTo>
                        <a:pt x="225134" y="129872"/>
                      </a:lnTo>
                      <a:lnTo>
                        <a:pt x="225134" y="595410"/>
                      </a:lnTo>
                      <a:close/>
                    </a:path>
                  </a:pathLst>
                </a:custGeom>
                <a:grpFill/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43" name="Freihandform: Form 4442">
                  <a:extLst>
                    <a:ext uri="{FF2B5EF4-FFF2-40B4-BE49-F238E27FC236}">
                      <a16:creationId xmlns:a16="http://schemas.microsoft.com/office/drawing/2014/main" id="{12C76AB9-75AE-044F-2BFF-B1951A1C7643}"/>
                    </a:ext>
                  </a:extLst>
                </p:cNvPr>
                <p:cNvSpPr/>
                <p:nvPr/>
              </p:nvSpPr>
              <p:spPr>
                <a:xfrm>
                  <a:off x="14265058" y="1811124"/>
                  <a:ext cx="224805" cy="543761"/>
                </a:xfrm>
                <a:custGeom>
                  <a:avLst/>
                  <a:gdLst>
                    <a:gd name="connsiteX0" fmla="*/ 225134 w 224805"/>
                    <a:gd name="connsiteY0" fmla="*/ 543673 h 543761"/>
                    <a:gd name="connsiteX1" fmla="*/ 329 w 224805"/>
                    <a:gd name="connsiteY1" fmla="*/ 413717 h 543761"/>
                    <a:gd name="connsiteX2" fmla="*/ 329 w 224805"/>
                    <a:gd name="connsiteY2" fmla="*/ 362002 h 543761"/>
                    <a:gd name="connsiteX3" fmla="*/ 225134 w 224805"/>
                    <a:gd name="connsiteY3" fmla="*/ 491957 h 543761"/>
                    <a:gd name="connsiteX4" fmla="*/ 225134 w 224805"/>
                    <a:gd name="connsiteY4" fmla="*/ 543673 h 543761"/>
                    <a:gd name="connsiteX5" fmla="*/ 225134 w 224805"/>
                    <a:gd name="connsiteY5" fmla="*/ 401423 h 543761"/>
                    <a:gd name="connsiteX6" fmla="*/ 329 w 224805"/>
                    <a:gd name="connsiteY6" fmla="*/ 271483 h 543761"/>
                    <a:gd name="connsiteX7" fmla="*/ 329 w 224805"/>
                    <a:gd name="connsiteY7" fmla="*/ 323199 h 543761"/>
                    <a:gd name="connsiteX8" fmla="*/ 225134 w 224805"/>
                    <a:gd name="connsiteY8" fmla="*/ 453155 h 543761"/>
                    <a:gd name="connsiteX9" fmla="*/ 225134 w 224805"/>
                    <a:gd name="connsiteY9" fmla="*/ 401439 h 543761"/>
                    <a:gd name="connsiteX10" fmla="*/ 225134 w 224805"/>
                    <a:gd name="connsiteY10" fmla="*/ 310904 h 543761"/>
                    <a:gd name="connsiteX11" fmla="*/ 329 w 224805"/>
                    <a:gd name="connsiteY11" fmla="*/ 180949 h 543761"/>
                    <a:gd name="connsiteX12" fmla="*/ 329 w 224805"/>
                    <a:gd name="connsiteY12" fmla="*/ 232680 h 543761"/>
                    <a:gd name="connsiteX13" fmla="*/ 225134 w 224805"/>
                    <a:gd name="connsiteY13" fmla="*/ 362636 h 543761"/>
                    <a:gd name="connsiteX14" fmla="*/ 225134 w 224805"/>
                    <a:gd name="connsiteY14" fmla="*/ 310904 h 543761"/>
                    <a:gd name="connsiteX15" fmla="*/ 225134 w 224805"/>
                    <a:gd name="connsiteY15" fmla="*/ 129867 h 543761"/>
                    <a:gd name="connsiteX16" fmla="*/ 329 w 224805"/>
                    <a:gd name="connsiteY16" fmla="*/ -89 h 543761"/>
                    <a:gd name="connsiteX17" fmla="*/ 329 w 224805"/>
                    <a:gd name="connsiteY17" fmla="*/ 51627 h 543761"/>
                    <a:gd name="connsiteX18" fmla="*/ 225134 w 224805"/>
                    <a:gd name="connsiteY18" fmla="*/ 181583 h 543761"/>
                    <a:gd name="connsiteX19" fmla="*/ 225134 w 224805"/>
                    <a:gd name="connsiteY19" fmla="*/ 129867 h 543761"/>
                    <a:gd name="connsiteX20" fmla="*/ 225134 w 224805"/>
                    <a:gd name="connsiteY20" fmla="*/ 220386 h 543761"/>
                    <a:gd name="connsiteX21" fmla="*/ 329 w 224805"/>
                    <a:gd name="connsiteY21" fmla="*/ 90430 h 543761"/>
                    <a:gd name="connsiteX22" fmla="*/ 329 w 224805"/>
                    <a:gd name="connsiteY22" fmla="*/ 142162 h 543761"/>
                    <a:gd name="connsiteX23" fmla="*/ 225134 w 224805"/>
                    <a:gd name="connsiteY23" fmla="*/ 272118 h 543761"/>
                    <a:gd name="connsiteX24" fmla="*/ 225134 w 224805"/>
                    <a:gd name="connsiteY24" fmla="*/ 220386 h 543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24805" h="543761">
                      <a:moveTo>
                        <a:pt x="225134" y="543673"/>
                      </a:moveTo>
                      <a:lnTo>
                        <a:pt x="329" y="413717"/>
                      </a:lnTo>
                      <a:lnTo>
                        <a:pt x="329" y="362002"/>
                      </a:lnTo>
                      <a:lnTo>
                        <a:pt x="225134" y="491957"/>
                      </a:lnTo>
                      <a:lnTo>
                        <a:pt x="225134" y="543673"/>
                      </a:lnTo>
                      <a:close/>
                      <a:moveTo>
                        <a:pt x="225134" y="401423"/>
                      </a:moveTo>
                      <a:lnTo>
                        <a:pt x="329" y="271483"/>
                      </a:lnTo>
                      <a:lnTo>
                        <a:pt x="329" y="323199"/>
                      </a:lnTo>
                      <a:lnTo>
                        <a:pt x="225134" y="453155"/>
                      </a:lnTo>
                      <a:lnTo>
                        <a:pt x="225134" y="401439"/>
                      </a:lnTo>
                      <a:close/>
                      <a:moveTo>
                        <a:pt x="225134" y="310904"/>
                      </a:moveTo>
                      <a:lnTo>
                        <a:pt x="329" y="180949"/>
                      </a:lnTo>
                      <a:lnTo>
                        <a:pt x="329" y="232680"/>
                      </a:lnTo>
                      <a:lnTo>
                        <a:pt x="225134" y="362636"/>
                      </a:lnTo>
                      <a:lnTo>
                        <a:pt x="225134" y="310904"/>
                      </a:lnTo>
                      <a:close/>
                      <a:moveTo>
                        <a:pt x="225134" y="129867"/>
                      </a:moveTo>
                      <a:lnTo>
                        <a:pt x="329" y="-89"/>
                      </a:lnTo>
                      <a:lnTo>
                        <a:pt x="329" y="51627"/>
                      </a:lnTo>
                      <a:lnTo>
                        <a:pt x="225134" y="181583"/>
                      </a:lnTo>
                      <a:lnTo>
                        <a:pt x="225134" y="129867"/>
                      </a:lnTo>
                      <a:close/>
                      <a:moveTo>
                        <a:pt x="225134" y="220386"/>
                      </a:moveTo>
                      <a:lnTo>
                        <a:pt x="329" y="90430"/>
                      </a:lnTo>
                      <a:lnTo>
                        <a:pt x="329" y="142162"/>
                      </a:lnTo>
                      <a:lnTo>
                        <a:pt x="225134" y="272118"/>
                      </a:lnTo>
                      <a:lnTo>
                        <a:pt x="225134" y="220386"/>
                      </a:lnTo>
                      <a:close/>
                    </a:path>
                  </a:pathLst>
                </a:custGeom>
                <a:grpFill/>
                <a:ln w="1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pic>
            <p:nvPicPr>
              <p:cNvPr id="4413" name="Grafik 4412">
                <a:extLst>
                  <a:ext uri="{FF2B5EF4-FFF2-40B4-BE49-F238E27FC236}">
                    <a16:creationId xmlns:a16="http://schemas.microsoft.com/office/drawing/2014/main" id="{8D7EC1F5-73BA-7755-84F4-2DF74B8DE2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4968881" y="1905267"/>
                <a:ext cx="112478" cy="142655"/>
              </a:xfrm>
              <a:prstGeom prst="rect">
                <a:avLst/>
              </a:prstGeom>
              <a:scene3d>
                <a:camera prst="isometricRightUp"/>
                <a:lightRig rig="threePt" dir="t"/>
              </a:scene3d>
            </p:spPr>
          </p:pic>
          <p:sp>
            <p:nvSpPr>
              <p:cNvPr id="4414" name="Freihandform: Form 4413">
                <a:extLst>
                  <a:ext uri="{FF2B5EF4-FFF2-40B4-BE49-F238E27FC236}">
                    <a16:creationId xmlns:a16="http://schemas.microsoft.com/office/drawing/2014/main" id="{89DE9991-CD80-9940-DB08-FC38A7FA80F2}"/>
                  </a:ext>
                </a:extLst>
              </p:cNvPr>
              <p:cNvSpPr/>
              <p:nvPr/>
            </p:nvSpPr>
            <p:spPr>
              <a:xfrm flipH="1">
                <a:off x="15072673" y="2031575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5" name="Freihandform: Form 4414">
                <a:extLst>
                  <a:ext uri="{FF2B5EF4-FFF2-40B4-BE49-F238E27FC236}">
                    <a16:creationId xmlns:a16="http://schemas.microsoft.com/office/drawing/2014/main" id="{C7C7C64E-C3D4-4FF0-E3CA-71B80AEFBD67}"/>
                  </a:ext>
                </a:extLst>
              </p:cNvPr>
              <p:cNvSpPr/>
              <p:nvPr/>
            </p:nvSpPr>
            <p:spPr>
              <a:xfrm flipH="1">
                <a:off x="15072673" y="2123729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99A9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6" name="Freihandform: Form 4415">
                <a:extLst>
                  <a:ext uri="{FF2B5EF4-FFF2-40B4-BE49-F238E27FC236}">
                    <a16:creationId xmlns:a16="http://schemas.microsoft.com/office/drawing/2014/main" id="{272E2724-684E-6499-315E-6C4F6823C417}"/>
                  </a:ext>
                </a:extLst>
              </p:cNvPr>
              <p:cNvSpPr/>
              <p:nvPr/>
            </p:nvSpPr>
            <p:spPr>
              <a:xfrm flipH="1">
                <a:off x="15072673" y="2219772"/>
                <a:ext cx="92866" cy="125160"/>
              </a:xfrm>
              <a:custGeom>
                <a:avLst/>
                <a:gdLst>
                  <a:gd name="connsiteX0" fmla="*/ 0 w 92866"/>
                  <a:gd name="connsiteY0" fmla="*/ 0 h 125160"/>
                  <a:gd name="connsiteX1" fmla="*/ 92867 w 92866"/>
                  <a:gd name="connsiteY1" fmla="*/ 53624 h 125160"/>
                  <a:gd name="connsiteX2" fmla="*/ 92867 w 92866"/>
                  <a:gd name="connsiteY2" fmla="*/ 125160 h 125160"/>
                  <a:gd name="connsiteX3" fmla="*/ 0 w 92866"/>
                  <a:gd name="connsiteY3" fmla="*/ 71536 h 125160"/>
                  <a:gd name="connsiteX4" fmla="*/ 0 w 92866"/>
                  <a:gd name="connsiteY4" fmla="*/ 0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60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60"/>
                    </a:lnTo>
                    <a:lnTo>
                      <a:pt x="0" y="715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99A9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7" name="Freihandform: Form 4416">
                <a:extLst>
                  <a:ext uri="{FF2B5EF4-FFF2-40B4-BE49-F238E27FC236}">
                    <a16:creationId xmlns:a16="http://schemas.microsoft.com/office/drawing/2014/main" id="{7384A45F-72B6-C91F-3A28-583C447B2F7F}"/>
                  </a:ext>
                </a:extLst>
              </p:cNvPr>
              <p:cNvSpPr/>
              <p:nvPr/>
            </p:nvSpPr>
            <p:spPr>
              <a:xfrm flipH="1">
                <a:off x="15072673" y="2311926"/>
                <a:ext cx="92866" cy="125172"/>
              </a:xfrm>
              <a:custGeom>
                <a:avLst/>
                <a:gdLst>
                  <a:gd name="connsiteX0" fmla="*/ 0 w 92866"/>
                  <a:gd name="connsiteY0" fmla="*/ 0 h 125172"/>
                  <a:gd name="connsiteX1" fmla="*/ 92867 w 92866"/>
                  <a:gd name="connsiteY1" fmla="*/ 53624 h 125172"/>
                  <a:gd name="connsiteX2" fmla="*/ 92867 w 92866"/>
                  <a:gd name="connsiteY2" fmla="*/ 125173 h 125172"/>
                  <a:gd name="connsiteX3" fmla="*/ 0 w 92866"/>
                  <a:gd name="connsiteY3" fmla="*/ 71548 h 125172"/>
                  <a:gd name="connsiteX4" fmla="*/ 0 w 92866"/>
                  <a:gd name="connsiteY4" fmla="*/ 0 h 125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866" h="125172">
                    <a:moveTo>
                      <a:pt x="0" y="0"/>
                    </a:moveTo>
                    <a:lnTo>
                      <a:pt x="92867" y="53624"/>
                    </a:lnTo>
                    <a:lnTo>
                      <a:pt x="92867" y="125173"/>
                    </a:lnTo>
                    <a:lnTo>
                      <a:pt x="0" y="715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99A9"/>
              </a:solidFill>
              <a:ln w="12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4418" name="Gruppieren 4417">
                <a:extLst>
                  <a:ext uri="{FF2B5EF4-FFF2-40B4-BE49-F238E27FC236}">
                    <a16:creationId xmlns:a16="http://schemas.microsoft.com/office/drawing/2014/main" id="{E37072ED-AF6D-8721-0D4B-1424BFB79CA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4694656" y="1636262"/>
                <a:ext cx="474276" cy="938423"/>
                <a:chOff x="13167667" y="2868059"/>
                <a:chExt cx="474276" cy="938423"/>
              </a:xfrm>
            </p:grpSpPr>
            <p:sp>
              <p:nvSpPr>
                <p:cNvPr id="4419" name="Freihandform: Form 4418">
                  <a:extLst>
                    <a:ext uri="{FF2B5EF4-FFF2-40B4-BE49-F238E27FC236}">
                      <a16:creationId xmlns:a16="http://schemas.microsoft.com/office/drawing/2014/main" id="{2DBA62D2-44C6-A62A-DF25-E2CA035C1E24}"/>
                    </a:ext>
                  </a:extLst>
                </p:cNvPr>
                <p:cNvSpPr/>
                <p:nvPr/>
              </p:nvSpPr>
              <p:spPr>
                <a:xfrm>
                  <a:off x="13185121" y="2868059"/>
                  <a:ext cx="454900" cy="263137"/>
                </a:xfrm>
                <a:custGeom>
                  <a:avLst/>
                  <a:gdLst>
                    <a:gd name="connsiteX0" fmla="*/ 1126368 w 2253607"/>
                    <a:gd name="connsiteY0" fmla="*/ 0 h 1303586"/>
                    <a:gd name="connsiteX1" fmla="*/ 2253608 w 2253607"/>
                    <a:gd name="connsiteY1" fmla="*/ 642394 h 1303586"/>
                    <a:gd name="connsiteX2" fmla="*/ 1111117 w 2253607"/>
                    <a:gd name="connsiteY2" fmla="*/ 1303586 h 1303586"/>
                    <a:gd name="connsiteX3" fmla="*/ 0 w 2253607"/>
                    <a:gd name="connsiteY3" fmla="*/ 643079 h 1303586"/>
                    <a:gd name="connsiteX4" fmla="*/ 1126368 w 2253607"/>
                    <a:gd name="connsiteY4" fmla="*/ 0 h 1303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3607" h="1303586">
                      <a:moveTo>
                        <a:pt x="1126368" y="0"/>
                      </a:moveTo>
                      <a:lnTo>
                        <a:pt x="2253608" y="642394"/>
                      </a:lnTo>
                      <a:lnTo>
                        <a:pt x="1111117" y="1303586"/>
                      </a:lnTo>
                      <a:lnTo>
                        <a:pt x="0" y="643079"/>
                      </a:lnTo>
                      <a:lnTo>
                        <a:pt x="1126368" y="0"/>
                      </a:lnTo>
                      <a:close/>
                    </a:path>
                  </a:pathLst>
                </a:custGeom>
                <a:solidFill>
                  <a:srgbClr val="000028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0" name="Freihandform: Form 4419">
                  <a:extLst>
                    <a:ext uri="{FF2B5EF4-FFF2-40B4-BE49-F238E27FC236}">
                      <a16:creationId xmlns:a16="http://schemas.microsoft.com/office/drawing/2014/main" id="{1CAE1565-D6D1-09D2-9FD3-907DEE2F0FC6}"/>
                    </a:ext>
                  </a:extLst>
                </p:cNvPr>
                <p:cNvSpPr/>
                <p:nvPr/>
              </p:nvSpPr>
              <p:spPr>
                <a:xfrm>
                  <a:off x="13187244" y="2868059"/>
                  <a:ext cx="454699" cy="263550"/>
                </a:xfrm>
                <a:custGeom>
                  <a:avLst/>
                  <a:gdLst>
                    <a:gd name="connsiteX0" fmla="*/ 1116035 w 2252611"/>
                    <a:gd name="connsiteY0" fmla="*/ 0 h 1305640"/>
                    <a:gd name="connsiteX1" fmla="*/ 2252612 w 2252611"/>
                    <a:gd name="connsiteY1" fmla="*/ 644448 h 1305640"/>
                    <a:gd name="connsiteX2" fmla="*/ 1116035 w 2252611"/>
                    <a:gd name="connsiteY2" fmla="*/ 1305641 h 1305640"/>
                    <a:gd name="connsiteX3" fmla="*/ 0 w 2252611"/>
                    <a:gd name="connsiteY3" fmla="*/ 645133 h 1305640"/>
                    <a:gd name="connsiteX4" fmla="*/ 1116035 w 2252611"/>
                    <a:gd name="connsiteY4" fmla="*/ 0 h 1305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2611" h="1305640">
                      <a:moveTo>
                        <a:pt x="1116035" y="0"/>
                      </a:moveTo>
                      <a:lnTo>
                        <a:pt x="2252612" y="644448"/>
                      </a:lnTo>
                      <a:lnTo>
                        <a:pt x="1116035" y="1305641"/>
                      </a:lnTo>
                      <a:lnTo>
                        <a:pt x="0" y="645133"/>
                      </a:lnTo>
                      <a:lnTo>
                        <a:pt x="1116035" y="0"/>
                      </a:lnTo>
                      <a:close/>
                    </a:path>
                  </a:pathLst>
                </a:custGeom>
                <a:gradFill>
                  <a:gsLst>
                    <a:gs pos="1000">
                      <a:srgbClr val="00C1B6">
                        <a:alpha val="0"/>
                      </a:srgbClr>
                    </a:gs>
                    <a:gs pos="12000">
                      <a:srgbClr val="00C1B6">
                        <a:alpha val="10980"/>
                      </a:srgbClr>
                    </a:gs>
                    <a:gs pos="100000">
                      <a:srgbClr val="00C1B6"/>
                    </a:gs>
                  </a:gsLst>
                  <a:lin ang="0" scaled="1"/>
                </a:gra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1" name="Freihandform: Form 4420">
                  <a:extLst>
                    <a:ext uri="{FF2B5EF4-FFF2-40B4-BE49-F238E27FC236}">
                      <a16:creationId xmlns:a16="http://schemas.microsoft.com/office/drawing/2014/main" id="{CDAEC96E-BB2A-2AD4-E133-11E179F21E59}"/>
                    </a:ext>
                  </a:extLst>
                </p:cNvPr>
                <p:cNvSpPr/>
                <p:nvPr/>
              </p:nvSpPr>
              <p:spPr>
                <a:xfrm>
                  <a:off x="13242304" y="2901671"/>
                  <a:ext cx="341364" cy="195913"/>
                </a:xfrm>
                <a:custGeom>
                  <a:avLst/>
                  <a:gdLst>
                    <a:gd name="connsiteX0" fmla="*/ 0 w 1691139"/>
                    <a:gd name="connsiteY0" fmla="*/ 485281 h 970562"/>
                    <a:gd name="connsiteX1" fmla="*/ 846192 w 1691139"/>
                    <a:gd name="connsiteY1" fmla="*/ 0 h 970562"/>
                    <a:gd name="connsiteX2" fmla="*/ 1691140 w 1691139"/>
                    <a:gd name="connsiteY2" fmla="*/ 483476 h 970562"/>
                    <a:gd name="connsiteX3" fmla="*/ 846192 w 1691139"/>
                    <a:gd name="connsiteY3" fmla="*/ 970562 h 970562"/>
                    <a:gd name="connsiteX4" fmla="*/ 0 w 1691139"/>
                    <a:gd name="connsiteY4" fmla="*/ 485281 h 970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91139" h="970562">
                      <a:moveTo>
                        <a:pt x="0" y="485281"/>
                      </a:moveTo>
                      <a:lnTo>
                        <a:pt x="846192" y="0"/>
                      </a:lnTo>
                      <a:lnTo>
                        <a:pt x="1691140" y="483476"/>
                      </a:lnTo>
                      <a:lnTo>
                        <a:pt x="846192" y="970562"/>
                      </a:lnTo>
                      <a:lnTo>
                        <a:pt x="0" y="485281"/>
                      </a:lnTo>
                      <a:close/>
                    </a:path>
                  </a:pathLst>
                </a:custGeom>
                <a:gradFill>
                  <a:gsLst>
                    <a:gs pos="12000">
                      <a:srgbClr val="805CFF"/>
                    </a:gs>
                    <a:gs pos="19000">
                      <a:srgbClr val="694BD8">
                        <a:alpha val="81961"/>
                      </a:srgbClr>
                    </a:gs>
                    <a:gs pos="27000">
                      <a:srgbClr val="5039AF">
                        <a:alpha val="62745"/>
                      </a:srgbClr>
                    </a:gs>
                    <a:gs pos="35000">
                      <a:srgbClr val="3A2A8B">
                        <a:alpha val="45882"/>
                      </a:srgbClr>
                    </a:gs>
                    <a:gs pos="44000">
                      <a:srgbClr val="281D6C">
                        <a:alpha val="31765"/>
                      </a:srgbClr>
                    </a:gs>
                    <a:gs pos="53000">
                      <a:srgbClr val="191253">
                        <a:alpha val="20000"/>
                      </a:srgbClr>
                    </a:gs>
                    <a:gs pos="63000">
                      <a:srgbClr val="0E0A40">
                        <a:alpha val="10980"/>
                      </a:srgbClr>
                    </a:gs>
                    <a:gs pos="73000">
                      <a:srgbClr val="060432">
                        <a:alpha val="4706"/>
                      </a:srgbClr>
                    </a:gs>
                    <a:gs pos="85000">
                      <a:srgbClr val="01012A">
                        <a:alpha val="784"/>
                      </a:srgbClr>
                    </a:gs>
                    <a:gs pos="100000">
                      <a:srgbClr val="000028">
                        <a:alpha val="0"/>
                      </a:srgbClr>
                    </a:gs>
                  </a:gsLst>
                  <a:lin ang="0" scaled="1"/>
                </a:gra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2" name="Freihandform: Form 4421">
                  <a:extLst>
                    <a:ext uri="{FF2B5EF4-FFF2-40B4-BE49-F238E27FC236}">
                      <a16:creationId xmlns:a16="http://schemas.microsoft.com/office/drawing/2014/main" id="{63375C7D-2CF8-FD1B-5035-F1E84EBC9004}"/>
                    </a:ext>
                  </a:extLst>
                </p:cNvPr>
                <p:cNvSpPr/>
                <p:nvPr/>
              </p:nvSpPr>
              <p:spPr>
                <a:xfrm>
                  <a:off x="13413224" y="2901671"/>
                  <a:ext cx="171185" cy="106841"/>
                </a:xfrm>
                <a:custGeom>
                  <a:avLst/>
                  <a:gdLst>
                    <a:gd name="connsiteX0" fmla="*/ 773363 w 848059"/>
                    <a:gd name="connsiteY0" fmla="*/ 529290 h 529290"/>
                    <a:gd name="connsiteX1" fmla="*/ 436 w 848059"/>
                    <a:gd name="connsiteY1" fmla="*/ 85902 h 529290"/>
                    <a:gd name="connsiteX2" fmla="*/ 0 w 848059"/>
                    <a:gd name="connsiteY2" fmla="*/ 0 h 529290"/>
                    <a:gd name="connsiteX3" fmla="*/ 848060 w 848059"/>
                    <a:gd name="connsiteY3" fmla="*/ 487958 h 529290"/>
                    <a:gd name="connsiteX4" fmla="*/ 773363 w 848059"/>
                    <a:gd name="connsiteY4" fmla="*/ 529290 h 529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8059" h="529290">
                      <a:moveTo>
                        <a:pt x="773363" y="529290"/>
                      </a:moveTo>
                      <a:lnTo>
                        <a:pt x="436" y="85902"/>
                      </a:lnTo>
                      <a:lnTo>
                        <a:pt x="0" y="0"/>
                      </a:lnTo>
                      <a:lnTo>
                        <a:pt x="848060" y="487958"/>
                      </a:lnTo>
                      <a:lnTo>
                        <a:pt x="773363" y="529290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3" name="Freihandform: Form 4422">
                  <a:extLst>
                    <a:ext uri="{FF2B5EF4-FFF2-40B4-BE49-F238E27FC236}">
                      <a16:creationId xmlns:a16="http://schemas.microsoft.com/office/drawing/2014/main" id="{1F21EE32-AF18-473F-F7DA-64EC3C8A4518}"/>
                    </a:ext>
                  </a:extLst>
                </p:cNvPr>
                <p:cNvSpPr/>
                <p:nvPr/>
              </p:nvSpPr>
              <p:spPr>
                <a:xfrm>
                  <a:off x="13240958" y="2901671"/>
                  <a:ext cx="172528" cy="106841"/>
                </a:xfrm>
                <a:custGeom>
                  <a:avLst/>
                  <a:gdLst>
                    <a:gd name="connsiteX0" fmla="*/ 81357 w 854720"/>
                    <a:gd name="connsiteY0" fmla="*/ 529290 h 529290"/>
                    <a:gd name="connsiteX1" fmla="*/ 854284 w 854720"/>
                    <a:gd name="connsiteY1" fmla="*/ 85902 h 529290"/>
                    <a:gd name="connsiteX2" fmla="*/ 854720 w 854720"/>
                    <a:gd name="connsiteY2" fmla="*/ 0 h 529290"/>
                    <a:gd name="connsiteX3" fmla="*/ 0 w 854720"/>
                    <a:gd name="connsiteY3" fmla="*/ 484285 h 529290"/>
                    <a:gd name="connsiteX4" fmla="*/ 81357 w 854720"/>
                    <a:gd name="connsiteY4" fmla="*/ 529290 h 529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4720" h="529290">
                      <a:moveTo>
                        <a:pt x="81357" y="529290"/>
                      </a:moveTo>
                      <a:lnTo>
                        <a:pt x="854284" y="85902"/>
                      </a:lnTo>
                      <a:lnTo>
                        <a:pt x="854720" y="0"/>
                      </a:lnTo>
                      <a:lnTo>
                        <a:pt x="0" y="484285"/>
                      </a:lnTo>
                      <a:lnTo>
                        <a:pt x="81357" y="529290"/>
                      </a:lnTo>
                      <a:close/>
                    </a:path>
                  </a:pathLst>
                </a:custGeom>
                <a:solidFill>
                  <a:srgbClr val="000028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4" name="Freihandform: Form 4423">
                  <a:extLst>
                    <a:ext uri="{FF2B5EF4-FFF2-40B4-BE49-F238E27FC236}">
                      <a16:creationId xmlns:a16="http://schemas.microsoft.com/office/drawing/2014/main" id="{5F6B6223-BC7D-9AC9-40DF-5CBFDFE4DE81}"/>
                    </a:ext>
                  </a:extLst>
                </p:cNvPr>
                <p:cNvSpPr/>
                <p:nvPr/>
              </p:nvSpPr>
              <p:spPr>
                <a:xfrm>
                  <a:off x="13287059" y="3043263"/>
                  <a:ext cx="353589" cy="391837"/>
                </a:xfrm>
                <a:custGeom>
                  <a:avLst/>
                  <a:gdLst>
                    <a:gd name="connsiteX0" fmla="*/ 1751706 w 1751706"/>
                    <a:gd name="connsiteY0" fmla="*/ 1291012 h 1941187"/>
                    <a:gd name="connsiteX1" fmla="*/ 683104 w 1751706"/>
                    <a:gd name="connsiteY1" fmla="*/ 1941187 h 1941187"/>
                    <a:gd name="connsiteX2" fmla="*/ 391350 w 1751706"/>
                    <a:gd name="connsiteY2" fmla="*/ 1773804 h 1941187"/>
                    <a:gd name="connsiteX3" fmla="*/ 391350 w 1751706"/>
                    <a:gd name="connsiteY3" fmla="*/ 638348 h 1941187"/>
                    <a:gd name="connsiteX4" fmla="*/ 0 w 1751706"/>
                    <a:gd name="connsiteY4" fmla="*/ 416685 h 1941187"/>
                    <a:gd name="connsiteX5" fmla="*/ 0 w 1751706"/>
                    <a:gd name="connsiteY5" fmla="*/ 72830 h 1941187"/>
                    <a:gd name="connsiteX6" fmla="*/ 149519 w 1751706"/>
                    <a:gd name="connsiteY6" fmla="*/ 0 h 194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51706" h="1941187">
                      <a:moveTo>
                        <a:pt x="1751706" y="1291012"/>
                      </a:moveTo>
                      <a:lnTo>
                        <a:pt x="683104" y="1941187"/>
                      </a:lnTo>
                      <a:lnTo>
                        <a:pt x="391350" y="1773804"/>
                      </a:lnTo>
                      <a:lnTo>
                        <a:pt x="391350" y="638348"/>
                      </a:lnTo>
                      <a:lnTo>
                        <a:pt x="0" y="416685"/>
                      </a:lnTo>
                      <a:lnTo>
                        <a:pt x="0" y="72830"/>
                      </a:lnTo>
                      <a:lnTo>
                        <a:pt x="149519" y="0"/>
                      </a:lnTo>
                    </a:path>
                  </a:pathLst>
                </a:custGeom>
                <a:noFill/>
                <a:ln w="12700" cap="flat">
                  <a:solidFill>
                    <a:srgbClr val="805C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5" name="Freihandform: Form 4424">
                  <a:extLst>
                    <a:ext uri="{FF2B5EF4-FFF2-40B4-BE49-F238E27FC236}">
                      <a16:creationId xmlns:a16="http://schemas.microsoft.com/office/drawing/2014/main" id="{5B668EF3-A623-90F4-A493-E6388D8BA399}"/>
                    </a:ext>
                  </a:extLst>
                </p:cNvPr>
                <p:cNvSpPr/>
                <p:nvPr/>
              </p:nvSpPr>
              <p:spPr>
                <a:xfrm>
                  <a:off x="13306698" y="3057059"/>
                  <a:ext cx="333938" cy="355097"/>
                </a:xfrm>
                <a:custGeom>
                  <a:avLst/>
                  <a:gdLst>
                    <a:gd name="connsiteX0" fmla="*/ 98413 w 1654351"/>
                    <a:gd name="connsiteY0" fmla="*/ 0 h 1759175"/>
                    <a:gd name="connsiteX1" fmla="*/ 1681 w 1654351"/>
                    <a:gd name="connsiteY1" fmla="*/ 61065 h 1759175"/>
                    <a:gd name="connsiteX2" fmla="*/ 0 w 1654351"/>
                    <a:gd name="connsiteY2" fmla="*/ 284969 h 1759175"/>
                    <a:gd name="connsiteX3" fmla="*/ 393591 w 1654351"/>
                    <a:gd name="connsiteY3" fmla="*/ 512297 h 1759175"/>
                    <a:gd name="connsiteX4" fmla="*/ 393591 w 1654351"/>
                    <a:gd name="connsiteY4" fmla="*/ 1647690 h 1759175"/>
                    <a:gd name="connsiteX5" fmla="*/ 588674 w 1654351"/>
                    <a:gd name="connsiteY5" fmla="*/ 1759176 h 1759175"/>
                    <a:gd name="connsiteX6" fmla="*/ 1654351 w 1654351"/>
                    <a:gd name="connsiteY6" fmla="*/ 1144793 h 1759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54351" h="1759175">
                      <a:moveTo>
                        <a:pt x="98413" y="0"/>
                      </a:moveTo>
                      <a:lnTo>
                        <a:pt x="1681" y="61065"/>
                      </a:lnTo>
                      <a:lnTo>
                        <a:pt x="0" y="284969"/>
                      </a:lnTo>
                      <a:lnTo>
                        <a:pt x="393591" y="512297"/>
                      </a:lnTo>
                      <a:lnTo>
                        <a:pt x="393591" y="1647690"/>
                      </a:lnTo>
                      <a:lnTo>
                        <a:pt x="588674" y="1759176"/>
                      </a:lnTo>
                      <a:lnTo>
                        <a:pt x="1654351" y="1144793"/>
                      </a:lnTo>
                    </a:path>
                  </a:pathLst>
                </a:custGeom>
                <a:noFill/>
                <a:ln w="12700" cap="flat">
                  <a:solidFill>
                    <a:srgbClr val="B4A8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6" name="Freihandform: Form 4425">
                  <a:extLst>
                    <a:ext uri="{FF2B5EF4-FFF2-40B4-BE49-F238E27FC236}">
                      <a16:creationId xmlns:a16="http://schemas.microsoft.com/office/drawing/2014/main" id="{9EF86568-11A8-E3C6-B7DC-802162BC9ACB}"/>
                    </a:ext>
                  </a:extLst>
                </p:cNvPr>
                <p:cNvSpPr/>
                <p:nvPr/>
              </p:nvSpPr>
              <p:spPr>
                <a:xfrm>
                  <a:off x="13465581" y="3032997"/>
                  <a:ext cx="58904" cy="716666"/>
                </a:xfrm>
                <a:custGeom>
                  <a:avLst/>
                  <a:gdLst>
                    <a:gd name="connsiteX0" fmla="*/ 144414 w 291815"/>
                    <a:gd name="connsiteY0" fmla="*/ 3550408 h 3550408"/>
                    <a:gd name="connsiteX1" fmla="*/ 0 w 291815"/>
                    <a:gd name="connsiteY1" fmla="*/ 3459527 h 3550408"/>
                    <a:gd name="connsiteX2" fmla="*/ 0 w 291815"/>
                    <a:gd name="connsiteY2" fmla="*/ 2558682 h 3550408"/>
                    <a:gd name="connsiteX3" fmla="*/ 291816 w 291815"/>
                    <a:gd name="connsiteY3" fmla="*/ 2387315 h 3550408"/>
                    <a:gd name="connsiteX4" fmla="*/ 291816 w 291815"/>
                    <a:gd name="connsiteY4" fmla="*/ 234548 h 3550408"/>
                    <a:gd name="connsiteX5" fmla="*/ 191722 w 291815"/>
                    <a:gd name="connsiteY5" fmla="*/ 178588 h 3550408"/>
                    <a:gd name="connsiteX6" fmla="*/ 95052 w 291815"/>
                    <a:gd name="connsiteY6" fmla="*/ 119204 h 3550408"/>
                    <a:gd name="connsiteX7" fmla="*/ 95052 w 291815"/>
                    <a:gd name="connsiteY7" fmla="*/ 0 h 3550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1815" h="3550408">
                      <a:moveTo>
                        <a:pt x="144414" y="3550408"/>
                      </a:moveTo>
                      <a:lnTo>
                        <a:pt x="0" y="3459527"/>
                      </a:lnTo>
                      <a:lnTo>
                        <a:pt x="0" y="2558682"/>
                      </a:lnTo>
                      <a:lnTo>
                        <a:pt x="291816" y="2387315"/>
                      </a:lnTo>
                      <a:lnTo>
                        <a:pt x="291816" y="234548"/>
                      </a:lnTo>
                      <a:lnTo>
                        <a:pt x="191722" y="178588"/>
                      </a:lnTo>
                      <a:lnTo>
                        <a:pt x="95052" y="119204"/>
                      </a:lnTo>
                      <a:lnTo>
                        <a:pt x="95052" y="0"/>
                      </a:lnTo>
                    </a:path>
                  </a:pathLst>
                </a:custGeom>
                <a:noFill/>
                <a:ln w="12700" cap="flat">
                  <a:solidFill>
                    <a:srgbClr val="00E6DC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7" name="Freihandform: Form 4426">
                  <a:extLst>
                    <a:ext uri="{FF2B5EF4-FFF2-40B4-BE49-F238E27FC236}">
                      <a16:creationId xmlns:a16="http://schemas.microsoft.com/office/drawing/2014/main" id="{5E9E3D84-74E3-B1B3-59B9-FC260DD15A5F}"/>
                    </a:ext>
                  </a:extLst>
                </p:cNvPr>
                <p:cNvSpPr/>
                <p:nvPr/>
              </p:nvSpPr>
              <p:spPr>
                <a:xfrm>
                  <a:off x="13327229" y="2966341"/>
                  <a:ext cx="173584" cy="90606"/>
                </a:xfrm>
                <a:custGeom>
                  <a:avLst/>
                  <a:gdLst>
                    <a:gd name="connsiteX0" fmla="*/ 0 w 859948"/>
                    <a:gd name="connsiteY0" fmla="*/ 448866 h 448866"/>
                    <a:gd name="connsiteX1" fmla="*/ 781144 w 859948"/>
                    <a:gd name="connsiteY1" fmla="*/ 0 h 448866"/>
                    <a:gd name="connsiteX2" fmla="*/ 859949 w 859948"/>
                    <a:gd name="connsiteY2" fmla="*/ 45565 h 448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9948" h="448866">
                      <a:moveTo>
                        <a:pt x="0" y="448866"/>
                      </a:moveTo>
                      <a:lnTo>
                        <a:pt x="781144" y="0"/>
                      </a:lnTo>
                      <a:lnTo>
                        <a:pt x="859949" y="45565"/>
                      </a:lnTo>
                    </a:path>
                  </a:pathLst>
                </a:custGeom>
                <a:noFill/>
                <a:ln w="12700" cap="flat">
                  <a:solidFill>
                    <a:srgbClr val="805C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8" name="Freihandform: Form 4427">
                  <a:extLst>
                    <a:ext uri="{FF2B5EF4-FFF2-40B4-BE49-F238E27FC236}">
                      <a16:creationId xmlns:a16="http://schemas.microsoft.com/office/drawing/2014/main" id="{607694B3-62F3-BEB5-172A-56565647DE89}"/>
                    </a:ext>
                  </a:extLst>
                </p:cNvPr>
                <p:cNvSpPr/>
                <p:nvPr/>
              </p:nvSpPr>
              <p:spPr>
                <a:xfrm>
                  <a:off x="13354872" y="3000643"/>
                  <a:ext cx="123412" cy="63139"/>
                </a:xfrm>
                <a:custGeom>
                  <a:avLst/>
                  <a:gdLst>
                    <a:gd name="connsiteX0" fmla="*/ 0 w 611394"/>
                    <a:gd name="connsiteY0" fmla="*/ 312794 h 312793"/>
                    <a:gd name="connsiteX1" fmla="*/ 546097 w 611394"/>
                    <a:gd name="connsiteY1" fmla="*/ 0 h 312793"/>
                    <a:gd name="connsiteX2" fmla="*/ 611395 w 611394"/>
                    <a:gd name="connsiteY2" fmla="*/ 38967 h 312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1394" h="312793">
                      <a:moveTo>
                        <a:pt x="0" y="312794"/>
                      </a:moveTo>
                      <a:lnTo>
                        <a:pt x="546097" y="0"/>
                      </a:lnTo>
                      <a:lnTo>
                        <a:pt x="611395" y="38967"/>
                      </a:lnTo>
                    </a:path>
                  </a:pathLst>
                </a:custGeom>
                <a:noFill/>
                <a:ln w="12700" cap="flat">
                  <a:solidFill>
                    <a:srgbClr val="B4A8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9" name="Freihandform: Form 4428">
                  <a:extLst>
                    <a:ext uri="{FF2B5EF4-FFF2-40B4-BE49-F238E27FC236}">
                      <a16:creationId xmlns:a16="http://schemas.microsoft.com/office/drawing/2014/main" id="{AB8AF2D3-30C0-AE8A-5992-6ED70BDDF552}"/>
                    </a:ext>
                  </a:extLst>
                </p:cNvPr>
                <p:cNvSpPr/>
                <p:nvPr/>
              </p:nvSpPr>
              <p:spPr>
                <a:xfrm>
                  <a:off x="13275524" y="2906833"/>
                  <a:ext cx="296557" cy="899649"/>
                </a:xfrm>
                <a:custGeom>
                  <a:avLst/>
                  <a:gdLst>
                    <a:gd name="connsiteX0" fmla="*/ 0 w 1469164"/>
                    <a:gd name="connsiteY0" fmla="*/ 0 h 4456918"/>
                    <a:gd name="connsiteX1" fmla="*/ 0 w 1469164"/>
                    <a:gd name="connsiteY1" fmla="*/ 450796 h 4456918"/>
                    <a:gd name="connsiteX2" fmla="*/ 980584 w 1469164"/>
                    <a:gd name="connsiteY2" fmla="*/ 1012144 h 4456918"/>
                    <a:gd name="connsiteX3" fmla="*/ 980584 w 1469164"/>
                    <a:gd name="connsiteY3" fmla="*/ 1906640 h 4456918"/>
                    <a:gd name="connsiteX4" fmla="*/ 1469165 w 1469164"/>
                    <a:gd name="connsiteY4" fmla="*/ 1629390 h 4456918"/>
                    <a:gd name="connsiteX5" fmla="*/ 1469165 w 1469164"/>
                    <a:gd name="connsiteY5" fmla="*/ 2300231 h 4456918"/>
                    <a:gd name="connsiteX6" fmla="*/ 688768 w 1469164"/>
                    <a:gd name="connsiteY6" fmla="*/ 2749782 h 4456918"/>
                    <a:gd name="connsiteX7" fmla="*/ 688768 w 1469164"/>
                    <a:gd name="connsiteY7" fmla="*/ 4456918 h 4456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69164" h="4456918">
                      <a:moveTo>
                        <a:pt x="0" y="0"/>
                      </a:moveTo>
                      <a:lnTo>
                        <a:pt x="0" y="450796"/>
                      </a:lnTo>
                      <a:lnTo>
                        <a:pt x="980584" y="1012144"/>
                      </a:lnTo>
                      <a:lnTo>
                        <a:pt x="980584" y="1906640"/>
                      </a:lnTo>
                      <a:lnTo>
                        <a:pt x="1469165" y="1629390"/>
                      </a:lnTo>
                      <a:lnTo>
                        <a:pt x="1469165" y="2300231"/>
                      </a:lnTo>
                      <a:lnTo>
                        <a:pt x="688768" y="2749782"/>
                      </a:lnTo>
                      <a:lnTo>
                        <a:pt x="688768" y="4456918"/>
                      </a:lnTo>
                    </a:path>
                  </a:pathLst>
                </a:custGeom>
                <a:noFill/>
                <a:ln w="12700" cap="flat">
                  <a:solidFill>
                    <a:srgbClr val="00FFB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2" name="Freihandform: Form 4431">
                  <a:extLst>
                    <a:ext uri="{FF2B5EF4-FFF2-40B4-BE49-F238E27FC236}">
                      <a16:creationId xmlns:a16="http://schemas.microsoft.com/office/drawing/2014/main" id="{F797C2D8-86AC-0EFA-E00D-07DF85E02FAA}"/>
                    </a:ext>
                  </a:extLst>
                </p:cNvPr>
                <p:cNvSpPr/>
                <p:nvPr/>
              </p:nvSpPr>
              <p:spPr>
                <a:xfrm>
                  <a:off x="13167667" y="2931812"/>
                  <a:ext cx="74635" cy="743404"/>
                </a:xfrm>
                <a:custGeom>
                  <a:avLst/>
                  <a:gdLst>
                    <a:gd name="connsiteX0" fmla="*/ 369750 w 369749"/>
                    <a:gd name="connsiteY0" fmla="*/ 0 h 3682870"/>
                    <a:gd name="connsiteX1" fmla="*/ 369750 w 369749"/>
                    <a:gd name="connsiteY1" fmla="*/ 387491 h 3682870"/>
                    <a:gd name="connsiteX2" fmla="*/ 277312 w 369749"/>
                    <a:gd name="connsiteY2" fmla="*/ 448555 h 3682870"/>
                    <a:gd name="connsiteX3" fmla="*/ 277312 w 369749"/>
                    <a:gd name="connsiteY3" fmla="*/ 2823607 h 3682870"/>
                    <a:gd name="connsiteX4" fmla="*/ 0 w 369749"/>
                    <a:gd name="connsiteY4" fmla="*/ 2995472 h 3682870"/>
                    <a:gd name="connsiteX5" fmla="*/ 0 w 369749"/>
                    <a:gd name="connsiteY5" fmla="*/ 3682871 h 3682870"/>
                    <a:gd name="connsiteX6" fmla="*/ 300967 w 369749"/>
                    <a:gd name="connsiteY6" fmla="*/ 3501606 h 36828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9749" h="3682870">
                      <a:moveTo>
                        <a:pt x="369750" y="0"/>
                      </a:moveTo>
                      <a:lnTo>
                        <a:pt x="369750" y="387491"/>
                      </a:lnTo>
                      <a:lnTo>
                        <a:pt x="277312" y="448555"/>
                      </a:lnTo>
                      <a:lnTo>
                        <a:pt x="277312" y="2823607"/>
                      </a:lnTo>
                      <a:lnTo>
                        <a:pt x="0" y="2995472"/>
                      </a:lnTo>
                      <a:lnTo>
                        <a:pt x="0" y="3682871"/>
                      </a:lnTo>
                      <a:lnTo>
                        <a:pt x="300967" y="3501606"/>
                      </a:lnTo>
                    </a:path>
                  </a:pathLst>
                </a:custGeom>
                <a:noFill/>
                <a:ln w="12700" cap="flat">
                  <a:solidFill>
                    <a:srgbClr val="00FFB9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3" name="Freihandform: Form 4432">
                  <a:extLst>
                    <a:ext uri="{FF2B5EF4-FFF2-40B4-BE49-F238E27FC236}">
                      <a16:creationId xmlns:a16="http://schemas.microsoft.com/office/drawing/2014/main" id="{B7062C5B-9262-C305-6E51-95B9559B5D13}"/>
                    </a:ext>
                  </a:extLst>
                </p:cNvPr>
                <p:cNvSpPr/>
                <p:nvPr/>
              </p:nvSpPr>
              <p:spPr>
                <a:xfrm>
                  <a:off x="13499118" y="2973492"/>
                  <a:ext cx="51165" cy="44316"/>
                </a:xfrm>
                <a:custGeom>
                  <a:avLst/>
                  <a:gdLst>
                    <a:gd name="connsiteX0" fmla="*/ 0 w 253471"/>
                    <a:gd name="connsiteY0" fmla="*/ 0 h 219546"/>
                    <a:gd name="connsiteX1" fmla="*/ 126736 w 253471"/>
                    <a:gd name="connsiteY1" fmla="*/ 73328 h 219546"/>
                    <a:gd name="connsiteX2" fmla="*/ 253472 w 253471"/>
                    <a:gd name="connsiteY2" fmla="*/ 62 h 219546"/>
                    <a:gd name="connsiteX3" fmla="*/ 253472 w 253471"/>
                    <a:gd name="connsiteY3" fmla="*/ 146468 h 219546"/>
                    <a:gd name="connsiteX4" fmla="*/ 126736 w 253471"/>
                    <a:gd name="connsiteY4" fmla="*/ 219547 h 219546"/>
                    <a:gd name="connsiteX5" fmla="*/ 0 w 253471"/>
                    <a:gd name="connsiteY5" fmla="*/ 146406 h 219546"/>
                    <a:gd name="connsiteX6" fmla="*/ 0 w 253471"/>
                    <a:gd name="connsiteY6" fmla="*/ 0 h 219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471" h="219546">
                      <a:moveTo>
                        <a:pt x="0" y="0"/>
                      </a:moveTo>
                      <a:lnTo>
                        <a:pt x="126736" y="73328"/>
                      </a:lnTo>
                      <a:lnTo>
                        <a:pt x="253472" y="62"/>
                      </a:lnTo>
                      <a:lnTo>
                        <a:pt x="253472" y="146468"/>
                      </a:lnTo>
                      <a:lnTo>
                        <a:pt x="126736" y="219547"/>
                      </a:lnTo>
                      <a:lnTo>
                        <a:pt x="0" y="14640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E6DC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4" name="Freihandform: Form 4433">
                  <a:extLst>
                    <a:ext uri="{FF2B5EF4-FFF2-40B4-BE49-F238E27FC236}">
                      <a16:creationId xmlns:a16="http://schemas.microsoft.com/office/drawing/2014/main" id="{377577E5-5BF9-4698-38E5-36E3068AACDA}"/>
                    </a:ext>
                  </a:extLst>
                </p:cNvPr>
                <p:cNvSpPr/>
                <p:nvPr/>
              </p:nvSpPr>
              <p:spPr>
                <a:xfrm>
                  <a:off x="13499142" y="2958729"/>
                  <a:ext cx="51140" cy="29565"/>
                </a:xfrm>
                <a:custGeom>
                  <a:avLst/>
                  <a:gdLst>
                    <a:gd name="connsiteX0" fmla="*/ 126612 w 253347"/>
                    <a:gd name="connsiteY0" fmla="*/ 0 h 146468"/>
                    <a:gd name="connsiteX1" fmla="*/ 253347 w 253347"/>
                    <a:gd name="connsiteY1" fmla="*/ 73203 h 146468"/>
                    <a:gd name="connsiteX2" fmla="*/ 126612 w 253347"/>
                    <a:gd name="connsiteY2" fmla="*/ 146468 h 146468"/>
                    <a:gd name="connsiteX3" fmla="*/ 0 w 253347"/>
                    <a:gd name="connsiteY3" fmla="*/ 73888 h 146468"/>
                    <a:gd name="connsiteX4" fmla="*/ 126612 w 253347"/>
                    <a:gd name="connsiteY4" fmla="*/ 0 h 146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347" h="146468">
                      <a:moveTo>
                        <a:pt x="126612" y="0"/>
                      </a:moveTo>
                      <a:lnTo>
                        <a:pt x="253347" y="73203"/>
                      </a:lnTo>
                      <a:lnTo>
                        <a:pt x="126612" y="146468"/>
                      </a:lnTo>
                      <a:lnTo>
                        <a:pt x="0" y="73888"/>
                      </a:lnTo>
                      <a:lnTo>
                        <a:pt x="126612" y="0"/>
                      </a:lnTo>
                      <a:close/>
                    </a:path>
                  </a:pathLst>
                </a:custGeom>
                <a:solidFill>
                  <a:srgbClr val="00E6DC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5" name="Freihandform: Form 4434">
                  <a:extLst>
                    <a:ext uri="{FF2B5EF4-FFF2-40B4-BE49-F238E27FC236}">
                      <a16:creationId xmlns:a16="http://schemas.microsoft.com/office/drawing/2014/main" id="{3E4DC421-1AC1-0491-4D2A-24D95B2682F6}"/>
                    </a:ext>
                  </a:extLst>
                </p:cNvPr>
                <p:cNvSpPr/>
                <p:nvPr/>
              </p:nvSpPr>
              <p:spPr>
                <a:xfrm>
                  <a:off x="13524698" y="2973504"/>
                  <a:ext cx="25581" cy="44304"/>
                </a:xfrm>
                <a:custGeom>
                  <a:avLst/>
                  <a:gdLst>
                    <a:gd name="connsiteX0" fmla="*/ 0 w 126735"/>
                    <a:gd name="connsiteY0" fmla="*/ 73265 h 219484"/>
                    <a:gd name="connsiteX1" fmla="*/ 0 w 126735"/>
                    <a:gd name="connsiteY1" fmla="*/ 219485 h 219484"/>
                    <a:gd name="connsiteX2" fmla="*/ 126736 w 126735"/>
                    <a:gd name="connsiteY2" fmla="*/ 146406 h 219484"/>
                    <a:gd name="connsiteX3" fmla="*/ 126736 w 126735"/>
                    <a:gd name="connsiteY3" fmla="*/ 0 h 219484"/>
                    <a:gd name="connsiteX4" fmla="*/ 0 w 126735"/>
                    <a:gd name="connsiteY4" fmla="*/ 73265 h 219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735" h="219484">
                      <a:moveTo>
                        <a:pt x="0" y="73265"/>
                      </a:moveTo>
                      <a:lnTo>
                        <a:pt x="0" y="219485"/>
                      </a:lnTo>
                      <a:lnTo>
                        <a:pt x="126736" y="146406"/>
                      </a:lnTo>
                      <a:lnTo>
                        <a:pt x="126736" y="0"/>
                      </a:lnTo>
                      <a:lnTo>
                        <a:pt x="0" y="73265"/>
                      </a:lnTo>
                      <a:close/>
                    </a:path>
                  </a:pathLst>
                </a:custGeom>
                <a:solidFill>
                  <a:srgbClr val="00BEDC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6" name="Freihandform: Form 4435">
                  <a:extLst>
                    <a:ext uri="{FF2B5EF4-FFF2-40B4-BE49-F238E27FC236}">
                      <a16:creationId xmlns:a16="http://schemas.microsoft.com/office/drawing/2014/main" id="{3513548D-B42E-5333-EBFE-862B87FA7F39}"/>
                    </a:ext>
                  </a:extLst>
                </p:cNvPr>
                <p:cNvSpPr/>
                <p:nvPr/>
              </p:nvSpPr>
              <p:spPr>
                <a:xfrm>
                  <a:off x="13509245" y="2950522"/>
                  <a:ext cx="29829" cy="29829"/>
                </a:xfrm>
                <a:custGeom>
                  <a:avLst/>
                  <a:gdLst>
                    <a:gd name="connsiteX0" fmla="*/ 147776 w 147775"/>
                    <a:gd name="connsiteY0" fmla="*/ 73888 h 147775"/>
                    <a:gd name="connsiteX1" fmla="*/ 73888 w 147775"/>
                    <a:gd name="connsiteY1" fmla="*/ 147775 h 147775"/>
                    <a:gd name="connsiteX2" fmla="*/ 0 w 147775"/>
                    <a:gd name="connsiteY2" fmla="*/ 73888 h 147775"/>
                    <a:gd name="connsiteX3" fmla="*/ 73888 w 147775"/>
                    <a:gd name="connsiteY3" fmla="*/ 0 h 147775"/>
                    <a:gd name="connsiteX4" fmla="*/ 147776 w 147775"/>
                    <a:gd name="connsiteY4" fmla="*/ 73888 h 147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7775" h="147775">
                      <a:moveTo>
                        <a:pt x="147776" y="73888"/>
                      </a:moveTo>
                      <a:cubicBezTo>
                        <a:pt x="147776" y="114695"/>
                        <a:pt x="114695" y="147775"/>
                        <a:pt x="73888" y="147775"/>
                      </a:cubicBezTo>
                      <a:cubicBezTo>
                        <a:pt x="33081" y="147775"/>
                        <a:pt x="0" y="114695"/>
                        <a:pt x="0" y="73888"/>
                      </a:cubicBezTo>
                      <a:cubicBezTo>
                        <a:pt x="0" y="33081"/>
                        <a:pt x="33081" y="0"/>
                        <a:pt x="73888" y="0"/>
                      </a:cubicBezTo>
                      <a:cubicBezTo>
                        <a:pt x="114695" y="0"/>
                        <a:pt x="147776" y="33081"/>
                        <a:pt x="147776" y="73888"/>
                      </a:cubicBezTo>
                      <a:close/>
                    </a:path>
                  </a:pathLst>
                </a:custGeom>
                <a:solidFill>
                  <a:srgbClr val="00646E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7" name="Freihandform: Form 4436">
                  <a:extLst>
                    <a:ext uri="{FF2B5EF4-FFF2-40B4-BE49-F238E27FC236}">
                      <a16:creationId xmlns:a16="http://schemas.microsoft.com/office/drawing/2014/main" id="{C18FD1E3-4990-6314-F788-2FFDC467B031}"/>
                    </a:ext>
                  </a:extLst>
                </p:cNvPr>
                <p:cNvSpPr/>
                <p:nvPr/>
              </p:nvSpPr>
              <p:spPr>
                <a:xfrm>
                  <a:off x="13470607" y="3010170"/>
                  <a:ext cx="28573" cy="24740"/>
                </a:xfrm>
                <a:custGeom>
                  <a:avLst/>
                  <a:gdLst>
                    <a:gd name="connsiteX0" fmla="*/ 0 w 141550"/>
                    <a:gd name="connsiteY0" fmla="*/ 0 h 122565"/>
                    <a:gd name="connsiteX1" fmla="*/ 70775 w 141550"/>
                    <a:gd name="connsiteY1" fmla="*/ 40959 h 122565"/>
                    <a:gd name="connsiteX2" fmla="*/ 141551 w 141550"/>
                    <a:gd name="connsiteY2" fmla="*/ 62 h 122565"/>
                    <a:gd name="connsiteX3" fmla="*/ 141551 w 141550"/>
                    <a:gd name="connsiteY3" fmla="*/ 81793 h 122565"/>
                    <a:gd name="connsiteX4" fmla="*/ 70775 w 141550"/>
                    <a:gd name="connsiteY4" fmla="*/ 122565 h 122565"/>
                    <a:gd name="connsiteX5" fmla="*/ 0 w 141550"/>
                    <a:gd name="connsiteY5" fmla="*/ 81731 h 122565"/>
                    <a:gd name="connsiteX6" fmla="*/ 0 w 141550"/>
                    <a:gd name="connsiteY6" fmla="*/ 0 h 122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1550" h="122565">
                      <a:moveTo>
                        <a:pt x="0" y="0"/>
                      </a:moveTo>
                      <a:lnTo>
                        <a:pt x="70775" y="40959"/>
                      </a:lnTo>
                      <a:lnTo>
                        <a:pt x="141551" y="62"/>
                      </a:lnTo>
                      <a:lnTo>
                        <a:pt x="141551" y="81793"/>
                      </a:lnTo>
                      <a:lnTo>
                        <a:pt x="70775" y="122565"/>
                      </a:lnTo>
                      <a:lnTo>
                        <a:pt x="0" y="8173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E6DC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8" name="Freihandform: Form 4437">
                  <a:extLst>
                    <a:ext uri="{FF2B5EF4-FFF2-40B4-BE49-F238E27FC236}">
                      <a16:creationId xmlns:a16="http://schemas.microsoft.com/office/drawing/2014/main" id="{71F18867-D9B0-A5CF-AB05-3181A1682164}"/>
                    </a:ext>
                  </a:extLst>
                </p:cNvPr>
                <p:cNvSpPr/>
                <p:nvPr/>
              </p:nvSpPr>
              <p:spPr>
                <a:xfrm>
                  <a:off x="13470621" y="3001924"/>
                  <a:ext cx="28560" cy="16510"/>
                </a:xfrm>
                <a:custGeom>
                  <a:avLst/>
                  <a:gdLst>
                    <a:gd name="connsiteX0" fmla="*/ 70713 w 141488"/>
                    <a:gd name="connsiteY0" fmla="*/ 0 h 81793"/>
                    <a:gd name="connsiteX1" fmla="*/ 141489 w 141488"/>
                    <a:gd name="connsiteY1" fmla="*/ 40897 h 81793"/>
                    <a:gd name="connsiteX2" fmla="*/ 70713 w 141488"/>
                    <a:gd name="connsiteY2" fmla="*/ 81793 h 81793"/>
                    <a:gd name="connsiteX3" fmla="*/ 0 w 141488"/>
                    <a:gd name="connsiteY3" fmla="*/ 41270 h 81793"/>
                    <a:gd name="connsiteX4" fmla="*/ 70713 w 141488"/>
                    <a:gd name="connsiteY4" fmla="*/ 0 h 81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488" h="81793">
                      <a:moveTo>
                        <a:pt x="70713" y="0"/>
                      </a:moveTo>
                      <a:lnTo>
                        <a:pt x="141489" y="40897"/>
                      </a:lnTo>
                      <a:lnTo>
                        <a:pt x="70713" y="81793"/>
                      </a:lnTo>
                      <a:lnTo>
                        <a:pt x="0" y="41270"/>
                      </a:lnTo>
                      <a:lnTo>
                        <a:pt x="70713" y="0"/>
                      </a:lnTo>
                      <a:close/>
                    </a:path>
                  </a:pathLst>
                </a:custGeom>
                <a:solidFill>
                  <a:srgbClr val="00E6DC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9" name="Freihandform: Form 4438">
                  <a:extLst>
                    <a:ext uri="{FF2B5EF4-FFF2-40B4-BE49-F238E27FC236}">
                      <a16:creationId xmlns:a16="http://schemas.microsoft.com/office/drawing/2014/main" id="{E1AB5DF7-2DFA-D6EC-8227-B032FD53850D}"/>
                    </a:ext>
                  </a:extLst>
                </p:cNvPr>
                <p:cNvSpPr/>
                <p:nvPr/>
              </p:nvSpPr>
              <p:spPr>
                <a:xfrm>
                  <a:off x="13484895" y="3010179"/>
                  <a:ext cx="14286" cy="24727"/>
                </a:xfrm>
                <a:custGeom>
                  <a:avLst/>
                  <a:gdLst>
                    <a:gd name="connsiteX0" fmla="*/ 0 w 70775"/>
                    <a:gd name="connsiteY0" fmla="*/ 40897 h 122503"/>
                    <a:gd name="connsiteX1" fmla="*/ 0 w 70775"/>
                    <a:gd name="connsiteY1" fmla="*/ 122503 h 122503"/>
                    <a:gd name="connsiteX2" fmla="*/ 70776 w 70775"/>
                    <a:gd name="connsiteY2" fmla="*/ 81731 h 122503"/>
                    <a:gd name="connsiteX3" fmla="*/ 70776 w 70775"/>
                    <a:gd name="connsiteY3" fmla="*/ 0 h 122503"/>
                    <a:gd name="connsiteX4" fmla="*/ 0 w 70775"/>
                    <a:gd name="connsiteY4" fmla="*/ 40897 h 122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775" h="122503">
                      <a:moveTo>
                        <a:pt x="0" y="40897"/>
                      </a:moveTo>
                      <a:lnTo>
                        <a:pt x="0" y="122503"/>
                      </a:lnTo>
                      <a:lnTo>
                        <a:pt x="70776" y="81731"/>
                      </a:lnTo>
                      <a:lnTo>
                        <a:pt x="70776" y="0"/>
                      </a:lnTo>
                      <a:lnTo>
                        <a:pt x="0" y="40897"/>
                      </a:lnTo>
                      <a:close/>
                    </a:path>
                  </a:pathLst>
                </a:custGeom>
                <a:solidFill>
                  <a:srgbClr val="00BEDC"/>
                </a:solidFill>
                <a:ln w="62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444" name="Gruppieren 4443">
              <a:extLst>
                <a:ext uri="{FF2B5EF4-FFF2-40B4-BE49-F238E27FC236}">
                  <a16:creationId xmlns:a16="http://schemas.microsoft.com/office/drawing/2014/main" id="{E8CBD64E-51DB-D694-A63B-A6C313EDFE73}"/>
                </a:ext>
              </a:extLst>
            </p:cNvPr>
            <p:cNvGrpSpPr/>
            <p:nvPr/>
          </p:nvGrpSpPr>
          <p:grpSpPr>
            <a:xfrm>
              <a:off x="6782172" y="3017503"/>
              <a:ext cx="479829" cy="965870"/>
              <a:chOff x="9728991" y="3017503"/>
              <a:chExt cx="479829" cy="965870"/>
            </a:xfrm>
          </p:grpSpPr>
          <p:sp>
            <p:nvSpPr>
              <p:cNvPr id="4445" name="Freihandform: Form 4444">
                <a:extLst>
                  <a:ext uri="{FF2B5EF4-FFF2-40B4-BE49-F238E27FC236}">
                    <a16:creationId xmlns:a16="http://schemas.microsoft.com/office/drawing/2014/main" id="{48CA7D66-C14F-7E03-0248-9F7B79854867}"/>
                  </a:ext>
                </a:extLst>
              </p:cNvPr>
              <p:cNvSpPr/>
              <p:nvPr/>
            </p:nvSpPr>
            <p:spPr>
              <a:xfrm>
                <a:off x="9728991" y="3017503"/>
                <a:ext cx="160391" cy="138527"/>
              </a:xfrm>
              <a:custGeom>
                <a:avLst/>
                <a:gdLst>
                  <a:gd name="connsiteX0" fmla="*/ 710057 w 794589"/>
                  <a:gd name="connsiteY0" fmla="*/ 133298 h 686267"/>
                  <a:gd name="connsiteX1" fmla="*/ 681734 w 794589"/>
                  <a:gd name="connsiteY1" fmla="*/ 149669 h 686267"/>
                  <a:gd name="connsiteX2" fmla="*/ 693126 w 794589"/>
                  <a:gd name="connsiteY2" fmla="*/ 84496 h 686267"/>
                  <a:gd name="connsiteX3" fmla="*/ 574793 w 794589"/>
                  <a:gd name="connsiteY3" fmla="*/ 16148 h 686267"/>
                  <a:gd name="connsiteX4" fmla="*/ 528855 w 794589"/>
                  <a:gd name="connsiteY4" fmla="*/ 53310 h 686267"/>
                  <a:gd name="connsiteX5" fmla="*/ 338066 w 794589"/>
                  <a:gd name="connsiteY5" fmla="*/ 35631 h 686267"/>
                  <a:gd name="connsiteX6" fmla="*/ 119017 w 794589"/>
                  <a:gd name="connsiteY6" fmla="*/ 396418 h 686267"/>
                  <a:gd name="connsiteX7" fmla="*/ 118333 w 794589"/>
                  <a:gd name="connsiteY7" fmla="*/ 396791 h 686267"/>
                  <a:gd name="connsiteX8" fmla="*/ 0 w 794589"/>
                  <a:gd name="connsiteY8" fmla="*/ 601772 h 686267"/>
                  <a:gd name="connsiteX9" fmla="*/ 118333 w 794589"/>
                  <a:gd name="connsiteY9" fmla="*/ 670120 h 686267"/>
                  <a:gd name="connsiteX10" fmla="*/ 710057 w 794589"/>
                  <a:gd name="connsiteY10" fmla="*/ 328506 h 686267"/>
                  <a:gd name="connsiteX11" fmla="*/ 794589 w 794589"/>
                  <a:gd name="connsiteY11" fmla="*/ 182100 h 686267"/>
                  <a:gd name="connsiteX12" fmla="*/ 710057 w 794589"/>
                  <a:gd name="connsiteY12" fmla="*/ 133298 h 68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94589" h="686267">
                    <a:moveTo>
                      <a:pt x="710057" y="133298"/>
                    </a:moveTo>
                    <a:lnTo>
                      <a:pt x="681734" y="149669"/>
                    </a:lnTo>
                    <a:cubicBezTo>
                      <a:pt x="689017" y="127695"/>
                      <a:pt x="693126" y="105473"/>
                      <a:pt x="693126" y="84496"/>
                    </a:cubicBezTo>
                    <a:cubicBezTo>
                      <a:pt x="693126" y="9052"/>
                      <a:pt x="640153" y="-21574"/>
                      <a:pt x="574793" y="16148"/>
                    </a:cubicBezTo>
                    <a:cubicBezTo>
                      <a:pt x="558484" y="25547"/>
                      <a:pt x="542985" y="38308"/>
                      <a:pt x="528855" y="53310"/>
                    </a:cubicBezTo>
                    <a:cubicBezTo>
                      <a:pt x="490946" y="-1157"/>
                      <a:pt x="419735" y="-11490"/>
                      <a:pt x="338066" y="35631"/>
                    </a:cubicBezTo>
                    <a:cubicBezTo>
                      <a:pt x="222348" y="102423"/>
                      <a:pt x="127607" y="260345"/>
                      <a:pt x="119017" y="396418"/>
                    </a:cubicBezTo>
                    <a:cubicBezTo>
                      <a:pt x="118768" y="396542"/>
                      <a:pt x="118519" y="396667"/>
                      <a:pt x="118333" y="396791"/>
                    </a:cubicBezTo>
                    <a:cubicBezTo>
                      <a:pt x="52973" y="434513"/>
                      <a:pt x="0" y="526266"/>
                      <a:pt x="0" y="601772"/>
                    </a:cubicBezTo>
                    <a:cubicBezTo>
                      <a:pt x="0" y="677216"/>
                      <a:pt x="52973" y="707842"/>
                      <a:pt x="118333" y="670120"/>
                    </a:cubicBezTo>
                    <a:lnTo>
                      <a:pt x="710057" y="328506"/>
                    </a:lnTo>
                    <a:cubicBezTo>
                      <a:pt x="756743" y="301552"/>
                      <a:pt x="794589" y="236006"/>
                      <a:pt x="794589" y="182100"/>
                    </a:cubicBezTo>
                    <a:cubicBezTo>
                      <a:pt x="794589" y="128193"/>
                      <a:pt x="756743" y="106344"/>
                      <a:pt x="710057" y="133298"/>
                    </a:cubicBez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46" name="Freihandform: Form 4445">
                <a:extLst>
                  <a:ext uri="{FF2B5EF4-FFF2-40B4-BE49-F238E27FC236}">
                    <a16:creationId xmlns:a16="http://schemas.microsoft.com/office/drawing/2014/main" id="{8CF5CA4F-D4DE-A54E-9C59-13BF21904D2E}"/>
                  </a:ext>
                </a:extLst>
              </p:cNvPr>
              <p:cNvSpPr/>
              <p:nvPr/>
            </p:nvSpPr>
            <p:spPr>
              <a:xfrm>
                <a:off x="9752613" y="3046168"/>
                <a:ext cx="227361" cy="917206"/>
              </a:xfrm>
              <a:custGeom>
                <a:avLst/>
                <a:gdLst>
                  <a:gd name="connsiteX0" fmla="*/ 0 w 1126367"/>
                  <a:gd name="connsiteY0" fmla="*/ 3897687 h 4543877"/>
                  <a:gd name="connsiteX1" fmla="*/ 1126368 w 1126367"/>
                  <a:gd name="connsiteY1" fmla="*/ 4543878 h 4543877"/>
                  <a:gd name="connsiteX2" fmla="*/ 1126368 w 1126367"/>
                  <a:gd name="connsiteY2" fmla="*/ 0 h 4543877"/>
                  <a:gd name="connsiteX3" fmla="*/ 0 w 1126367"/>
                  <a:gd name="connsiteY3" fmla="*/ 643141 h 4543877"/>
                  <a:gd name="connsiteX4" fmla="*/ 0 w 1126367"/>
                  <a:gd name="connsiteY4" fmla="*/ 3897687 h 454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6367" h="4543877">
                    <a:moveTo>
                      <a:pt x="0" y="3897687"/>
                    </a:moveTo>
                    <a:lnTo>
                      <a:pt x="1126368" y="4543878"/>
                    </a:lnTo>
                    <a:lnTo>
                      <a:pt x="1126368" y="0"/>
                    </a:lnTo>
                    <a:lnTo>
                      <a:pt x="0" y="643141"/>
                    </a:lnTo>
                    <a:lnTo>
                      <a:pt x="0" y="3897687"/>
                    </a:lnTo>
                    <a:close/>
                  </a:path>
                </a:pathLst>
              </a:custGeom>
              <a:solidFill>
                <a:srgbClr val="333353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47" name="Freihandform: Form 4446">
                <a:extLst>
                  <a:ext uri="{FF2B5EF4-FFF2-40B4-BE49-F238E27FC236}">
                    <a16:creationId xmlns:a16="http://schemas.microsoft.com/office/drawing/2014/main" id="{9E9182CE-A66A-1743-B07D-8752B13DF621}"/>
                  </a:ext>
                </a:extLst>
              </p:cNvPr>
              <p:cNvSpPr/>
              <p:nvPr/>
            </p:nvSpPr>
            <p:spPr>
              <a:xfrm>
                <a:off x="9979975" y="3046168"/>
                <a:ext cx="227550" cy="919317"/>
              </a:xfrm>
              <a:custGeom>
                <a:avLst/>
                <a:gdLst>
                  <a:gd name="connsiteX0" fmla="*/ 1116969 w 1127301"/>
                  <a:gd name="connsiteY0" fmla="*/ 3904099 h 4554335"/>
                  <a:gd name="connsiteX1" fmla="*/ 0 w 1127301"/>
                  <a:gd name="connsiteY1" fmla="*/ 4554336 h 4554335"/>
                  <a:gd name="connsiteX2" fmla="*/ 0 w 1127301"/>
                  <a:gd name="connsiteY2" fmla="*/ 0 h 4554335"/>
                  <a:gd name="connsiteX3" fmla="*/ 1127302 w 1127301"/>
                  <a:gd name="connsiteY3" fmla="*/ 644635 h 4554335"/>
                  <a:gd name="connsiteX4" fmla="*/ 1116969 w 1127301"/>
                  <a:gd name="connsiteY4" fmla="*/ 3904099 h 455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7301" h="4554335">
                    <a:moveTo>
                      <a:pt x="1116969" y="3904099"/>
                    </a:moveTo>
                    <a:lnTo>
                      <a:pt x="0" y="4554336"/>
                    </a:lnTo>
                    <a:lnTo>
                      <a:pt x="0" y="0"/>
                    </a:lnTo>
                    <a:lnTo>
                      <a:pt x="1127302" y="644635"/>
                    </a:lnTo>
                    <a:lnTo>
                      <a:pt x="1116969" y="3904099"/>
                    </a:lnTo>
                    <a:close/>
                  </a:path>
                </a:pathLst>
              </a:custGeom>
              <a:solidFill>
                <a:srgbClr val="333353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48" name="Freihandform: Form 4447">
                <a:extLst>
                  <a:ext uri="{FF2B5EF4-FFF2-40B4-BE49-F238E27FC236}">
                    <a16:creationId xmlns:a16="http://schemas.microsoft.com/office/drawing/2014/main" id="{B2D40DD2-12EE-7999-99D8-23762ADEA760}"/>
                  </a:ext>
                </a:extLst>
              </p:cNvPr>
              <p:cNvSpPr/>
              <p:nvPr/>
            </p:nvSpPr>
            <p:spPr>
              <a:xfrm>
                <a:off x="9752613" y="3654829"/>
                <a:ext cx="454913" cy="261942"/>
              </a:xfrm>
              <a:custGeom>
                <a:avLst/>
                <a:gdLst>
                  <a:gd name="connsiteX0" fmla="*/ 1126804 w 2253669"/>
                  <a:gd name="connsiteY0" fmla="*/ 0 h 1297672"/>
                  <a:gd name="connsiteX1" fmla="*/ 2253670 w 2253669"/>
                  <a:gd name="connsiteY1" fmla="*/ 647062 h 1297672"/>
                  <a:gd name="connsiteX2" fmla="*/ 1126804 w 2253669"/>
                  <a:gd name="connsiteY2" fmla="*/ 1297673 h 1297672"/>
                  <a:gd name="connsiteX3" fmla="*/ 0 w 2253669"/>
                  <a:gd name="connsiteY3" fmla="*/ 647000 h 1297672"/>
                  <a:gd name="connsiteX4" fmla="*/ 1126804 w 2253669"/>
                  <a:gd name="connsiteY4" fmla="*/ 0 h 1297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69" h="1297672">
                    <a:moveTo>
                      <a:pt x="1126804" y="0"/>
                    </a:moveTo>
                    <a:lnTo>
                      <a:pt x="2253670" y="647062"/>
                    </a:lnTo>
                    <a:lnTo>
                      <a:pt x="1126804" y="1297673"/>
                    </a:lnTo>
                    <a:lnTo>
                      <a:pt x="0" y="64700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49" name="Freihandform: Form 4448">
                <a:extLst>
                  <a:ext uri="{FF2B5EF4-FFF2-40B4-BE49-F238E27FC236}">
                    <a16:creationId xmlns:a16="http://schemas.microsoft.com/office/drawing/2014/main" id="{D81317ED-D81A-3279-0053-3B49A0F67720}"/>
                  </a:ext>
                </a:extLst>
              </p:cNvPr>
              <p:cNvSpPr/>
              <p:nvPr/>
            </p:nvSpPr>
            <p:spPr>
              <a:xfrm>
                <a:off x="9752613" y="3538892"/>
                <a:ext cx="454900" cy="261929"/>
              </a:xfrm>
              <a:custGeom>
                <a:avLst/>
                <a:gdLst>
                  <a:gd name="connsiteX0" fmla="*/ 1126804 w 2253607"/>
                  <a:gd name="connsiteY0" fmla="*/ 0 h 1297610"/>
                  <a:gd name="connsiteX1" fmla="*/ 2253608 w 2253607"/>
                  <a:gd name="connsiteY1" fmla="*/ 647000 h 1297610"/>
                  <a:gd name="connsiteX2" fmla="*/ 1126804 w 2253607"/>
                  <a:gd name="connsiteY2" fmla="*/ 1297610 h 1297610"/>
                  <a:gd name="connsiteX3" fmla="*/ 0 w 2253607"/>
                  <a:gd name="connsiteY3" fmla="*/ 647000 h 1297610"/>
                  <a:gd name="connsiteX4" fmla="*/ 1126804 w 2253607"/>
                  <a:gd name="connsiteY4" fmla="*/ 0 h 1297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297610">
                    <a:moveTo>
                      <a:pt x="1126804" y="0"/>
                    </a:moveTo>
                    <a:lnTo>
                      <a:pt x="2253608" y="647000"/>
                    </a:lnTo>
                    <a:lnTo>
                      <a:pt x="1126804" y="1297610"/>
                    </a:lnTo>
                    <a:lnTo>
                      <a:pt x="0" y="64700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0" name="Freihandform: Form 4449">
                <a:extLst>
                  <a:ext uri="{FF2B5EF4-FFF2-40B4-BE49-F238E27FC236}">
                    <a16:creationId xmlns:a16="http://schemas.microsoft.com/office/drawing/2014/main" id="{808E2A55-E67E-5206-3A2B-CFD9F2A04F3C}"/>
                  </a:ext>
                </a:extLst>
              </p:cNvPr>
              <p:cNvSpPr/>
              <p:nvPr/>
            </p:nvSpPr>
            <p:spPr>
              <a:xfrm>
                <a:off x="9752613" y="3424111"/>
                <a:ext cx="454913" cy="261929"/>
              </a:xfrm>
              <a:custGeom>
                <a:avLst/>
                <a:gdLst>
                  <a:gd name="connsiteX0" fmla="*/ 1126804 w 2253669"/>
                  <a:gd name="connsiteY0" fmla="*/ 0 h 1297610"/>
                  <a:gd name="connsiteX1" fmla="*/ 2253670 w 2253669"/>
                  <a:gd name="connsiteY1" fmla="*/ 647000 h 1297610"/>
                  <a:gd name="connsiteX2" fmla="*/ 1126804 w 2253669"/>
                  <a:gd name="connsiteY2" fmla="*/ 1297611 h 1297610"/>
                  <a:gd name="connsiteX3" fmla="*/ 0 w 2253669"/>
                  <a:gd name="connsiteY3" fmla="*/ 647000 h 1297610"/>
                  <a:gd name="connsiteX4" fmla="*/ 1126804 w 2253669"/>
                  <a:gd name="connsiteY4" fmla="*/ 0 h 1297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69" h="1297610">
                    <a:moveTo>
                      <a:pt x="1126804" y="0"/>
                    </a:moveTo>
                    <a:lnTo>
                      <a:pt x="2253670" y="647000"/>
                    </a:lnTo>
                    <a:lnTo>
                      <a:pt x="1126804" y="1297611"/>
                    </a:lnTo>
                    <a:lnTo>
                      <a:pt x="0" y="64700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1" name="Freihandform: Form 4450">
                <a:extLst>
                  <a:ext uri="{FF2B5EF4-FFF2-40B4-BE49-F238E27FC236}">
                    <a16:creationId xmlns:a16="http://schemas.microsoft.com/office/drawing/2014/main" id="{831487D6-06E6-769E-53B8-73B1C9AFC4CF}"/>
                  </a:ext>
                </a:extLst>
              </p:cNvPr>
              <p:cNvSpPr/>
              <p:nvPr/>
            </p:nvSpPr>
            <p:spPr>
              <a:xfrm>
                <a:off x="9752613" y="3324885"/>
                <a:ext cx="454900" cy="262658"/>
              </a:xfrm>
              <a:custGeom>
                <a:avLst/>
                <a:gdLst>
                  <a:gd name="connsiteX0" fmla="*/ 1126804 w 2253607"/>
                  <a:gd name="connsiteY0" fmla="*/ 0 h 1301220"/>
                  <a:gd name="connsiteX1" fmla="*/ 2253608 w 2253607"/>
                  <a:gd name="connsiteY1" fmla="*/ 650610 h 1301220"/>
                  <a:gd name="connsiteX2" fmla="*/ 1126804 w 2253607"/>
                  <a:gd name="connsiteY2" fmla="*/ 1301221 h 1301220"/>
                  <a:gd name="connsiteX3" fmla="*/ 0 w 2253607"/>
                  <a:gd name="connsiteY3" fmla="*/ 650610 h 1301220"/>
                  <a:gd name="connsiteX4" fmla="*/ 1126804 w 2253607"/>
                  <a:gd name="connsiteY4" fmla="*/ 0 h 130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1220">
                    <a:moveTo>
                      <a:pt x="1126804" y="0"/>
                    </a:moveTo>
                    <a:lnTo>
                      <a:pt x="2253608" y="650610"/>
                    </a:lnTo>
                    <a:lnTo>
                      <a:pt x="1126804" y="1301221"/>
                    </a:lnTo>
                    <a:lnTo>
                      <a:pt x="0" y="65061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2" name="Freihandform: Form 4451">
                <a:extLst>
                  <a:ext uri="{FF2B5EF4-FFF2-40B4-BE49-F238E27FC236}">
                    <a16:creationId xmlns:a16="http://schemas.microsoft.com/office/drawing/2014/main" id="{2E32D6A0-7BCD-688C-9256-94F02F7E7B10}"/>
                  </a:ext>
                </a:extLst>
              </p:cNvPr>
              <p:cNvSpPr/>
              <p:nvPr/>
            </p:nvSpPr>
            <p:spPr>
              <a:xfrm>
                <a:off x="9752613" y="3209979"/>
                <a:ext cx="454900" cy="262658"/>
              </a:xfrm>
              <a:custGeom>
                <a:avLst/>
                <a:gdLst>
                  <a:gd name="connsiteX0" fmla="*/ 1126804 w 2253607"/>
                  <a:gd name="connsiteY0" fmla="*/ 0 h 1301220"/>
                  <a:gd name="connsiteX1" fmla="*/ 2253608 w 2253607"/>
                  <a:gd name="connsiteY1" fmla="*/ 650611 h 1301220"/>
                  <a:gd name="connsiteX2" fmla="*/ 1126866 w 2253607"/>
                  <a:gd name="connsiteY2" fmla="*/ 1301221 h 1301220"/>
                  <a:gd name="connsiteX3" fmla="*/ 0 w 2253607"/>
                  <a:gd name="connsiteY3" fmla="*/ 650611 h 1301220"/>
                  <a:gd name="connsiteX4" fmla="*/ 1126804 w 2253607"/>
                  <a:gd name="connsiteY4" fmla="*/ 0 h 130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1220">
                    <a:moveTo>
                      <a:pt x="1126804" y="0"/>
                    </a:moveTo>
                    <a:lnTo>
                      <a:pt x="2253608" y="650611"/>
                    </a:lnTo>
                    <a:lnTo>
                      <a:pt x="1126866" y="1301221"/>
                    </a:lnTo>
                    <a:lnTo>
                      <a:pt x="0" y="650611"/>
                    </a:lnTo>
                    <a:lnTo>
                      <a:pt x="1126804" y="0"/>
                    </a:lnTo>
                    <a:close/>
                  </a:path>
                </a:pathLst>
              </a:custGeom>
              <a:grpFill/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3" name="Freihandform: Form 4452">
                <a:extLst>
                  <a:ext uri="{FF2B5EF4-FFF2-40B4-BE49-F238E27FC236}">
                    <a16:creationId xmlns:a16="http://schemas.microsoft.com/office/drawing/2014/main" id="{895C78F0-195D-68AE-364B-01B95A9C954D}"/>
                  </a:ext>
                </a:extLst>
              </p:cNvPr>
              <p:cNvSpPr/>
              <p:nvPr/>
            </p:nvSpPr>
            <p:spPr>
              <a:xfrm>
                <a:off x="9980064" y="3225659"/>
                <a:ext cx="227463" cy="739461"/>
              </a:xfrm>
              <a:custGeom>
                <a:avLst/>
                <a:gdLst>
                  <a:gd name="connsiteX0" fmla="*/ 1126866 w 1126866"/>
                  <a:gd name="connsiteY0" fmla="*/ 0 h 3663325"/>
                  <a:gd name="connsiteX1" fmla="*/ 1126866 w 1126866"/>
                  <a:gd name="connsiteY1" fmla="*/ 241769 h 3663325"/>
                  <a:gd name="connsiteX2" fmla="*/ 62 w 1126866"/>
                  <a:gd name="connsiteY2" fmla="*/ 892380 h 3663325"/>
                  <a:gd name="connsiteX3" fmla="*/ 62 w 1126866"/>
                  <a:gd name="connsiteY3" fmla="*/ 650610 h 3663325"/>
                  <a:gd name="connsiteX4" fmla="*/ 1126866 w 1126866"/>
                  <a:gd name="connsiteY4" fmla="*/ 0 h 3663325"/>
                  <a:gd name="connsiteX5" fmla="*/ 0 w 1126866"/>
                  <a:gd name="connsiteY5" fmla="*/ 1463873 h 3663325"/>
                  <a:gd name="connsiteX6" fmla="*/ 1126804 w 1126866"/>
                  <a:gd name="connsiteY6" fmla="*/ 813263 h 3663325"/>
                  <a:gd name="connsiteX7" fmla="*/ 1126804 w 1126866"/>
                  <a:gd name="connsiteY7" fmla="*/ 569253 h 3663325"/>
                  <a:gd name="connsiteX8" fmla="*/ 0 w 1126866"/>
                  <a:gd name="connsiteY8" fmla="*/ 1219864 h 3663325"/>
                  <a:gd name="connsiteX9" fmla="*/ 0 w 1126866"/>
                  <a:gd name="connsiteY9" fmla="*/ 1463811 h 3663325"/>
                  <a:gd name="connsiteX10" fmla="*/ 0 w 1126866"/>
                  <a:gd name="connsiteY10" fmla="*/ 2033189 h 3663325"/>
                  <a:gd name="connsiteX11" fmla="*/ 1126804 w 1126866"/>
                  <a:gd name="connsiteY11" fmla="*/ 1382578 h 3663325"/>
                  <a:gd name="connsiteX12" fmla="*/ 1126804 w 1126866"/>
                  <a:gd name="connsiteY12" fmla="*/ 1138568 h 3663325"/>
                  <a:gd name="connsiteX13" fmla="*/ 0 w 1126866"/>
                  <a:gd name="connsiteY13" fmla="*/ 1789179 h 3663325"/>
                  <a:gd name="connsiteX14" fmla="*/ 0 w 1126866"/>
                  <a:gd name="connsiteY14" fmla="*/ 2033126 h 3663325"/>
                  <a:gd name="connsiteX15" fmla="*/ 0 w 1126866"/>
                  <a:gd name="connsiteY15" fmla="*/ 2524757 h 3663325"/>
                  <a:gd name="connsiteX16" fmla="*/ 1126804 w 1126866"/>
                  <a:gd name="connsiteY16" fmla="*/ 1874147 h 3663325"/>
                  <a:gd name="connsiteX17" fmla="*/ 1126804 w 1126866"/>
                  <a:gd name="connsiteY17" fmla="*/ 1630137 h 3663325"/>
                  <a:gd name="connsiteX18" fmla="*/ 0 w 1126866"/>
                  <a:gd name="connsiteY18" fmla="*/ 2280747 h 3663325"/>
                  <a:gd name="connsiteX19" fmla="*/ 0 w 1126866"/>
                  <a:gd name="connsiteY19" fmla="*/ 2524757 h 3663325"/>
                  <a:gd name="connsiteX20" fmla="*/ 0 w 1126866"/>
                  <a:gd name="connsiteY20" fmla="*/ 3094072 h 3663325"/>
                  <a:gd name="connsiteX21" fmla="*/ 1126306 w 1126866"/>
                  <a:gd name="connsiteY21" fmla="*/ 2443337 h 3663325"/>
                  <a:gd name="connsiteX22" fmla="*/ 1126804 w 1126866"/>
                  <a:gd name="connsiteY22" fmla="*/ 2199514 h 3663325"/>
                  <a:gd name="connsiteX23" fmla="*/ 0 w 1126866"/>
                  <a:gd name="connsiteY23" fmla="*/ 2850124 h 3663325"/>
                  <a:gd name="connsiteX24" fmla="*/ 0 w 1126866"/>
                  <a:gd name="connsiteY24" fmla="*/ 3094134 h 3663325"/>
                  <a:gd name="connsiteX25" fmla="*/ 0 w 1126866"/>
                  <a:gd name="connsiteY25" fmla="*/ 3663325 h 3663325"/>
                  <a:gd name="connsiteX26" fmla="*/ 1126804 w 1126866"/>
                  <a:gd name="connsiteY26" fmla="*/ 3012715 h 3663325"/>
                  <a:gd name="connsiteX27" fmla="*/ 1126804 w 1126866"/>
                  <a:gd name="connsiteY27" fmla="*/ 2768705 h 3663325"/>
                  <a:gd name="connsiteX28" fmla="*/ 0 w 1126866"/>
                  <a:gd name="connsiteY28" fmla="*/ 3419315 h 3663325"/>
                  <a:gd name="connsiteX29" fmla="*/ 0 w 1126866"/>
                  <a:gd name="connsiteY29" fmla="*/ 3663325 h 3663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126866" h="3663325">
                    <a:moveTo>
                      <a:pt x="1126866" y="0"/>
                    </a:moveTo>
                    <a:lnTo>
                      <a:pt x="1126866" y="241769"/>
                    </a:lnTo>
                    <a:cubicBezTo>
                      <a:pt x="1126866" y="241769"/>
                      <a:pt x="62" y="892380"/>
                      <a:pt x="62" y="892380"/>
                    </a:cubicBezTo>
                    <a:lnTo>
                      <a:pt x="62" y="650610"/>
                    </a:lnTo>
                    <a:cubicBezTo>
                      <a:pt x="62" y="650610"/>
                      <a:pt x="1126866" y="0"/>
                      <a:pt x="1126866" y="0"/>
                    </a:cubicBezTo>
                    <a:close/>
                    <a:moveTo>
                      <a:pt x="0" y="1463873"/>
                    </a:moveTo>
                    <a:lnTo>
                      <a:pt x="1126804" y="813263"/>
                    </a:lnTo>
                    <a:lnTo>
                      <a:pt x="1126804" y="569253"/>
                    </a:lnTo>
                    <a:lnTo>
                      <a:pt x="0" y="1219864"/>
                    </a:lnTo>
                    <a:lnTo>
                      <a:pt x="0" y="1463811"/>
                    </a:lnTo>
                    <a:close/>
                    <a:moveTo>
                      <a:pt x="0" y="2033189"/>
                    </a:moveTo>
                    <a:lnTo>
                      <a:pt x="1126804" y="1382578"/>
                    </a:lnTo>
                    <a:lnTo>
                      <a:pt x="1126804" y="1138568"/>
                    </a:lnTo>
                    <a:cubicBezTo>
                      <a:pt x="1126804" y="1138568"/>
                      <a:pt x="0" y="1789179"/>
                      <a:pt x="0" y="1789179"/>
                    </a:cubicBezTo>
                    <a:lnTo>
                      <a:pt x="0" y="2033126"/>
                    </a:lnTo>
                    <a:close/>
                    <a:moveTo>
                      <a:pt x="0" y="2524757"/>
                    </a:moveTo>
                    <a:lnTo>
                      <a:pt x="1126804" y="1874147"/>
                    </a:lnTo>
                    <a:lnTo>
                      <a:pt x="1126804" y="1630137"/>
                    </a:lnTo>
                    <a:lnTo>
                      <a:pt x="0" y="2280747"/>
                    </a:lnTo>
                    <a:lnTo>
                      <a:pt x="0" y="2524757"/>
                    </a:lnTo>
                    <a:close/>
                    <a:moveTo>
                      <a:pt x="0" y="3094072"/>
                    </a:moveTo>
                    <a:lnTo>
                      <a:pt x="1126306" y="2443337"/>
                    </a:lnTo>
                    <a:lnTo>
                      <a:pt x="1126804" y="2199514"/>
                    </a:lnTo>
                    <a:lnTo>
                      <a:pt x="0" y="2850124"/>
                    </a:lnTo>
                    <a:lnTo>
                      <a:pt x="0" y="3094134"/>
                    </a:lnTo>
                    <a:close/>
                    <a:moveTo>
                      <a:pt x="0" y="3663325"/>
                    </a:moveTo>
                    <a:lnTo>
                      <a:pt x="1126804" y="3012715"/>
                    </a:lnTo>
                    <a:lnTo>
                      <a:pt x="1126804" y="2768705"/>
                    </a:lnTo>
                    <a:lnTo>
                      <a:pt x="0" y="3419315"/>
                    </a:lnTo>
                    <a:lnTo>
                      <a:pt x="0" y="3663325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4" name="Freihandform: Form 4453">
                <a:extLst>
                  <a:ext uri="{FF2B5EF4-FFF2-40B4-BE49-F238E27FC236}">
                    <a16:creationId xmlns:a16="http://schemas.microsoft.com/office/drawing/2014/main" id="{20598EF2-6500-B3B1-125A-1FD63840CFB3}"/>
                  </a:ext>
                </a:extLst>
              </p:cNvPr>
              <p:cNvSpPr/>
              <p:nvPr/>
            </p:nvSpPr>
            <p:spPr>
              <a:xfrm>
                <a:off x="9752564" y="3226401"/>
                <a:ext cx="227500" cy="738708"/>
              </a:xfrm>
              <a:custGeom>
                <a:avLst/>
                <a:gdLst>
                  <a:gd name="connsiteX0" fmla="*/ 1127053 w 1127052"/>
                  <a:gd name="connsiteY0" fmla="*/ 650548 h 3659590"/>
                  <a:gd name="connsiteX1" fmla="*/ 1127053 w 1127052"/>
                  <a:gd name="connsiteY1" fmla="*/ 894558 h 3659590"/>
                  <a:gd name="connsiteX2" fmla="*/ 249 w 1127052"/>
                  <a:gd name="connsiteY2" fmla="*/ 243948 h 3659590"/>
                  <a:gd name="connsiteX3" fmla="*/ 249 w 1127052"/>
                  <a:gd name="connsiteY3" fmla="*/ 0 h 3659590"/>
                  <a:gd name="connsiteX4" fmla="*/ 1127053 w 1127052"/>
                  <a:gd name="connsiteY4" fmla="*/ 650610 h 3659590"/>
                  <a:gd name="connsiteX5" fmla="*/ 1127053 w 1127052"/>
                  <a:gd name="connsiteY5" fmla="*/ 1219864 h 3659590"/>
                  <a:gd name="connsiteX6" fmla="*/ 249 w 1127052"/>
                  <a:gd name="connsiteY6" fmla="*/ 569253 h 3659590"/>
                  <a:gd name="connsiteX7" fmla="*/ 249 w 1127052"/>
                  <a:gd name="connsiteY7" fmla="*/ 813263 h 3659590"/>
                  <a:gd name="connsiteX8" fmla="*/ 1127053 w 1127052"/>
                  <a:gd name="connsiteY8" fmla="*/ 1463873 h 3659590"/>
                  <a:gd name="connsiteX9" fmla="*/ 1127053 w 1127052"/>
                  <a:gd name="connsiteY9" fmla="*/ 1219926 h 3659590"/>
                  <a:gd name="connsiteX10" fmla="*/ 1127053 w 1127052"/>
                  <a:gd name="connsiteY10" fmla="*/ 1789116 h 3659590"/>
                  <a:gd name="connsiteX11" fmla="*/ 373 w 1127052"/>
                  <a:gd name="connsiteY11" fmla="*/ 1138630 h 3659590"/>
                  <a:gd name="connsiteX12" fmla="*/ 249 w 1127052"/>
                  <a:gd name="connsiteY12" fmla="*/ 1380088 h 3659590"/>
                  <a:gd name="connsiteX13" fmla="*/ 1127053 w 1127052"/>
                  <a:gd name="connsiteY13" fmla="*/ 2033127 h 3659590"/>
                  <a:gd name="connsiteX14" fmla="*/ 1127053 w 1127052"/>
                  <a:gd name="connsiteY14" fmla="*/ 1789179 h 3659590"/>
                  <a:gd name="connsiteX15" fmla="*/ 1127053 w 1127052"/>
                  <a:gd name="connsiteY15" fmla="*/ 2277074 h 3659590"/>
                  <a:gd name="connsiteX16" fmla="*/ 249 w 1127052"/>
                  <a:gd name="connsiteY16" fmla="*/ 1626464 h 3659590"/>
                  <a:gd name="connsiteX17" fmla="*/ 124 w 1127052"/>
                  <a:gd name="connsiteY17" fmla="*/ 1870536 h 3659590"/>
                  <a:gd name="connsiteX18" fmla="*/ 1127053 w 1127052"/>
                  <a:gd name="connsiteY18" fmla="*/ 2521085 h 3659590"/>
                  <a:gd name="connsiteX19" fmla="*/ 1127053 w 1127052"/>
                  <a:gd name="connsiteY19" fmla="*/ 2277074 h 3659590"/>
                  <a:gd name="connsiteX20" fmla="*/ 1126617 w 1127052"/>
                  <a:gd name="connsiteY20" fmla="*/ 2846390 h 3659590"/>
                  <a:gd name="connsiteX21" fmla="*/ 0 w 1127052"/>
                  <a:gd name="connsiteY21" fmla="*/ 2198269 h 3659590"/>
                  <a:gd name="connsiteX22" fmla="*/ 249 w 1127052"/>
                  <a:gd name="connsiteY22" fmla="*/ 2439478 h 3659590"/>
                  <a:gd name="connsiteX23" fmla="*/ 1126617 w 1127052"/>
                  <a:gd name="connsiteY23" fmla="*/ 3090400 h 3659590"/>
                  <a:gd name="connsiteX24" fmla="*/ 1126617 w 1127052"/>
                  <a:gd name="connsiteY24" fmla="*/ 2846390 h 3659590"/>
                  <a:gd name="connsiteX25" fmla="*/ 1127053 w 1127052"/>
                  <a:gd name="connsiteY25" fmla="*/ 3415643 h 3659590"/>
                  <a:gd name="connsiteX26" fmla="*/ 249 w 1127052"/>
                  <a:gd name="connsiteY26" fmla="*/ 2765032 h 3659590"/>
                  <a:gd name="connsiteX27" fmla="*/ 249 w 1127052"/>
                  <a:gd name="connsiteY27" fmla="*/ 3008980 h 3659590"/>
                  <a:gd name="connsiteX28" fmla="*/ 1127053 w 1127052"/>
                  <a:gd name="connsiteY28" fmla="*/ 3659590 h 3659590"/>
                  <a:gd name="connsiteX29" fmla="*/ 1127053 w 1127052"/>
                  <a:gd name="connsiteY29" fmla="*/ 3415581 h 365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127052" h="3659590">
                    <a:moveTo>
                      <a:pt x="1127053" y="650548"/>
                    </a:moveTo>
                    <a:lnTo>
                      <a:pt x="1127053" y="894558"/>
                    </a:lnTo>
                    <a:cubicBezTo>
                      <a:pt x="1127053" y="894558"/>
                      <a:pt x="249" y="243948"/>
                      <a:pt x="249" y="243948"/>
                    </a:cubicBezTo>
                    <a:lnTo>
                      <a:pt x="249" y="0"/>
                    </a:lnTo>
                    <a:cubicBezTo>
                      <a:pt x="249" y="0"/>
                      <a:pt x="1127053" y="650610"/>
                      <a:pt x="1127053" y="650610"/>
                    </a:cubicBezTo>
                    <a:close/>
                    <a:moveTo>
                      <a:pt x="1127053" y="1219864"/>
                    </a:moveTo>
                    <a:lnTo>
                      <a:pt x="249" y="569253"/>
                    </a:lnTo>
                    <a:lnTo>
                      <a:pt x="249" y="813263"/>
                    </a:lnTo>
                    <a:lnTo>
                      <a:pt x="1127053" y="1463873"/>
                    </a:lnTo>
                    <a:lnTo>
                      <a:pt x="1127053" y="1219926"/>
                    </a:lnTo>
                    <a:close/>
                    <a:moveTo>
                      <a:pt x="1127053" y="1789116"/>
                    </a:moveTo>
                    <a:lnTo>
                      <a:pt x="373" y="1138630"/>
                    </a:lnTo>
                    <a:lnTo>
                      <a:pt x="249" y="1380088"/>
                    </a:lnTo>
                    <a:lnTo>
                      <a:pt x="1127053" y="2033127"/>
                    </a:lnTo>
                    <a:lnTo>
                      <a:pt x="1127053" y="1789179"/>
                    </a:lnTo>
                    <a:close/>
                    <a:moveTo>
                      <a:pt x="1127053" y="2277074"/>
                    </a:moveTo>
                    <a:lnTo>
                      <a:pt x="249" y="1626464"/>
                    </a:lnTo>
                    <a:lnTo>
                      <a:pt x="124" y="1870536"/>
                    </a:lnTo>
                    <a:lnTo>
                      <a:pt x="1127053" y="2521085"/>
                    </a:lnTo>
                    <a:lnTo>
                      <a:pt x="1127053" y="2277074"/>
                    </a:lnTo>
                    <a:close/>
                    <a:moveTo>
                      <a:pt x="1126617" y="2846390"/>
                    </a:moveTo>
                    <a:lnTo>
                      <a:pt x="0" y="2198269"/>
                    </a:lnTo>
                    <a:lnTo>
                      <a:pt x="249" y="2439478"/>
                    </a:lnTo>
                    <a:lnTo>
                      <a:pt x="1126617" y="3090400"/>
                    </a:lnTo>
                    <a:lnTo>
                      <a:pt x="1126617" y="2846390"/>
                    </a:lnTo>
                    <a:close/>
                    <a:moveTo>
                      <a:pt x="1127053" y="3415643"/>
                    </a:moveTo>
                    <a:lnTo>
                      <a:pt x="249" y="2765032"/>
                    </a:lnTo>
                    <a:lnTo>
                      <a:pt x="249" y="3008980"/>
                    </a:lnTo>
                    <a:lnTo>
                      <a:pt x="1127053" y="3659590"/>
                    </a:lnTo>
                    <a:lnTo>
                      <a:pt x="1127053" y="3415581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5" name="Freihandform: Form 4454">
                <a:extLst>
                  <a:ext uri="{FF2B5EF4-FFF2-40B4-BE49-F238E27FC236}">
                    <a16:creationId xmlns:a16="http://schemas.microsoft.com/office/drawing/2014/main" id="{168E92B4-2CEC-99EE-EA77-32046E289580}"/>
                  </a:ext>
                </a:extLst>
              </p:cNvPr>
              <p:cNvSpPr/>
              <p:nvPr/>
            </p:nvSpPr>
            <p:spPr>
              <a:xfrm>
                <a:off x="9752613" y="3095059"/>
                <a:ext cx="454900" cy="262658"/>
              </a:xfrm>
              <a:custGeom>
                <a:avLst/>
                <a:gdLst>
                  <a:gd name="connsiteX0" fmla="*/ 1126804 w 2253607"/>
                  <a:gd name="connsiteY0" fmla="*/ 0 h 1301220"/>
                  <a:gd name="connsiteX1" fmla="*/ 2253608 w 2253607"/>
                  <a:gd name="connsiteY1" fmla="*/ 650610 h 1301220"/>
                  <a:gd name="connsiteX2" fmla="*/ 1126804 w 2253607"/>
                  <a:gd name="connsiteY2" fmla="*/ 1301221 h 1301220"/>
                  <a:gd name="connsiteX3" fmla="*/ 0 w 2253607"/>
                  <a:gd name="connsiteY3" fmla="*/ 650610 h 1301220"/>
                  <a:gd name="connsiteX4" fmla="*/ 1126804 w 2253607"/>
                  <a:gd name="connsiteY4" fmla="*/ 0 h 130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1220">
                    <a:moveTo>
                      <a:pt x="1126804" y="0"/>
                    </a:moveTo>
                    <a:lnTo>
                      <a:pt x="2253608" y="650610"/>
                    </a:lnTo>
                    <a:lnTo>
                      <a:pt x="1126804" y="1301221"/>
                    </a:lnTo>
                    <a:lnTo>
                      <a:pt x="0" y="65061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6" name="Freihandform: Form 4455">
                <a:extLst>
                  <a:ext uri="{FF2B5EF4-FFF2-40B4-BE49-F238E27FC236}">
                    <a16:creationId xmlns:a16="http://schemas.microsoft.com/office/drawing/2014/main" id="{70EC1C98-165E-1FF0-E00A-DCE9A2264184}"/>
                  </a:ext>
                </a:extLst>
              </p:cNvPr>
              <p:cNvSpPr/>
              <p:nvPr/>
            </p:nvSpPr>
            <p:spPr>
              <a:xfrm>
                <a:off x="9751998" y="3044950"/>
                <a:ext cx="454900" cy="263137"/>
              </a:xfrm>
              <a:custGeom>
                <a:avLst/>
                <a:gdLst>
                  <a:gd name="connsiteX0" fmla="*/ 1126368 w 2253607"/>
                  <a:gd name="connsiteY0" fmla="*/ 0 h 1303586"/>
                  <a:gd name="connsiteX1" fmla="*/ 2253608 w 2253607"/>
                  <a:gd name="connsiteY1" fmla="*/ 642394 h 1303586"/>
                  <a:gd name="connsiteX2" fmla="*/ 1111117 w 2253607"/>
                  <a:gd name="connsiteY2" fmla="*/ 1303586 h 1303586"/>
                  <a:gd name="connsiteX3" fmla="*/ 0 w 2253607"/>
                  <a:gd name="connsiteY3" fmla="*/ 643079 h 1303586"/>
                  <a:gd name="connsiteX4" fmla="*/ 1126368 w 2253607"/>
                  <a:gd name="connsiteY4" fmla="*/ 0 h 1303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3586">
                    <a:moveTo>
                      <a:pt x="1126368" y="0"/>
                    </a:moveTo>
                    <a:lnTo>
                      <a:pt x="2253608" y="642394"/>
                    </a:lnTo>
                    <a:lnTo>
                      <a:pt x="1111117" y="1303586"/>
                    </a:lnTo>
                    <a:lnTo>
                      <a:pt x="0" y="643079"/>
                    </a:lnTo>
                    <a:lnTo>
                      <a:pt x="1126368" y="0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7" name="Freihandform: Form 4456">
                <a:extLst>
                  <a:ext uri="{FF2B5EF4-FFF2-40B4-BE49-F238E27FC236}">
                    <a16:creationId xmlns:a16="http://schemas.microsoft.com/office/drawing/2014/main" id="{BF5F3506-5AA8-A93D-68F6-5465F8F5ECF7}"/>
                  </a:ext>
                </a:extLst>
              </p:cNvPr>
              <p:cNvSpPr/>
              <p:nvPr/>
            </p:nvSpPr>
            <p:spPr>
              <a:xfrm>
                <a:off x="9754121" y="3044950"/>
                <a:ext cx="454699" cy="263550"/>
              </a:xfrm>
              <a:custGeom>
                <a:avLst/>
                <a:gdLst>
                  <a:gd name="connsiteX0" fmla="*/ 1116035 w 2252611"/>
                  <a:gd name="connsiteY0" fmla="*/ 0 h 1305640"/>
                  <a:gd name="connsiteX1" fmla="*/ 2252612 w 2252611"/>
                  <a:gd name="connsiteY1" fmla="*/ 644448 h 1305640"/>
                  <a:gd name="connsiteX2" fmla="*/ 1116035 w 2252611"/>
                  <a:gd name="connsiteY2" fmla="*/ 1305641 h 1305640"/>
                  <a:gd name="connsiteX3" fmla="*/ 0 w 2252611"/>
                  <a:gd name="connsiteY3" fmla="*/ 645133 h 1305640"/>
                  <a:gd name="connsiteX4" fmla="*/ 1116035 w 2252611"/>
                  <a:gd name="connsiteY4" fmla="*/ 0 h 1305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2611" h="1305640">
                    <a:moveTo>
                      <a:pt x="1116035" y="0"/>
                    </a:moveTo>
                    <a:lnTo>
                      <a:pt x="2252612" y="644448"/>
                    </a:lnTo>
                    <a:lnTo>
                      <a:pt x="1116035" y="1305641"/>
                    </a:lnTo>
                    <a:lnTo>
                      <a:pt x="0" y="645133"/>
                    </a:lnTo>
                    <a:lnTo>
                      <a:pt x="1116035" y="0"/>
                    </a:lnTo>
                    <a:close/>
                  </a:path>
                </a:pathLst>
              </a:custGeom>
              <a:gradFill>
                <a:gsLst>
                  <a:gs pos="1000">
                    <a:srgbClr val="00C1B6">
                      <a:alpha val="0"/>
                    </a:srgbClr>
                  </a:gs>
                  <a:gs pos="12000">
                    <a:srgbClr val="00C1B6">
                      <a:alpha val="10980"/>
                    </a:srgbClr>
                  </a:gs>
                  <a:gs pos="100000">
                    <a:srgbClr val="00C1B6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8" name="Freihandform: Form 4457">
                <a:extLst>
                  <a:ext uri="{FF2B5EF4-FFF2-40B4-BE49-F238E27FC236}">
                    <a16:creationId xmlns:a16="http://schemas.microsoft.com/office/drawing/2014/main" id="{992656C4-191A-6BAF-6AE7-265E5F8603B7}"/>
                  </a:ext>
                </a:extLst>
              </p:cNvPr>
              <p:cNvSpPr/>
              <p:nvPr/>
            </p:nvSpPr>
            <p:spPr>
              <a:xfrm>
                <a:off x="9809181" y="3078562"/>
                <a:ext cx="341364" cy="195913"/>
              </a:xfrm>
              <a:custGeom>
                <a:avLst/>
                <a:gdLst>
                  <a:gd name="connsiteX0" fmla="*/ 0 w 1691139"/>
                  <a:gd name="connsiteY0" fmla="*/ 485281 h 970562"/>
                  <a:gd name="connsiteX1" fmla="*/ 846192 w 1691139"/>
                  <a:gd name="connsiteY1" fmla="*/ 0 h 970562"/>
                  <a:gd name="connsiteX2" fmla="*/ 1691140 w 1691139"/>
                  <a:gd name="connsiteY2" fmla="*/ 483476 h 970562"/>
                  <a:gd name="connsiteX3" fmla="*/ 846192 w 1691139"/>
                  <a:gd name="connsiteY3" fmla="*/ 970562 h 970562"/>
                  <a:gd name="connsiteX4" fmla="*/ 0 w 1691139"/>
                  <a:gd name="connsiteY4" fmla="*/ 485281 h 970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1139" h="970562">
                    <a:moveTo>
                      <a:pt x="0" y="485281"/>
                    </a:moveTo>
                    <a:lnTo>
                      <a:pt x="846192" y="0"/>
                    </a:lnTo>
                    <a:lnTo>
                      <a:pt x="1691140" y="483476"/>
                    </a:lnTo>
                    <a:lnTo>
                      <a:pt x="846192" y="970562"/>
                    </a:lnTo>
                    <a:lnTo>
                      <a:pt x="0" y="485281"/>
                    </a:lnTo>
                    <a:close/>
                  </a:path>
                </a:pathLst>
              </a:custGeom>
              <a:gradFill>
                <a:gsLst>
                  <a:gs pos="12000">
                    <a:srgbClr val="805CFF"/>
                  </a:gs>
                  <a:gs pos="19000">
                    <a:srgbClr val="694BD8">
                      <a:alpha val="81961"/>
                    </a:srgbClr>
                  </a:gs>
                  <a:gs pos="27000">
                    <a:srgbClr val="5039AF">
                      <a:alpha val="62745"/>
                    </a:srgbClr>
                  </a:gs>
                  <a:gs pos="35000">
                    <a:srgbClr val="3A2A8B">
                      <a:alpha val="45882"/>
                    </a:srgbClr>
                  </a:gs>
                  <a:gs pos="44000">
                    <a:srgbClr val="281D6C">
                      <a:alpha val="31765"/>
                    </a:srgbClr>
                  </a:gs>
                  <a:gs pos="53000">
                    <a:srgbClr val="191253">
                      <a:alpha val="20000"/>
                    </a:srgbClr>
                  </a:gs>
                  <a:gs pos="63000">
                    <a:srgbClr val="0E0A40">
                      <a:alpha val="10980"/>
                    </a:srgbClr>
                  </a:gs>
                  <a:gs pos="73000">
                    <a:srgbClr val="060432">
                      <a:alpha val="4706"/>
                    </a:srgbClr>
                  </a:gs>
                  <a:gs pos="85000">
                    <a:srgbClr val="01012A">
                      <a:alpha val="784"/>
                    </a:srgbClr>
                  </a:gs>
                  <a:gs pos="100000">
                    <a:srgbClr val="000028">
                      <a:alpha val="0"/>
                    </a:srgbClr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9" name="Freihandform: Form 4458">
                <a:extLst>
                  <a:ext uri="{FF2B5EF4-FFF2-40B4-BE49-F238E27FC236}">
                    <a16:creationId xmlns:a16="http://schemas.microsoft.com/office/drawing/2014/main" id="{0EA3FED0-7234-3331-2AF9-79ED5557B790}"/>
                  </a:ext>
                </a:extLst>
              </p:cNvPr>
              <p:cNvSpPr/>
              <p:nvPr/>
            </p:nvSpPr>
            <p:spPr>
              <a:xfrm>
                <a:off x="9980101" y="3078562"/>
                <a:ext cx="171185" cy="106841"/>
              </a:xfrm>
              <a:custGeom>
                <a:avLst/>
                <a:gdLst>
                  <a:gd name="connsiteX0" fmla="*/ 773363 w 848059"/>
                  <a:gd name="connsiteY0" fmla="*/ 529290 h 529290"/>
                  <a:gd name="connsiteX1" fmla="*/ 436 w 848059"/>
                  <a:gd name="connsiteY1" fmla="*/ 85902 h 529290"/>
                  <a:gd name="connsiteX2" fmla="*/ 0 w 848059"/>
                  <a:gd name="connsiteY2" fmla="*/ 0 h 529290"/>
                  <a:gd name="connsiteX3" fmla="*/ 848060 w 848059"/>
                  <a:gd name="connsiteY3" fmla="*/ 487958 h 529290"/>
                  <a:gd name="connsiteX4" fmla="*/ 773363 w 848059"/>
                  <a:gd name="connsiteY4" fmla="*/ 529290 h 52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059" h="529290">
                    <a:moveTo>
                      <a:pt x="773363" y="529290"/>
                    </a:moveTo>
                    <a:lnTo>
                      <a:pt x="436" y="85902"/>
                    </a:lnTo>
                    <a:lnTo>
                      <a:pt x="0" y="0"/>
                    </a:lnTo>
                    <a:lnTo>
                      <a:pt x="848060" y="487958"/>
                    </a:lnTo>
                    <a:lnTo>
                      <a:pt x="773363" y="529290"/>
                    </a:lnTo>
                    <a:close/>
                  </a:path>
                </a:pathLst>
              </a:custGeom>
              <a:solidFill>
                <a:srgbClr val="009999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0" name="Freihandform: Form 4459">
                <a:extLst>
                  <a:ext uri="{FF2B5EF4-FFF2-40B4-BE49-F238E27FC236}">
                    <a16:creationId xmlns:a16="http://schemas.microsoft.com/office/drawing/2014/main" id="{E21C5B3E-8888-720A-143C-38E80D1A19D7}"/>
                  </a:ext>
                </a:extLst>
              </p:cNvPr>
              <p:cNvSpPr/>
              <p:nvPr/>
            </p:nvSpPr>
            <p:spPr>
              <a:xfrm>
                <a:off x="9807835" y="3078562"/>
                <a:ext cx="172528" cy="106841"/>
              </a:xfrm>
              <a:custGeom>
                <a:avLst/>
                <a:gdLst>
                  <a:gd name="connsiteX0" fmla="*/ 81357 w 854720"/>
                  <a:gd name="connsiteY0" fmla="*/ 529290 h 529290"/>
                  <a:gd name="connsiteX1" fmla="*/ 854284 w 854720"/>
                  <a:gd name="connsiteY1" fmla="*/ 85902 h 529290"/>
                  <a:gd name="connsiteX2" fmla="*/ 854720 w 854720"/>
                  <a:gd name="connsiteY2" fmla="*/ 0 h 529290"/>
                  <a:gd name="connsiteX3" fmla="*/ 0 w 854720"/>
                  <a:gd name="connsiteY3" fmla="*/ 484285 h 529290"/>
                  <a:gd name="connsiteX4" fmla="*/ 81357 w 854720"/>
                  <a:gd name="connsiteY4" fmla="*/ 529290 h 52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4720" h="529290">
                    <a:moveTo>
                      <a:pt x="81357" y="529290"/>
                    </a:moveTo>
                    <a:lnTo>
                      <a:pt x="854284" y="85902"/>
                    </a:lnTo>
                    <a:lnTo>
                      <a:pt x="854720" y="0"/>
                    </a:lnTo>
                    <a:lnTo>
                      <a:pt x="0" y="484285"/>
                    </a:lnTo>
                    <a:lnTo>
                      <a:pt x="81357" y="529290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2" name="Freihandform: Form 4461">
                <a:extLst>
                  <a:ext uri="{FF2B5EF4-FFF2-40B4-BE49-F238E27FC236}">
                    <a16:creationId xmlns:a16="http://schemas.microsoft.com/office/drawing/2014/main" id="{2D7E3059-4615-92FB-D2C1-A4B0BC8F823B}"/>
                  </a:ext>
                </a:extLst>
              </p:cNvPr>
              <p:cNvSpPr/>
              <p:nvPr/>
            </p:nvSpPr>
            <p:spPr>
              <a:xfrm>
                <a:off x="9853936" y="3220154"/>
                <a:ext cx="353589" cy="391837"/>
              </a:xfrm>
              <a:custGeom>
                <a:avLst/>
                <a:gdLst>
                  <a:gd name="connsiteX0" fmla="*/ 1751706 w 1751706"/>
                  <a:gd name="connsiteY0" fmla="*/ 1291012 h 1941187"/>
                  <a:gd name="connsiteX1" fmla="*/ 683104 w 1751706"/>
                  <a:gd name="connsiteY1" fmla="*/ 1941187 h 1941187"/>
                  <a:gd name="connsiteX2" fmla="*/ 391350 w 1751706"/>
                  <a:gd name="connsiteY2" fmla="*/ 1773804 h 1941187"/>
                  <a:gd name="connsiteX3" fmla="*/ 391350 w 1751706"/>
                  <a:gd name="connsiteY3" fmla="*/ 638348 h 1941187"/>
                  <a:gd name="connsiteX4" fmla="*/ 0 w 1751706"/>
                  <a:gd name="connsiteY4" fmla="*/ 416685 h 1941187"/>
                  <a:gd name="connsiteX5" fmla="*/ 0 w 1751706"/>
                  <a:gd name="connsiteY5" fmla="*/ 72830 h 1941187"/>
                  <a:gd name="connsiteX6" fmla="*/ 149519 w 1751706"/>
                  <a:gd name="connsiteY6" fmla="*/ 0 h 194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1706" h="1941187">
                    <a:moveTo>
                      <a:pt x="1751706" y="1291012"/>
                    </a:moveTo>
                    <a:lnTo>
                      <a:pt x="683104" y="1941187"/>
                    </a:lnTo>
                    <a:lnTo>
                      <a:pt x="391350" y="1773804"/>
                    </a:lnTo>
                    <a:lnTo>
                      <a:pt x="391350" y="638348"/>
                    </a:lnTo>
                    <a:lnTo>
                      <a:pt x="0" y="416685"/>
                    </a:lnTo>
                    <a:lnTo>
                      <a:pt x="0" y="72830"/>
                    </a:lnTo>
                    <a:lnTo>
                      <a:pt x="149519" y="0"/>
                    </a:lnTo>
                  </a:path>
                </a:pathLst>
              </a:custGeom>
              <a:noFill/>
              <a:ln w="12700" cap="flat">
                <a:solidFill>
                  <a:srgbClr val="805C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3" name="Freihandform: Form 4462">
                <a:extLst>
                  <a:ext uri="{FF2B5EF4-FFF2-40B4-BE49-F238E27FC236}">
                    <a16:creationId xmlns:a16="http://schemas.microsoft.com/office/drawing/2014/main" id="{E14FEE5B-AD71-F4F0-C9CF-2E7A7B5D6A2F}"/>
                  </a:ext>
                </a:extLst>
              </p:cNvPr>
              <p:cNvSpPr/>
              <p:nvPr/>
            </p:nvSpPr>
            <p:spPr>
              <a:xfrm>
                <a:off x="9873575" y="3233950"/>
                <a:ext cx="333938" cy="355097"/>
              </a:xfrm>
              <a:custGeom>
                <a:avLst/>
                <a:gdLst>
                  <a:gd name="connsiteX0" fmla="*/ 98413 w 1654351"/>
                  <a:gd name="connsiteY0" fmla="*/ 0 h 1759175"/>
                  <a:gd name="connsiteX1" fmla="*/ 1681 w 1654351"/>
                  <a:gd name="connsiteY1" fmla="*/ 61065 h 1759175"/>
                  <a:gd name="connsiteX2" fmla="*/ 0 w 1654351"/>
                  <a:gd name="connsiteY2" fmla="*/ 284969 h 1759175"/>
                  <a:gd name="connsiteX3" fmla="*/ 393591 w 1654351"/>
                  <a:gd name="connsiteY3" fmla="*/ 512297 h 1759175"/>
                  <a:gd name="connsiteX4" fmla="*/ 393591 w 1654351"/>
                  <a:gd name="connsiteY4" fmla="*/ 1647690 h 1759175"/>
                  <a:gd name="connsiteX5" fmla="*/ 588674 w 1654351"/>
                  <a:gd name="connsiteY5" fmla="*/ 1759176 h 1759175"/>
                  <a:gd name="connsiteX6" fmla="*/ 1654351 w 1654351"/>
                  <a:gd name="connsiteY6" fmla="*/ 1144793 h 175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54351" h="1759175">
                    <a:moveTo>
                      <a:pt x="98413" y="0"/>
                    </a:moveTo>
                    <a:lnTo>
                      <a:pt x="1681" y="61065"/>
                    </a:lnTo>
                    <a:lnTo>
                      <a:pt x="0" y="284969"/>
                    </a:lnTo>
                    <a:lnTo>
                      <a:pt x="393591" y="512297"/>
                    </a:lnTo>
                    <a:lnTo>
                      <a:pt x="393591" y="1647690"/>
                    </a:lnTo>
                    <a:lnTo>
                      <a:pt x="588674" y="1759176"/>
                    </a:lnTo>
                    <a:lnTo>
                      <a:pt x="1654351" y="1144793"/>
                    </a:lnTo>
                  </a:path>
                </a:pathLst>
              </a:custGeom>
              <a:noFill/>
              <a:ln w="12700" cap="flat">
                <a:solidFill>
                  <a:srgbClr val="B4A8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4" name="Freihandform: Form 4463">
                <a:extLst>
                  <a:ext uri="{FF2B5EF4-FFF2-40B4-BE49-F238E27FC236}">
                    <a16:creationId xmlns:a16="http://schemas.microsoft.com/office/drawing/2014/main" id="{DF0BCED9-4D81-EA11-9A14-427D26B735C4}"/>
                  </a:ext>
                </a:extLst>
              </p:cNvPr>
              <p:cNvSpPr/>
              <p:nvPr/>
            </p:nvSpPr>
            <p:spPr>
              <a:xfrm>
                <a:off x="10032458" y="3209888"/>
                <a:ext cx="58904" cy="716666"/>
              </a:xfrm>
              <a:custGeom>
                <a:avLst/>
                <a:gdLst>
                  <a:gd name="connsiteX0" fmla="*/ 144414 w 291815"/>
                  <a:gd name="connsiteY0" fmla="*/ 3550408 h 3550408"/>
                  <a:gd name="connsiteX1" fmla="*/ 0 w 291815"/>
                  <a:gd name="connsiteY1" fmla="*/ 3459527 h 3550408"/>
                  <a:gd name="connsiteX2" fmla="*/ 0 w 291815"/>
                  <a:gd name="connsiteY2" fmla="*/ 2558682 h 3550408"/>
                  <a:gd name="connsiteX3" fmla="*/ 291816 w 291815"/>
                  <a:gd name="connsiteY3" fmla="*/ 2387315 h 3550408"/>
                  <a:gd name="connsiteX4" fmla="*/ 291816 w 291815"/>
                  <a:gd name="connsiteY4" fmla="*/ 234548 h 3550408"/>
                  <a:gd name="connsiteX5" fmla="*/ 191722 w 291815"/>
                  <a:gd name="connsiteY5" fmla="*/ 178588 h 3550408"/>
                  <a:gd name="connsiteX6" fmla="*/ 95052 w 291815"/>
                  <a:gd name="connsiteY6" fmla="*/ 119204 h 3550408"/>
                  <a:gd name="connsiteX7" fmla="*/ 95052 w 291815"/>
                  <a:gd name="connsiteY7" fmla="*/ 0 h 3550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1815" h="3550408">
                    <a:moveTo>
                      <a:pt x="144414" y="3550408"/>
                    </a:moveTo>
                    <a:lnTo>
                      <a:pt x="0" y="3459527"/>
                    </a:lnTo>
                    <a:lnTo>
                      <a:pt x="0" y="2558682"/>
                    </a:lnTo>
                    <a:lnTo>
                      <a:pt x="291816" y="2387315"/>
                    </a:lnTo>
                    <a:lnTo>
                      <a:pt x="291816" y="234548"/>
                    </a:lnTo>
                    <a:lnTo>
                      <a:pt x="191722" y="178588"/>
                    </a:lnTo>
                    <a:lnTo>
                      <a:pt x="95052" y="119204"/>
                    </a:lnTo>
                    <a:lnTo>
                      <a:pt x="95052" y="0"/>
                    </a:lnTo>
                  </a:path>
                </a:pathLst>
              </a:custGeom>
              <a:noFill/>
              <a:ln w="12700" cap="flat">
                <a:solidFill>
                  <a:srgbClr val="00E6DC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5" name="Freihandform: Form 4464">
                <a:extLst>
                  <a:ext uri="{FF2B5EF4-FFF2-40B4-BE49-F238E27FC236}">
                    <a16:creationId xmlns:a16="http://schemas.microsoft.com/office/drawing/2014/main" id="{3B0B69F3-86B4-05A9-023D-C504B5AEED71}"/>
                  </a:ext>
                </a:extLst>
              </p:cNvPr>
              <p:cNvSpPr/>
              <p:nvPr/>
            </p:nvSpPr>
            <p:spPr>
              <a:xfrm>
                <a:off x="9894106" y="3143232"/>
                <a:ext cx="173584" cy="90606"/>
              </a:xfrm>
              <a:custGeom>
                <a:avLst/>
                <a:gdLst>
                  <a:gd name="connsiteX0" fmla="*/ 0 w 859948"/>
                  <a:gd name="connsiteY0" fmla="*/ 448866 h 448866"/>
                  <a:gd name="connsiteX1" fmla="*/ 781144 w 859948"/>
                  <a:gd name="connsiteY1" fmla="*/ 0 h 448866"/>
                  <a:gd name="connsiteX2" fmla="*/ 859949 w 859948"/>
                  <a:gd name="connsiteY2" fmla="*/ 45565 h 44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9948" h="448866">
                    <a:moveTo>
                      <a:pt x="0" y="448866"/>
                    </a:moveTo>
                    <a:lnTo>
                      <a:pt x="781144" y="0"/>
                    </a:lnTo>
                    <a:lnTo>
                      <a:pt x="859949" y="45565"/>
                    </a:lnTo>
                  </a:path>
                </a:pathLst>
              </a:custGeom>
              <a:noFill/>
              <a:ln w="12700" cap="flat">
                <a:solidFill>
                  <a:srgbClr val="805C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6" name="Freihandform: Form 4465">
                <a:extLst>
                  <a:ext uri="{FF2B5EF4-FFF2-40B4-BE49-F238E27FC236}">
                    <a16:creationId xmlns:a16="http://schemas.microsoft.com/office/drawing/2014/main" id="{4727F767-18A3-950F-063C-67534BC74ED1}"/>
                  </a:ext>
                </a:extLst>
              </p:cNvPr>
              <p:cNvSpPr/>
              <p:nvPr/>
            </p:nvSpPr>
            <p:spPr>
              <a:xfrm>
                <a:off x="9921749" y="3177534"/>
                <a:ext cx="123412" cy="63139"/>
              </a:xfrm>
              <a:custGeom>
                <a:avLst/>
                <a:gdLst>
                  <a:gd name="connsiteX0" fmla="*/ 0 w 611394"/>
                  <a:gd name="connsiteY0" fmla="*/ 312794 h 312793"/>
                  <a:gd name="connsiteX1" fmla="*/ 546097 w 611394"/>
                  <a:gd name="connsiteY1" fmla="*/ 0 h 312793"/>
                  <a:gd name="connsiteX2" fmla="*/ 611395 w 611394"/>
                  <a:gd name="connsiteY2" fmla="*/ 38967 h 312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1394" h="312793">
                    <a:moveTo>
                      <a:pt x="0" y="312794"/>
                    </a:moveTo>
                    <a:lnTo>
                      <a:pt x="546097" y="0"/>
                    </a:lnTo>
                    <a:lnTo>
                      <a:pt x="611395" y="38967"/>
                    </a:lnTo>
                  </a:path>
                </a:pathLst>
              </a:custGeom>
              <a:noFill/>
              <a:ln w="12700" cap="flat">
                <a:solidFill>
                  <a:srgbClr val="B4A8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7" name="Freihandform: Form 4466">
                <a:extLst>
                  <a:ext uri="{FF2B5EF4-FFF2-40B4-BE49-F238E27FC236}">
                    <a16:creationId xmlns:a16="http://schemas.microsoft.com/office/drawing/2014/main" id="{E8007D7C-3075-549D-0278-3ACEEC86F396}"/>
                  </a:ext>
                </a:extLst>
              </p:cNvPr>
              <p:cNvSpPr/>
              <p:nvPr/>
            </p:nvSpPr>
            <p:spPr>
              <a:xfrm>
                <a:off x="9842401" y="3083724"/>
                <a:ext cx="296557" cy="899649"/>
              </a:xfrm>
              <a:custGeom>
                <a:avLst/>
                <a:gdLst>
                  <a:gd name="connsiteX0" fmla="*/ 0 w 1469164"/>
                  <a:gd name="connsiteY0" fmla="*/ 0 h 4456918"/>
                  <a:gd name="connsiteX1" fmla="*/ 0 w 1469164"/>
                  <a:gd name="connsiteY1" fmla="*/ 450796 h 4456918"/>
                  <a:gd name="connsiteX2" fmla="*/ 980584 w 1469164"/>
                  <a:gd name="connsiteY2" fmla="*/ 1012144 h 4456918"/>
                  <a:gd name="connsiteX3" fmla="*/ 980584 w 1469164"/>
                  <a:gd name="connsiteY3" fmla="*/ 1906640 h 4456918"/>
                  <a:gd name="connsiteX4" fmla="*/ 1469165 w 1469164"/>
                  <a:gd name="connsiteY4" fmla="*/ 1629390 h 4456918"/>
                  <a:gd name="connsiteX5" fmla="*/ 1469165 w 1469164"/>
                  <a:gd name="connsiteY5" fmla="*/ 2300231 h 4456918"/>
                  <a:gd name="connsiteX6" fmla="*/ 688768 w 1469164"/>
                  <a:gd name="connsiteY6" fmla="*/ 2749782 h 4456918"/>
                  <a:gd name="connsiteX7" fmla="*/ 688768 w 1469164"/>
                  <a:gd name="connsiteY7" fmla="*/ 4456918 h 4456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9164" h="4456918">
                    <a:moveTo>
                      <a:pt x="0" y="0"/>
                    </a:moveTo>
                    <a:lnTo>
                      <a:pt x="0" y="450796"/>
                    </a:lnTo>
                    <a:lnTo>
                      <a:pt x="980584" y="1012144"/>
                    </a:lnTo>
                    <a:lnTo>
                      <a:pt x="980584" y="1906640"/>
                    </a:lnTo>
                    <a:lnTo>
                      <a:pt x="1469165" y="1629390"/>
                    </a:lnTo>
                    <a:lnTo>
                      <a:pt x="1469165" y="2300231"/>
                    </a:lnTo>
                    <a:lnTo>
                      <a:pt x="688768" y="2749782"/>
                    </a:lnTo>
                    <a:lnTo>
                      <a:pt x="688768" y="4456918"/>
                    </a:lnTo>
                  </a:path>
                </a:pathLst>
              </a:custGeom>
              <a:noFill/>
              <a:ln w="12700" cap="flat">
                <a:solidFill>
                  <a:srgbClr val="00FFB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8" name="Freihandform: Form 4467">
                <a:extLst>
                  <a:ext uri="{FF2B5EF4-FFF2-40B4-BE49-F238E27FC236}">
                    <a16:creationId xmlns:a16="http://schemas.microsoft.com/office/drawing/2014/main" id="{5C91AC8A-4583-A179-ACA7-56D0653712D4}"/>
                  </a:ext>
                </a:extLst>
              </p:cNvPr>
              <p:cNvSpPr/>
              <p:nvPr/>
            </p:nvSpPr>
            <p:spPr>
              <a:xfrm>
                <a:off x="9734544" y="3108703"/>
                <a:ext cx="74635" cy="743404"/>
              </a:xfrm>
              <a:custGeom>
                <a:avLst/>
                <a:gdLst>
                  <a:gd name="connsiteX0" fmla="*/ 369750 w 369749"/>
                  <a:gd name="connsiteY0" fmla="*/ 0 h 3682870"/>
                  <a:gd name="connsiteX1" fmla="*/ 369750 w 369749"/>
                  <a:gd name="connsiteY1" fmla="*/ 387491 h 3682870"/>
                  <a:gd name="connsiteX2" fmla="*/ 277312 w 369749"/>
                  <a:gd name="connsiteY2" fmla="*/ 448555 h 3682870"/>
                  <a:gd name="connsiteX3" fmla="*/ 277312 w 369749"/>
                  <a:gd name="connsiteY3" fmla="*/ 2823607 h 3682870"/>
                  <a:gd name="connsiteX4" fmla="*/ 0 w 369749"/>
                  <a:gd name="connsiteY4" fmla="*/ 2995472 h 3682870"/>
                  <a:gd name="connsiteX5" fmla="*/ 0 w 369749"/>
                  <a:gd name="connsiteY5" fmla="*/ 3682871 h 3682870"/>
                  <a:gd name="connsiteX6" fmla="*/ 300967 w 369749"/>
                  <a:gd name="connsiteY6" fmla="*/ 3501606 h 368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749" h="3682870">
                    <a:moveTo>
                      <a:pt x="369750" y="0"/>
                    </a:moveTo>
                    <a:lnTo>
                      <a:pt x="369750" y="387491"/>
                    </a:lnTo>
                    <a:lnTo>
                      <a:pt x="277312" y="448555"/>
                    </a:lnTo>
                    <a:lnTo>
                      <a:pt x="277312" y="2823607"/>
                    </a:lnTo>
                    <a:lnTo>
                      <a:pt x="0" y="2995472"/>
                    </a:lnTo>
                    <a:lnTo>
                      <a:pt x="0" y="3682871"/>
                    </a:lnTo>
                    <a:lnTo>
                      <a:pt x="300967" y="3501606"/>
                    </a:lnTo>
                  </a:path>
                </a:pathLst>
              </a:custGeom>
              <a:noFill/>
              <a:ln w="12700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9" name="Freihandform: Form 4468">
                <a:extLst>
                  <a:ext uri="{FF2B5EF4-FFF2-40B4-BE49-F238E27FC236}">
                    <a16:creationId xmlns:a16="http://schemas.microsoft.com/office/drawing/2014/main" id="{701F788D-0C1F-50D6-A393-0A2896F6C5FB}"/>
                  </a:ext>
                </a:extLst>
              </p:cNvPr>
              <p:cNvSpPr/>
              <p:nvPr/>
            </p:nvSpPr>
            <p:spPr>
              <a:xfrm>
                <a:off x="10065995" y="3150383"/>
                <a:ext cx="51165" cy="44316"/>
              </a:xfrm>
              <a:custGeom>
                <a:avLst/>
                <a:gdLst>
                  <a:gd name="connsiteX0" fmla="*/ 0 w 253471"/>
                  <a:gd name="connsiteY0" fmla="*/ 0 h 219546"/>
                  <a:gd name="connsiteX1" fmla="*/ 126736 w 253471"/>
                  <a:gd name="connsiteY1" fmla="*/ 73328 h 219546"/>
                  <a:gd name="connsiteX2" fmla="*/ 253472 w 253471"/>
                  <a:gd name="connsiteY2" fmla="*/ 62 h 219546"/>
                  <a:gd name="connsiteX3" fmla="*/ 253472 w 253471"/>
                  <a:gd name="connsiteY3" fmla="*/ 146468 h 219546"/>
                  <a:gd name="connsiteX4" fmla="*/ 126736 w 253471"/>
                  <a:gd name="connsiteY4" fmla="*/ 219547 h 219546"/>
                  <a:gd name="connsiteX5" fmla="*/ 0 w 253471"/>
                  <a:gd name="connsiteY5" fmla="*/ 146406 h 219546"/>
                  <a:gd name="connsiteX6" fmla="*/ 0 w 253471"/>
                  <a:gd name="connsiteY6" fmla="*/ 0 h 21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71" h="219546">
                    <a:moveTo>
                      <a:pt x="0" y="0"/>
                    </a:moveTo>
                    <a:lnTo>
                      <a:pt x="126736" y="73328"/>
                    </a:lnTo>
                    <a:lnTo>
                      <a:pt x="253472" y="62"/>
                    </a:lnTo>
                    <a:lnTo>
                      <a:pt x="253472" y="146468"/>
                    </a:lnTo>
                    <a:lnTo>
                      <a:pt x="126736" y="219547"/>
                    </a:lnTo>
                    <a:lnTo>
                      <a:pt x="0" y="14640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0" name="Freihandform: Form 4469">
                <a:extLst>
                  <a:ext uri="{FF2B5EF4-FFF2-40B4-BE49-F238E27FC236}">
                    <a16:creationId xmlns:a16="http://schemas.microsoft.com/office/drawing/2014/main" id="{21BE111B-EB91-D0B3-65BB-C60F4E31885D}"/>
                  </a:ext>
                </a:extLst>
              </p:cNvPr>
              <p:cNvSpPr/>
              <p:nvPr/>
            </p:nvSpPr>
            <p:spPr>
              <a:xfrm>
                <a:off x="10066019" y="3135620"/>
                <a:ext cx="51140" cy="29565"/>
              </a:xfrm>
              <a:custGeom>
                <a:avLst/>
                <a:gdLst>
                  <a:gd name="connsiteX0" fmla="*/ 126612 w 253347"/>
                  <a:gd name="connsiteY0" fmla="*/ 0 h 146468"/>
                  <a:gd name="connsiteX1" fmla="*/ 253347 w 253347"/>
                  <a:gd name="connsiteY1" fmla="*/ 73203 h 146468"/>
                  <a:gd name="connsiteX2" fmla="*/ 126612 w 253347"/>
                  <a:gd name="connsiteY2" fmla="*/ 146468 h 146468"/>
                  <a:gd name="connsiteX3" fmla="*/ 0 w 253347"/>
                  <a:gd name="connsiteY3" fmla="*/ 73888 h 146468"/>
                  <a:gd name="connsiteX4" fmla="*/ 126612 w 253347"/>
                  <a:gd name="connsiteY4" fmla="*/ 0 h 14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347" h="146468">
                    <a:moveTo>
                      <a:pt x="126612" y="0"/>
                    </a:moveTo>
                    <a:lnTo>
                      <a:pt x="253347" y="73203"/>
                    </a:lnTo>
                    <a:lnTo>
                      <a:pt x="126612" y="146468"/>
                    </a:lnTo>
                    <a:lnTo>
                      <a:pt x="0" y="73888"/>
                    </a:lnTo>
                    <a:lnTo>
                      <a:pt x="126612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1" name="Freihandform: Form 4470">
                <a:extLst>
                  <a:ext uri="{FF2B5EF4-FFF2-40B4-BE49-F238E27FC236}">
                    <a16:creationId xmlns:a16="http://schemas.microsoft.com/office/drawing/2014/main" id="{1ADC927D-51D9-FE6F-2132-12FC3D9DED0D}"/>
                  </a:ext>
                </a:extLst>
              </p:cNvPr>
              <p:cNvSpPr/>
              <p:nvPr/>
            </p:nvSpPr>
            <p:spPr>
              <a:xfrm>
                <a:off x="10091575" y="3150395"/>
                <a:ext cx="25581" cy="44304"/>
              </a:xfrm>
              <a:custGeom>
                <a:avLst/>
                <a:gdLst>
                  <a:gd name="connsiteX0" fmla="*/ 0 w 126735"/>
                  <a:gd name="connsiteY0" fmla="*/ 73265 h 219484"/>
                  <a:gd name="connsiteX1" fmla="*/ 0 w 126735"/>
                  <a:gd name="connsiteY1" fmla="*/ 219485 h 219484"/>
                  <a:gd name="connsiteX2" fmla="*/ 126736 w 126735"/>
                  <a:gd name="connsiteY2" fmla="*/ 146406 h 219484"/>
                  <a:gd name="connsiteX3" fmla="*/ 126736 w 126735"/>
                  <a:gd name="connsiteY3" fmla="*/ 0 h 219484"/>
                  <a:gd name="connsiteX4" fmla="*/ 0 w 126735"/>
                  <a:gd name="connsiteY4" fmla="*/ 73265 h 21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735" h="219484">
                    <a:moveTo>
                      <a:pt x="0" y="73265"/>
                    </a:moveTo>
                    <a:lnTo>
                      <a:pt x="0" y="219485"/>
                    </a:lnTo>
                    <a:lnTo>
                      <a:pt x="126736" y="146406"/>
                    </a:lnTo>
                    <a:lnTo>
                      <a:pt x="126736" y="0"/>
                    </a:lnTo>
                    <a:lnTo>
                      <a:pt x="0" y="73265"/>
                    </a:lnTo>
                    <a:close/>
                  </a:path>
                </a:pathLst>
              </a:custGeom>
              <a:solidFill>
                <a:srgbClr val="00BE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2" name="Freihandform: Form 4471">
                <a:extLst>
                  <a:ext uri="{FF2B5EF4-FFF2-40B4-BE49-F238E27FC236}">
                    <a16:creationId xmlns:a16="http://schemas.microsoft.com/office/drawing/2014/main" id="{6E9EB41E-CC4C-5BED-65DC-399B4CA29B04}"/>
                  </a:ext>
                </a:extLst>
              </p:cNvPr>
              <p:cNvSpPr/>
              <p:nvPr/>
            </p:nvSpPr>
            <p:spPr>
              <a:xfrm>
                <a:off x="10076122" y="3127413"/>
                <a:ext cx="29829" cy="29829"/>
              </a:xfrm>
              <a:custGeom>
                <a:avLst/>
                <a:gdLst>
                  <a:gd name="connsiteX0" fmla="*/ 147776 w 147775"/>
                  <a:gd name="connsiteY0" fmla="*/ 73888 h 147775"/>
                  <a:gd name="connsiteX1" fmla="*/ 73888 w 147775"/>
                  <a:gd name="connsiteY1" fmla="*/ 147775 h 147775"/>
                  <a:gd name="connsiteX2" fmla="*/ 0 w 147775"/>
                  <a:gd name="connsiteY2" fmla="*/ 73888 h 147775"/>
                  <a:gd name="connsiteX3" fmla="*/ 73888 w 147775"/>
                  <a:gd name="connsiteY3" fmla="*/ 0 h 147775"/>
                  <a:gd name="connsiteX4" fmla="*/ 147776 w 147775"/>
                  <a:gd name="connsiteY4" fmla="*/ 73888 h 14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775" h="147775">
                    <a:moveTo>
                      <a:pt x="147776" y="73888"/>
                    </a:moveTo>
                    <a:cubicBezTo>
                      <a:pt x="147776" y="114695"/>
                      <a:pt x="114695" y="147775"/>
                      <a:pt x="73888" y="147775"/>
                    </a:cubicBezTo>
                    <a:cubicBezTo>
                      <a:pt x="33081" y="147775"/>
                      <a:pt x="0" y="114695"/>
                      <a:pt x="0" y="73888"/>
                    </a:cubicBezTo>
                    <a:cubicBezTo>
                      <a:pt x="0" y="33081"/>
                      <a:pt x="33081" y="0"/>
                      <a:pt x="73888" y="0"/>
                    </a:cubicBezTo>
                    <a:cubicBezTo>
                      <a:pt x="114695" y="0"/>
                      <a:pt x="147776" y="33081"/>
                      <a:pt x="147776" y="73888"/>
                    </a:cubicBezTo>
                    <a:close/>
                  </a:path>
                </a:pathLst>
              </a:custGeom>
              <a:solidFill>
                <a:srgbClr val="00646E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3" name="Freihandform: Form 4472">
                <a:extLst>
                  <a:ext uri="{FF2B5EF4-FFF2-40B4-BE49-F238E27FC236}">
                    <a16:creationId xmlns:a16="http://schemas.microsoft.com/office/drawing/2014/main" id="{93306F56-4FC3-9927-A260-0A5E5F303D21}"/>
                  </a:ext>
                </a:extLst>
              </p:cNvPr>
              <p:cNvSpPr/>
              <p:nvPr/>
            </p:nvSpPr>
            <p:spPr>
              <a:xfrm>
                <a:off x="10037484" y="3187061"/>
                <a:ext cx="28573" cy="24740"/>
              </a:xfrm>
              <a:custGeom>
                <a:avLst/>
                <a:gdLst>
                  <a:gd name="connsiteX0" fmla="*/ 0 w 141550"/>
                  <a:gd name="connsiteY0" fmla="*/ 0 h 122565"/>
                  <a:gd name="connsiteX1" fmla="*/ 70775 w 141550"/>
                  <a:gd name="connsiteY1" fmla="*/ 40959 h 122565"/>
                  <a:gd name="connsiteX2" fmla="*/ 141551 w 141550"/>
                  <a:gd name="connsiteY2" fmla="*/ 62 h 122565"/>
                  <a:gd name="connsiteX3" fmla="*/ 141551 w 141550"/>
                  <a:gd name="connsiteY3" fmla="*/ 81793 h 122565"/>
                  <a:gd name="connsiteX4" fmla="*/ 70775 w 141550"/>
                  <a:gd name="connsiteY4" fmla="*/ 122565 h 122565"/>
                  <a:gd name="connsiteX5" fmla="*/ 0 w 141550"/>
                  <a:gd name="connsiteY5" fmla="*/ 81731 h 122565"/>
                  <a:gd name="connsiteX6" fmla="*/ 0 w 141550"/>
                  <a:gd name="connsiteY6" fmla="*/ 0 h 122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550" h="122565">
                    <a:moveTo>
                      <a:pt x="0" y="0"/>
                    </a:moveTo>
                    <a:lnTo>
                      <a:pt x="70775" y="40959"/>
                    </a:lnTo>
                    <a:lnTo>
                      <a:pt x="141551" y="62"/>
                    </a:lnTo>
                    <a:lnTo>
                      <a:pt x="141551" y="81793"/>
                    </a:lnTo>
                    <a:lnTo>
                      <a:pt x="70775" y="122565"/>
                    </a:lnTo>
                    <a:lnTo>
                      <a:pt x="0" y="817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4" name="Freihandform: Form 4473">
                <a:extLst>
                  <a:ext uri="{FF2B5EF4-FFF2-40B4-BE49-F238E27FC236}">
                    <a16:creationId xmlns:a16="http://schemas.microsoft.com/office/drawing/2014/main" id="{2344098E-B935-A393-1407-58B125FCA5E2}"/>
                  </a:ext>
                </a:extLst>
              </p:cNvPr>
              <p:cNvSpPr/>
              <p:nvPr/>
            </p:nvSpPr>
            <p:spPr>
              <a:xfrm>
                <a:off x="10037498" y="3178815"/>
                <a:ext cx="28560" cy="16510"/>
              </a:xfrm>
              <a:custGeom>
                <a:avLst/>
                <a:gdLst>
                  <a:gd name="connsiteX0" fmla="*/ 70713 w 141488"/>
                  <a:gd name="connsiteY0" fmla="*/ 0 h 81793"/>
                  <a:gd name="connsiteX1" fmla="*/ 141489 w 141488"/>
                  <a:gd name="connsiteY1" fmla="*/ 40897 h 81793"/>
                  <a:gd name="connsiteX2" fmla="*/ 70713 w 141488"/>
                  <a:gd name="connsiteY2" fmla="*/ 81793 h 81793"/>
                  <a:gd name="connsiteX3" fmla="*/ 0 w 141488"/>
                  <a:gd name="connsiteY3" fmla="*/ 41270 h 81793"/>
                  <a:gd name="connsiteX4" fmla="*/ 70713 w 141488"/>
                  <a:gd name="connsiteY4" fmla="*/ 0 h 81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88" h="81793">
                    <a:moveTo>
                      <a:pt x="70713" y="0"/>
                    </a:moveTo>
                    <a:lnTo>
                      <a:pt x="141489" y="40897"/>
                    </a:lnTo>
                    <a:lnTo>
                      <a:pt x="70713" y="81793"/>
                    </a:lnTo>
                    <a:lnTo>
                      <a:pt x="0" y="41270"/>
                    </a:lnTo>
                    <a:lnTo>
                      <a:pt x="70713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5" name="Freihandform: Form 4474">
                <a:extLst>
                  <a:ext uri="{FF2B5EF4-FFF2-40B4-BE49-F238E27FC236}">
                    <a16:creationId xmlns:a16="http://schemas.microsoft.com/office/drawing/2014/main" id="{755249C3-E927-A887-92FE-C3169FB85592}"/>
                  </a:ext>
                </a:extLst>
              </p:cNvPr>
              <p:cNvSpPr/>
              <p:nvPr/>
            </p:nvSpPr>
            <p:spPr>
              <a:xfrm>
                <a:off x="10051772" y="3187070"/>
                <a:ext cx="14286" cy="24727"/>
              </a:xfrm>
              <a:custGeom>
                <a:avLst/>
                <a:gdLst>
                  <a:gd name="connsiteX0" fmla="*/ 0 w 70775"/>
                  <a:gd name="connsiteY0" fmla="*/ 40897 h 122503"/>
                  <a:gd name="connsiteX1" fmla="*/ 0 w 70775"/>
                  <a:gd name="connsiteY1" fmla="*/ 122503 h 122503"/>
                  <a:gd name="connsiteX2" fmla="*/ 70776 w 70775"/>
                  <a:gd name="connsiteY2" fmla="*/ 81731 h 122503"/>
                  <a:gd name="connsiteX3" fmla="*/ 70776 w 70775"/>
                  <a:gd name="connsiteY3" fmla="*/ 0 h 122503"/>
                  <a:gd name="connsiteX4" fmla="*/ 0 w 70775"/>
                  <a:gd name="connsiteY4" fmla="*/ 40897 h 122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775" h="122503">
                    <a:moveTo>
                      <a:pt x="0" y="40897"/>
                    </a:moveTo>
                    <a:lnTo>
                      <a:pt x="0" y="122503"/>
                    </a:lnTo>
                    <a:lnTo>
                      <a:pt x="70776" y="81731"/>
                    </a:lnTo>
                    <a:lnTo>
                      <a:pt x="70776" y="0"/>
                    </a:lnTo>
                    <a:lnTo>
                      <a:pt x="0" y="40897"/>
                    </a:lnTo>
                    <a:close/>
                  </a:path>
                </a:pathLst>
              </a:custGeom>
              <a:solidFill>
                <a:srgbClr val="00BE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476" name="Gruppieren 4475">
              <a:extLst>
                <a:ext uri="{FF2B5EF4-FFF2-40B4-BE49-F238E27FC236}">
                  <a16:creationId xmlns:a16="http://schemas.microsoft.com/office/drawing/2014/main" id="{243DFF33-C1BD-114C-59A1-0F5E6CAA559F}"/>
                </a:ext>
              </a:extLst>
            </p:cNvPr>
            <p:cNvGrpSpPr/>
            <p:nvPr/>
          </p:nvGrpSpPr>
          <p:grpSpPr>
            <a:xfrm>
              <a:off x="6471820" y="3435263"/>
              <a:ext cx="479829" cy="947606"/>
              <a:chOff x="9418639" y="3435263"/>
              <a:chExt cx="479829" cy="947606"/>
            </a:xfrm>
          </p:grpSpPr>
          <p:sp>
            <p:nvSpPr>
              <p:cNvPr id="4477" name="Freihandform: Form 4476">
                <a:extLst>
                  <a:ext uri="{FF2B5EF4-FFF2-40B4-BE49-F238E27FC236}">
                    <a16:creationId xmlns:a16="http://schemas.microsoft.com/office/drawing/2014/main" id="{D6EFDD7F-B06A-B3FA-941E-0A9F2EFCF72B}"/>
                  </a:ext>
                </a:extLst>
              </p:cNvPr>
              <p:cNvSpPr/>
              <p:nvPr/>
            </p:nvSpPr>
            <p:spPr>
              <a:xfrm>
                <a:off x="9418639" y="3435263"/>
                <a:ext cx="160391" cy="138527"/>
              </a:xfrm>
              <a:custGeom>
                <a:avLst/>
                <a:gdLst>
                  <a:gd name="connsiteX0" fmla="*/ 710057 w 794589"/>
                  <a:gd name="connsiteY0" fmla="*/ 133298 h 686267"/>
                  <a:gd name="connsiteX1" fmla="*/ 681734 w 794589"/>
                  <a:gd name="connsiteY1" fmla="*/ 149669 h 686267"/>
                  <a:gd name="connsiteX2" fmla="*/ 693126 w 794589"/>
                  <a:gd name="connsiteY2" fmla="*/ 84496 h 686267"/>
                  <a:gd name="connsiteX3" fmla="*/ 574793 w 794589"/>
                  <a:gd name="connsiteY3" fmla="*/ 16148 h 686267"/>
                  <a:gd name="connsiteX4" fmla="*/ 528855 w 794589"/>
                  <a:gd name="connsiteY4" fmla="*/ 53310 h 686267"/>
                  <a:gd name="connsiteX5" fmla="*/ 338066 w 794589"/>
                  <a:gd name="connsiteY5" fmla="*/ 35631 h 686267"/>
                  <a:gd name="connsiteX6" fmla="*/ 119017 w 794589"/>
                  <a:gd name="connsiteY6" fmla="*/ 396418 h 686267"/>
                  <a:gd name="connsiteX7" fmla="*/ 118333 w 794589"/>
                  <a:gd name="connsiteY7" fmla="*/ 396791 h 686267"/>
                  <a:gd name="connsiteX8" fmla="*/ 0 w 794589"/>
                  <a:gd name="connsiteY8" fmla="*/ 601772 h 686267"/>
                  <a:gd name="connsiteX9" fmla="*/ 118333 w 794589"/>
                  <a:gd name="connsiteY9" fmla="*/ 670120 h 686267"/>
                  <a:gd name="connsiteX10" fmla="*/ 710057 w 794589"/>
                  <a:gd name="connsiteY10" fmla="*/ 328506 h 686267"/>
                  <a:gd name="connsiteX11" fmla="*/ 794589 w 794589"/>
                  <a:gd name="connsiteY11" fmla="*/ 182100 h 686267"/>
                  <a:gd name="connsiteX12" fmla="*/ 710057 w 794589"/>
                  <a:gd name="connsiteY12" fmla="*/ 133298 h 68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94589" h="686267">
                    <a:moveTo>
                      <a:pt x="710057" y="133298"/>
                    </a:moveTo>
                    <a:lnTo>
                      <a:pt x="681734" y="149669"/>
                    </a:lnTo>
                    <a:cubicBezTo>
                      <a:pt x="689017" y="127695"/>
                      <a:pt x="693126" y="105473"/>
                      <a:pt x="693126" y="84496"/>
                    </a:cubicBezTo>
                    <a:cubicBezTo>
                      <a:pt x="693126" y="9052"/>
                      <a:pt x="640153" y="-21574"/>
                      <a:pt x="574793" y="16148"/>
                    </a:cubicBezTo>
                    <a:cubicBezTo>
                      <a:pt x="558484" y="25547"/>
                      <a:pt x="542985" y="38308"/>
                      <a:pt x="528855" y="53310"/>
                    </a:cubicBezTo>
                    <a:cubicBezTo>
                      <a:pt x="490946" y="-1157"/>
                      <a:pt x="419735" y="-11490"/>
                      <a:pt x="338066" y="35631"/>
                    </a:cubicBezTo>
                    <a:cubicBezTo>
                      <a:pt x="222348" y="102423"/>
                      <a:pt x="127607" y="260345"/>
                      <a:pt x="119017" y="396418"/>
                    </a:cubicBezTo>
                    <a:cubicBezTo>
                      <a:pt x="118768" y="396542"/>
                      <a:pt x="118519" y="396667"/>
                      <a:pt x="118333" y="396791"/>
                    </a:cubicBezTo>
                    <a:cubicBezTo>
                      <a:pt x="52973" y="434513"/>
                      <a:pt x="0" y="526266"/>
                      <a:pt x="0" y="601772"/>
                    </a:cubicBezTo>
                    <a:cubicBezTo>
                      <a:pt x="0" y="677216"/>
                      <a:pt x="52973" y="707842"/>
                      <a:pt x="118333" y="670120"/>
                    </a:cubicBezTo>
                    <a:lnTo>
                      <a:pt x="710057" y="328506"/>
                    </a:lnTo>
                    <a:cubicBezTo>
                      <a:pt x="756743" y="301552"/>
                      <a:pt x="794589" y="236006"/>
                      <a:pt x="794589" y="182100"/>
                    </a:cubicBezTo>
                    <a:cubicBezTo>
                      <a:pt x="794589" y="128193"/>
                      <a:pt x="756743" y="106344"/>
                      <a:pt x="710057" y="133298"/>
                    </a:cubicBez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8" name="Freihandform: Form 4477">
                <a:extLst>
                  <a:ext uri="{FF2B5EF4-FFF2-40B4-BE49-F238E27FC236}">
                    <a16:creationId xmlns:a16="http://schemas.microsoft.com/office/drawing/2014/main" id="{8945F0B6-DE9B-4069-E720-F9A6D0B26247}"/>
                  </a:ext>
                </a:extLst>
              </p:cNvPr>
              <p:cNvSpPr/>
              <p:nvPr/>
            </p:nvSpPr>
            <p:spPr>
              <a:xfrm>
                <a:off x="9442261" y="3463928"/>
                <a:ext cx="227361" cy="654593"/>
              </a:xfrm>
              <a:custGeom>
                <a:avLst/>
                <a:gdLst>
                  <a:gd name="connsiteX0" fmla="*/ 0 w 1126367"/>
                  <a:gd name="connsiteY0" fmla="*/ 3897687 h 4543877"/>
                  <a:gd name="connsiteX1" fmla="*/ 1126368 w 1126367"/>
                  <a:gd name="connsiteY1" fmla="*/ 4543878 h 4543877"/>
                  <a:gd name="connsiteX2" fmla="*/ 1126368 w 1126367"/>
                  <a:gd name="connsiteY2" fmla="*/ 0 h 4543877"/>
                  <a:gd name="connsiteX3" fmla="*/ 0 w 1126367"/>
                  <a:gd name="connsiteY3" fmla="*/ 643141 h 4543877"/>
                  <a:gd name="connsiteX4" fmla="*/ 0 w 1126367"/>
                  <a:gd name="connsiteY4" fmla="*/ 3897687 h 4543877"/>
                  <a:gd name="connsiteX0" fmla="*/ 0 w 1126367"/>
                  <a:gd name="connsiteY0" fmla="*/ 3107799 h 4543877"/>
                  <a:gd name="connsiteX1" fmla="*/ 1126368 w 1126367"/>
                  <a:gd name="connsiteY1" fmla="*/ 4543878 h 4543877"/>
                  <a:gd name="connsiteX2" fmla="*/ 1126368 w 1126367"/>
                  <a:gd name="connsiteY2" fmla="*/ 0 h 4543877"/>
                  <a:gd name="connsiteX3" fmla="*/ 0 w 1126367"/>
                  <a:gd name="connsiteY3" fmla="*/ 643141 h 4543877"/>
                  <a:gd name="connsiteX4" fmla="*/ 0 w 1126367"/>
                  <a:gd name="connsiteY4" fmla="*/ 3107799 h 4543877"/>
                  <a:gd name="connsiteX0" fmla="*/ 0 w 1126367"/>
                  <a:gd name="connsiteY0" fmla="*/ 3107799 h 3809418"/>
                  <a:gd name="connsiteX1" fmla="*/ 1126367 w 1126367"/>
                  <a:gd name="connsiteY1" fmla="*/ 3809418 h 3809418"/>
                  <a:gd name="connsiteX2" fmla="*/ 1126368 w 1126367"/>
                  <a:gd name="connsiteY2" fmla="*/ 0 h 3809418"/>
                  <a:gd name="connsiteX3" fmla="*/ 0 w 1126367"/>
                  <a:gd name="connsiteY3" fmla="*/ 643141 h 3809418"/>
                  <a:gd name="connsiteX4" fmla="*/ 0 w 1126367"/>
                  <a:gd name="connsiteY4" fmla="*/ 3107799 h 3809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6367" h="3809418">
                    <a:moveTo>
                      <a:pt x="0" y="3107799"/>
                    </a:moveTo>
                    <a:lnTo>
                      <a:pt x="1126367" y="3809418"/>
                    </a:lnTo>
                    <a:cubicBezTo>
                      <a:pt x="1126367" y="2539612"/>
                      <a:pt x="1126368" y="1269806"/>
                      <a:pt x="1126368" y="0"/>
                    </a:cubicBezTo>
                    <a:lnTo>
                      <a:pt x="0" y="643141"/>
                    </a:lnTo>
                    <a:lnTo>
                      <a:pt x="0" y="3107799"/>
                    </a:lnTo>
                    <a:close/>
                  </a:path>
                </a:pathLst>
              </a:custGeom>
              <a:solidFill>
                <a:srgbClr val="333353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9" name="Freihandform: Form 4478">
                <a:extLst>
                  <a:ext uri="{FF2B5EF4-FFF2-40B4-BE49-F238E27FC236}">
                    <a16:creationId xmlns:a16="http://schemas.microsoft.com/office/drawing/2014/main" id="{CBC6EC6E-69E0-41CA-0308-28A89C25EDF5}"/>
                  </a:ext>
                </a:extLst>
              </p:cNvPr>
              <p:cNvSpPr/>
              <p:nvPr/>
            </p:nvSpPr>
            <p:spPr>
              <a:xfrm>
                <a:off x="9667241" y="3463928"/>
                <a:ext cx="230399" cy="675928"/>
              </a:xfrm>
              <a:custGeom>
                <a:avLst/>
                <a:gdLst>
                  <a:gd name="connsiteX0" fmla="*/ 1116969 w 1127301"/>
                  <a:gd name="connsiteY0" fmla="*/ 3904099 h 4554335"/>
                  <a:gd name="connsiteX1" fmla="*/ 0 w 1127301"/>
                  <a:gd name="connsiteY1" fmla="*/ 4554336 h 4554335"/>
                  <a:gd name="connsiteX2" fmla="*/ 0 w 1127301"/>
                  <a:gd name="connsiteY2" fmla="*/ 0 h 4554335"/>
                  <a:gd name="connsiteX3" fmla="*/ 1127302 w 1127301"/>
                  <a:gd name="connsiteY3" fmla="*/ 644635 h 4554335"/>
                  <a:gd name="connsiteX4" fmla="*/ 1116969 w 1127301"/>
                  <a:gd name="connsiteY4" fmla="*/ 3904099 h 4554335"/>
                  <a:gd name="connsiteX0" fmla="*/ 1128770 w 1139102"/>
                  <a:gd name="connsiteY0" fmla="*/ 3904099 h 3904100"/>
                  <a:gd name="connsiteX1" fmla="*/ 0 w 1139102"/>
                  <a:gd name="connsiteY1" fmla="*/ 3448723 h 3904100"/>
                  <a:gd name="connsiteX2" fmla="*/ 11801 w 1139102"/>
                  <a:gd name="connsiteY2" fmla="*/ 0 h 3904100"/>
                  <a:gd name="connsiteX3" fmla="*/ 1139103 w 1139102"/>
                  <a:gd name="connsiteY3" fmla="*/ 644635 h 3904100"/>
                  <a:gd name="connsiteX4" fmla="*/ 1128770 w 1139102"/>
                  <a:gd name="connsiteY4" fmla="*/ 3904099 h 3904100"/>
                  <a:gd name="connsiteX0" fmla="*/ 1140563 w 1141416"/>
                  <a:gd name="connsiteY0" fmla="*/ 2834933 h 3448723"/>
                  <a:gd name="connsiteX1" fmla="*/ 0 w 1141416"/>
                  <a:gd name="connsiteY1" fmla="*/ 3448723 h 3448723"/>
                  <a:gd name="connsiteX2" fmla="*/ 11801 w 1141416"/>
                  <a:gd name="connsiteY2" fmla="*/ 0 h 3448723"/>
                  <a:gd name="connsiteX3" fmla="*/ 1139103 w 1141416"/>
                  <a:gd name="connsiteY3" fmla="*/ 644635 h 3448723"/>
                  <a:gd name="connsiteX4" fmla="*/ 1140563 w 1141416"/>
                  <a:gd name="connsiteY4" fmla="*/ 2834933 h 3448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1416" h="3448723">
                    <a:moveTo>
                      <a:pt x="1140563" y="2834933"/>
                    </a:moveTo>
                    <a:lnTo>
                      <a:pt x="0" y="3448723"/>
                    </a:lnTo>
                    <a:cubicBezTo>
                      <a:pt x="3934" y="2299149"/>
                      <a:pt x="7867" y="1149574"/>
                      <a:pt x="11801" y="0"/>
                    </a:cubicBezTo>
                    <a:lnTo>
                      <a:pt x="1139103" y="644635"/>
                    </a:lnTo>
                    <a:cubicBezTo>
                      <a:pt x="1135659" y="1731123"/>
                      <a:pt x="1144007" y="1748445"/>
                      <a:pt x="1140563" y="2834933"/>
                    </a:cubicBezTo>
                    <a:close/>
                  </a:path>
                </a:pathLst>
              </a:custGeom>
              <a:solidFill>
                <a:srgbClr val="333353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0" name="Freihandform: Form 4479">
                <a:extLst>
                  <a:ext uri="{FF2B5EF4-FFF2-40B4-BE49-F238E27FC236}">
                    <a16:creationId xmlns:a16="http://schemas.microsoft.com/office/drawing/2014/main" id="{F05181D9-AE4D-7D02-C698-344650679BD6}"/>
                  </a:ext>
                </a:extLst>
              </p:cNvPr>
              <p:cNvSpPr/>
              <p:nvPr/>
            </p:nvSpPr>
            <p:spPr>
              <a:xfrm>
                <a:off x="9442261" y="3841871"/>
                <a:ext cx="454913" cy="261929"/>
              </a:xfrm>
              <a:custGeom>
                <a:avLst/>
                <a:gdLst>
                  <a:gd name="connsiteX0" fmla="*/ 1126804 w 2253669"/>
                  <a:gd name="connsiteY0" fmla="*/ 0 h 1297610"/>
                  <a:gd name="connsiteX1" fmla="*/ 2253670 w 2253669"/>
                  <a:gd name="connsiteY1" fmla="*/ 647000 h 1297610"/>
                  <a:gd name="connsiteX2" fmla="*/ 1126804 w 2253669"/>
                  <a:gd name="connsiteY2" fmla="*/ 1297611 h 1297610"/>
                  <a:gd name="connsiteX3" fmla="*/ 0 w 2253669"/>
                  <a:gd name="connsiteY3" fmla="*/ 647000 h 1297610"/>
                  <a:gd name="connsiteX4" fmla="*/ 1126804 w 2253669"/>
                  <a:gd name="connsiteY4" fmla="*/ 0 h 1297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69" h="1297610">
                    <a:moveTo>
                      <a:pt x="1126804" y="0"/>
                    </a:moveTo>
                    <a:lnTo>
                      <a:pt x="2253670" y="647000"/>
                    </a:lnTo>
                    <a:lnTo>
                      <a:pt x="1126804" y="1297611"/>
                    </a:lnTo>
                    <a:lnTo>
                      <a:pt x="0" y="64700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1" name="Freihandform: Form 4480">
                <a:extLst>
                  <a:ext uri="{FF2B5EF4-FFF2-40B4-BE49-F238E27FC236}">
                    <a16:creationId xmlns:a16="http://schemas.microsoft.com/office/drawing/2014/main" id="{C0AF05AA-1811-E597-3962-2DC59D93C398}"/>
                  </a:ext>
                </a:extLst>
              </p:cNvPr>
              <p:cNvSpPr/>
              <p:nvPr/>
            </p:nvSpPr>
            <p:spPr>
              <a:xfrm>
                <a:off x="9442261" y="3742645"/>
                <a:ext cx="454900" cy="262658"/>
              </a:xfrm>
              <a:custGeom>
                <a:avLst/>
                <a:gdLst>
                  <a:gd name="connsiteX0" fmla="*/ 1126804 w 2253607"/>
                  <a:gd name="connsiteY0" fmla="*/ 0 h 1301220"/>
                  <a:gd name="connsiteX1" fmla="*/ 2253608 w 2253607"/>
                  <a:gd name="connsiteY1" fmla="*/ 650610 h 1301220"/>
                  <a:gd name="connsiteX2" fmla="*/ 1126804 w 2253607"/>
                  <a:gd name="connsiteY2" fmla="*/ 1301221 h 1301220"/>
                  <a:gd name="connsiteX3" fmla="*/ 0 w 2253607"/>
                  <a:gd name="connsiteY3" fmla="*/ 650610 h 1301220"/>
                  <a:gd name="connsiteX4" fmla="*/ 1126804 w 2253607"/>
                  <a:gd name="connsiteY4" fmla="*/ 0 h 130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1220">
                    <a:moveTo>
                      <a:pt x="1126804" y="0"/>
                    </a:moveTo>
                    <a:lnTo>
                      <a:pt x="2253608" y="650610"/>
                    </a:lnTo>
                    <a:lnTo>
                      <a:pt x="1126804" y="1301221"/>
                    </a:lnTo>
                    <a:lnTo>
                      <a:pt x="0" y="65061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2" name="Freihandform: Form 4481">
                <a:extLst>
                  <a:ext uri="{FF2B5EF4-FFF2-40B4-BE49-F238E27FC236}">
                    <a16:creationId xmlns:a16="http://schemas.microsoft.com/office/drawing/2014/main" id="{5CE6D740-EA58-5E82-EBA2-420E82446472}"/>
                  </a:ext>
                </a:extLst>
              </p:cNvPr>
              <p:cNvSpPr/>
              <p:nvPr/>
            </p:nvSpPr>
            <p:spPr>
              <a:xfrm>
                <a:off x="9442261" y="3627739"/>
                <a:ext cx="454900" cy="262658"/>
              </a:xfrm>
              <a:custGeom>
                <a:avLst/>
                <a:gdLst>
                  <a:gd name="connsiteX0" fmla="*/ 1126804 w 2253607"/>
                  <a:gd name="connsiteY0" fmla="*/ 0 h 1301220"/>
                  <a:gd name="connsiteX1" fmla="*/ 2253608 w 2253607"/>
                  <a:gd name="connsiteY1" fmla="*/ 650611 h 1301220"/>
                  <a:gd name="connsiteX2" fmla="*/ 1126866 w 2253607"/>
                  <a:gd name="connsiteY2" fmla="*/ 1301221 h 1301220"/>
                  <a:gd name="connsiteX3" fmla="*/ 0 w 2253607"/>
                  <a:gd name="connsiteY3" fmla="*/ 650611 h 1301220"/>
                  <a:gd name="connsiteX4" fmla="*/ 1126804 w 2253607"/>
                  <a:gd name="connsiteY4" fmla="*/ 0 h 130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1220">
                    <a:moveTo>
                      <a:pt x="1126804" y="0"/>
                    </a:moveTo>
                    <a:lnTo>
                      <a:pt x="2253608" y="650611"/>
                    </a:lnTo>
                    <a:lnTo>
                      <a:pt x="1126866" y="1301221"/>
                    </a:lnTo>
                    <a:lnTo>
                      <a:pt x="0" y="650611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3" name="Freihandform: Form 4482">
                <a:extLst>
                  <a:ext uri="{FF2B5EF4-FFF2-40B4-BE49-F238E27FC236}">
                    <a16:creationId xmlns:a16="http://schemas.microsoft.com/office/drawing/2014/main" id="{B122105B-D2FC-6E67-9F07-0A89E9F5F0C7}"/>
                  </a:ext>
                </a:extLst>
              </p:cNvPr>
              <p:cNvSpPr/>
              <p:nvPr/>
            </p:nvSpPr>
            <p:spPr>
              <a:xfrm>
                <a:off x="9669712" y="3643418"/>
                <a:ext cx="227463" cy="608132"/>
              </a:xfrm>
              <a:custGeom>
                <a:avLst/>
                <a:gdLst>
                  <a:gd name="connsiteX0" fmla="*/ 1126866 w 1126866"/>
                  <a:gd name="connsiteY0" fmla="*/ 0 h 3663325"/>
                  <a:gd name="connsiteX1" fmla="*/ 1126866 w 1126866"/>
                  <a:gd name="connsiteY1" fmla="*/ 241769 h 3663325"/>
                  <a:gd name="connsiteX2" fmla="*/ 62 w 1126866"/>
                  <a:gd name="connsiteY2" fmla="*/ 892380 h 3663325"/>
                  <a:gd name="connsiteX3" fmla="*/ 62 w 1126866"/>
                  <a:gd name="connsiteY3" fmla="*/ 650610 h 3663325"/>
                  <a:gd name="connsiteX4" fmla="*/ 1126866 w 1126866"/>
                  <a:gd name="connsiteY4" fmla="*/ 0 h 3663325"/>
                  <a:gd name="connsiteX5" fmla="*/ 0 w 1126866"/>
                  <a:gd name="connsiteY5" fmla="*/ 1463873 h 3663325"/>
                  <a:gd name="connsiteX6" fmla="*/ 1126804 w 1126866"/>
                  <a:gd name="connsiteY6" fmla="*/ 813263 h 3663325"/>
                  <a:gd name="connsiteX7" fmla="*/ 1126804 w 1126866"/>
                  <a:gd name="connsiteY7" fmla="*/ 569253 h 3663325"/>
                  <a:gd name="connsiteX8" fmla="*/ 0 w 1126866"/>
                  <a:gd name="connsiteY8" fmla="*/ 1219864 h 3663325"/>
                  <a:gd name="connsiteX9" fmla="*/ 0 w 1126866"/>
                  <a:gd name="connsiteY9" fmla="*/ 1463811 h 3663325"/>
                  <a:gd name="connsiteX10" fmla="*/ 0 w 1126866"/>
                  <a:gd name="connsiteY10" fmla="*/ 2033189 h 3663325"/>
                  <a:gd name="connsiteX11" fmla="*/ 1126804 w 1126866"/>
                  <a:gd name="connsiteY11" fmla="*/ 1382578 h 3663325"/>
                  <a:gd name="connsiteX12" fmla="*/ 1126804 w 1126866"/>
                  <a:gd name="connsiteY12" fmla="*/ 1138568 h 3663325"/>
                  <a:gd name="connsiteX13" fmla="*/ 0 w 1126866"/>
                  <a:gd name="connsiteY13" fmla="*/ 1789179 h 3663325"/>
                  <a:gd name="connsiteX14" fmla="*/ 0 w 1126866"/>
                  <a:gd name="connsiteY14" fmla="*/ 2033126 h 3663325"/>
                  <a:gd name="connsiteX15" fmla="*/ 0 w 1126866"/>
                  <a:gd name="connsiteY15" fmla="*/ 2524757 h 3663325"/>
                  <a:gd name="connsiteX16" fmla="*/ 1126804 w 1126866"/>
                  <a:gd name="connsiteY16" fmla="*/ 1874147 h 3663325"/>
                  <a:gd name="connsiteX17" fmla="*/ 1126804 w 1126866"/>
                  <a:gd name="connsiteY17" fmla="*/ 1630137 h 3663325"/>
                  <a:gd name="connsiteX18" fmla="*/ 0 w 1126866"/>
                  <a:gd name="connsiteY18" fmla="*/ 2280747 h 3663325"/>
                  <a:gd name="connsiteX19" fmla="*/ 0 w 1126866"/>
                  <a:gd name="connsiteY19" fmla="*/ 2524757 h 3663325"/>
                  <a:gd name="connsiteX20" fmla="*/ 0 w 1126866"/>
                  <a:gd name="connsiteY20" fmla="*/ 3094072 h 3663325"/>
                  <a:gd name="connsiteX21" fmla="*/ 1126306 w 1126866"/>
                  <a:gd name="connsiteY21" fmla="*/ 2443337 h 3663325"/>
                  <a:gd name="connsiteX22" fmla="*/ 1126804 w 1126866"/>
                  <a:gd name="connsiteY22" fmla="*/ 2199514 h 3663325"/>
                  <a:gd name="connsiteX23" fmla="*/ 0 w 1126866"/>
                  <a:gd name="connsiteY23" fmla="*/ 2850124 h 3663325"/>
                  <a:gd name="connsiteX24" fmla="*/ 0 w 1126866"/>
                  <a:gd name="connsiteY24" fmla="*/ 3094134 h 3663325"/>
                  <a:gd name="connsiteX25" fmla="*/ 0 w 1126866"/>
                  <a:gd name="connsiteY25" fmla="*/ 3663325 h 3663325"/>
                  <a:gd name="connsiteX26" fmla="*/ 1126804 w 1126866"/>
                  <a:gd name="connsiteY26" fmla="*/ 3012715 h 3663325"/>
                  <a:gd name="connsiteX27" fmla="*/ 1126804 w 1126866"/>
                  <a:gd name="connsiteY27" fmla="*/ 2768705 h 3663325"/>
                  <a:gd name="connsiteX28" fmla="*/ 0 w 1126866"/>
                  <a:gd name="connsiteY28" fmla="*/ 3419315 h 3663325"/>
                  <a:gd name="connsiteX29" fmla="*/ 0 w 1126866"/>
                  <a:gd name="connsiteY29" fmla="*/ 3663325 h 3663325"/>
                  <a:gd name="connsiteX0" fmla="*/ 1126866 w 1126866"/>
                  <a:gd name="connsiteY0" fmla="*/ 0 h 3419313"/>
                  <a:gd name="connsiteX1" fmla="*/ 1126866 w 1126866"/>
                  <a:gd name="connsiteY1" fmla="*/ 241769 h 3419313"/>
                  <a:gd name="connsiteX2" fmla="*/ 62 w 1126866"/>
                  <a:gd name="connsiteY2" fmla="*/ 892380 h 3419313"/>
                  <a:gd name="connsiteX3" fmla="*/ 62 w 1126866"/>
                  <a:gd name="connsiteY3" fmla="*/ 650610 h 3419313"/>
                  <a:gd name="connsiteX4" fmla="*/ 1126866 w 1126866"/>
                  <a:gd name="connsiteY4" fmla="*/ 0 h 3419313"/>
                  <a:gd name="connsiteX5" fmla="*/ 0 w 1126866"/>
                  <a:gd name="connsiteY5" fmla="*/ 1463873 h 3419313"/>
                  <a:gd name="connsiteX6" fmla="*/ 1126804 w 1126866"/>
                  <a:gd name="connsiteY6" fmla="*/ 813263 h 3419313"/>
                  <a:gd name="connsiteX7" fmla="*/ 1126804 w 1126866"/>
                  <a:gd name="connsiteY7" fmla="*/ 569253 h 3419313"/>
                  <a:gd name="connsiteX8" fmla="*/ 0 w 1126866"/>
                  <a:gd name="connsiteY8" fmla="*/ 1219864 h 3419313"/>
                  <a:gd name="connsiteX9" fmla="*/ 0 w 1126866"/>
                  <a:gd name="connsiteY9" fmla="*/ 1463811 h 3419313"/>
                  <a:gd name="connsiteX10" fmla="*/ 0 w 1126866"/>
                  <a:gd name="connsiteY10" fmla="*/ 1463873 h 3419313"/>
                  <a:gd name="connsiteX11" fmla="*/ 0 w 1126866"/>
                  <a:gd name="connsiteY11" fmla="*/ 2033189 h 3419313"/>
                  <a:gd name="connsiteX12" fmla="*/ 1126804 w 1126866"/>
                  <a:gd name="connsiteY12" fmla="*/ 1382578 h 3419313"/>
                  <a:gd name="connsiteX13" fmla="*/ 1126804 w 1126866"/>
                  <a:gd name="connsiteY13" fmla="*/ 1138568 h 3419313"/>
                  <a:gd name="connsiteX14" fmla="*/ 0 w 1126866"/>
                  <a:gd name="connsiteY14" fmla="*/ 1789179 h 3419313"/>
                  <a:gd name="connsiteX15" fmla="*/ 0 w 1126866"/>
                  <a:gd name="connsiteY15" fmla="*/ 2033126 h 3419313"/>
                  <a:gd name="connsiteX16" fmla="*/ 0 w 1126866"/>
                  <a:gd name="connsiteY16" fmla="*/ 2033189 h 3419313"/>
                  <a:gd name="connsiteX17" fmla="*/ 0 w 1126866"/>
                  <a:gd name="connsiteY17" fmla="*/ 2524757 h 3419313"/>
                  <a:gd name="connsiteX18" fmla="*/ 1126804 w 1126866"/>
                  <a:gd name="connsiteY18" fmla="*/ 1874147 h 3419313"/>
                  <a:gd name="connsiteX19" fmla="*/ 1126804 w 1126866"/>
                  <a:gd name="connsiteY19" fmla="*/ 1630137 h 3419313"/>
                  <a:gd name="connsiteX20" fmla="*/ 0 w 1126866"/>
                  <a:gd name="connsiteY20" fmla="*/ 2280747 h 3419313"/>
                  <a:gd name="connsiteX21" fmla="*/ 0 w 1126866"/>
                  <a:gd name="connsiteY21" fmla="*/ 2524757 h 3419313"/>
                  <a:gd name="connsiteX22" fmla="*/ 0 w 1126866"/>
                  <a:gd name="connsiteY22" fmla="*/ 3094072 h 3419313"/>
                  <a:gd name="connsiteX23" fmla="*/ 1126306 w 1126866"/>
                  <a:gd name="connsiteY23" fmla="*/ 2443337 h 3419313"/>
                  <a:gd name="connsiteX24" fmla="*/ 1126804 w 1126866"/>
                  <a:gd name="connsiteY24" fmla="*/ 2199514 h 3419313"/>
                  <a:gd name="connsiteX25" fmla="*/ 0 w 1126866"/>
                  <a:gd name="connsiteY25" fmla="*/ 2850124 h 3419313"/>
                  <a:gd name="connsiteX26" fmla="*/ 0 w 1126866"/>
                  <a:gd name="connsiteY26" fmla="*/ 3094134 h 3419313"/>
                  <a:gd name="connsiteX27" fmla="*/ 0 w 1126866"/>
                  <a:gd name="connsiteY27" fmla="*/ 3094072 h 3419313"/>
                  <a:gd name="connsiteX28" fmla="*/ 0 w 1126866"/>
                  <a:gd name="connsiteY28" fmla="*/ 3419315 h 3419313"/>
                  <a:gd name="connsiteX29" fmla="*/ 1126804 w 1126866"/>
                  <a:gd name="connsiteY29" fmla="*/ 3012715 h 3419313"/>
                  <a:gd name="connsiteX30" fmla="*/ 1126804 w 1126866"/>
                  <a:gd name="connsiteY30" fmla="*/ 2768705 h 3419313"/>
                  <a:gd name="connsiteX31" fmla="*/ 0 w 1126866"/>
                  <a:gd name="connsiteY31" fmla="*/ 3419315 h 3419313"/>
                  <a:gd name="connsiteX0" fmla="*/ 1126866 w 1126866"/>
                  <a:gd name="connsiteY0" fmla="*/ 0 h 3094134"/>
                  <a:gd name="connsiteX1" fmla="*/ 1126866 w 1126866"/>
                  <a:gd name="connsiteY1" fmla="*/ 241769 h 3094134"/>
                  <a:gd name="connsiteX2" fmla="*/ 62 w 1126866"/>
                  <a:gd name="connsiteY2" fmla="*/ 892380 h 3094134"/>
                  <a:gd name="connsiteX3" fmla="*/ 62 w 1126866"/>
                  <a:gd name="connsiteY3" fmla="*/ 650610 h 3094134"/>
                  <a:gd name="connsiteX4" fmla="*/ 1126866 w 1126866"/>
                  <a:gd name="connsiteY4" fmla="*/ 0 h 3094134"/>
                  <a:gd name="connsiteX5" fmla="*/ 0 w 1126866"/>
                  <a:gd name="connsiteY5" fmla="*/ 1463873 h 3094134"/>
                  <a:gd name="connsiteX6" fmla="*/ 1126804 w 1126866"/>
                  <a:gd name="connsiteY6" fmla="*/ 813263 h 3094134"/>
                  <a:gd name="connsiteX7" fmla="*/ 1126804 w 1126866"/>
                  <a:gd name="connsiteY7" fmla="*/ 569253 h 3094134"/>
                  <a:gd name="connsiteX8" fmla="*/ 0 w 1126866"/>
                  <a:gd name="connsiteY8" fmla="*/ 1219864 h 3094134"/>
                  <a:gd name="connsiteX9" fmla="*/ 0 w 1126866"/>
                  <a:gd name="connsiteY9" fmla="*/ 1463811 h 3094134"/>
                  <a:gd name="connsiteX10" fmla="*/ 0 w 1126866"/>
                  <a:gd name="connsiteY10" fmla="*/ 1463873 h 3094134"/>
                  <a:gd name="connsiteX11" fmla="*/ 0 w 1126866"/>
                  <a:gd name="connsiteY11" fmla="*/ 2033189 h 3094134"/>
                  <a:gd name="connsiteX12" fmla="*/ 1126804 w 1126866"/>
                  <a:gd name="connsiteY12" fmla="*/ 1382578 h 3094134"/>
                  <a:gd name="connsiteX13" fmla="*/ 1126804 w 1126866"/>
                  <a:gd name="connsiteY13" fmla="*/ 1138568 h 3094134"/>
                  <a:gd name="connsiteX14" fmla="*/ 0 w 1126866"/>
                  <a:gd name="connsiteY14" fmla="*/ 1789179 h 3094134"/>
                  <a:gd name="connsiteX15" fmla="*/ 0 w 1126866"/>
                  <a:gd name="connsiteY15" fmla="*/ 2033126 h 3094134"/>
                  <a:gd name="connsiteX16" fmla="*/ 0 w 1126866"/>
                  <a:gd name="connsiteY16" fmla="*/ 2033189 h 3094134"/>
                  <a:gd name="connsiteX17" fmla="*/ 0 w 1126866"/>
                  <a:gd name="connsiteY17" fmla="*/ 2524757 h 3094134"/>
                  <a:gd name="connsiteX18" fmla="*/ 1126804 w 1126866"/>
                  <a:gd name="connsiteY18" fmla="*/ 1874147 h 3094134"/>
                  <a:gd name="connsiteX19" fmla="*/ 1126804 w 1126866"/>
                  <a:gd name="connsiteY19" fmla="*/ 1630137 h 3094134"/>
                  <a:gd name="connsiteX20" fmla="*/ 0 w 1126866"/>
                  <a:gd name="connsiteY20" fmla="*/ 2280747 h 3094134"/>
                  <a:gd name="connsiteX21" fmla="*/ 0 w 1126866"/>
                  <a:gd name="connsiteY21" fmla="*/ 2524757 h 3094134"/>
                  <a:gd name="connsiteX22" fmla="*/ 0 w 1126866"/>
                  <a:gd name="connsiteY22" fmla="*/ 3094072 h 3094134"/>
                  <a:gd name="connsiteX23" fmla="*/ 1126306 w 1126866"/>
                  <a:gd name="connsiteY23" fmla="*/ 2443337 h 3094134"/>
                  <a:gd name="connsiteX24" fmla="*/ 1126804 w 1126866"/>
                  <a:gd name="connsiteY24" fmla="*/ 2199514 h 3094134"/>
                  <a:gd name="connsiteX25" fmla="*/ 0 w 1126866"/>
                  <a:gd name="connsiteY25" fmla="*/ 2850124 h 3094134"/>
                  <a:gd name="connsiteX26" fmla="*/ 0 w 1126866"/>
                  <a:gd name="connsiteY26" fmla="*/ 3094134 h 3094134"/>
                  <a:gd name="connsiteX27" fmla="*/ 0 w 1126866"/>
                  <a:gd name="connsiteY27" fmla="*/ 3094072 h 3094134"/>
                  <a:gd name="connsiteX28" fmla="*/ 1126804 w 1126866"/>
                  <a:gd name="connsiteY28" fmla="*/ 2768705 h 3094134"/>
                  <a:gd name="connsiteX29" fmla="*/ 1126804 w 1126866"/>
                  <a:gd name="connsiteY29" fmla="*/ 3012715 h 3094134"/>
                  <a:gd name="connsiteX30" fmla="*/ 1126804 w 1126866"/>
                  <a:gd name="connsiteY30" fmla="*/ 2768705 h 3094134"/>
                  <a:gd name="connsiteX0" fmla="*/ 1126866 w 1126866"/>
                  <a:gd name="connsiteY0" fmla="*/ 0 h 3094134"/>
                  <a:gd name="connsiteX1" fmla="*/ 1126866 w 1126866"/>
                  <a:gd name="connsiteY1" fmla="*/ 241769 h 3094134"/>
                  <a:gd name="connsiteX2" fmla="*/ 62 w 1126866"/>
                  <a:gd name="connsiteY2" fmla="*/ 892380 h 3094134"/>
                  <a:gd name="connsiteX3" fmla="*/ 62 w 1126866"/>
                  <a:gd name="connsiteY3" fmla="*/ 650610 h 3094134"/>
                  <a:gd name="connsiteX4" fmla="*/ 1126866 w 1126866"/>
                  <a:gd name="connsiteY4" fmla="*/ 0 h 3094134"/>
                  <a:gd name="connsiteX5" fmla="*/ 0 w 1126866"/>
                  <a:gd name="connsiteY5" fmla="*/ 1463873 h 3094134"/>
                  <a:gd name="connsiteX6" fmla="*/ 1126804 w 1126866"/>
                  <a:gd name="connsiteY6" fmla="*/ 813263 h 3094134"/>
                  <a:gd name="connsiteX7" fmla="*/ 1126804 w 1126866"/>
                  <a:gd name="connsiteY7" fmla="*/ 569253 h 3094134"/>
                  <a:gd name="connsiteX8" fmla="*/ 0 w 1126866"/>
                  <a:gd name="connsiteY8" fmla="*/ 1219864 h 3094134"/>
                  <a:gd name="connsiteX9" fmla="*/ 0 w 1126866"/>
                  <a:gd name="connsiteY9" fmla="*/ 1463811 h 3094134"/>
                  <a:gd name="connsiteX10" fmla="*/ 0 w 1126866"/>
                  <a:gd name="connsiteY10" fmla="*/ 1463873 h 3094134"/>
                  <a:gd name="connsiteX11" fmla="*/ 0 w 1126866"/>
                  <a:gd name="connsiteY11" fmla="*/ 2033189 h 3094134"/>
                  <a:gd name="connsiteX12" fmla="*/ 1126804 w 1126866"/>
                  <a:gd name="connsiteY12" fmla="*/ 1382578 h 3094134"/>
                  <a:gd name="connsiteX13" fmla="*/ 1126804 w 1126866"/>
                  <a:gd name="connsiteY13" fmla="*/ 1138568 h 3094134"/>
                  <a:gd name="connsiteX14" fmla="*/ 0 w 1126866"/>
                  <a:gd name="connsiteY14" fmla="*/ 1789179 h 3094134"/>
                  <a:gd name="connsiteX15" fmla="*/ 0 w 1126866"/>
                  <a:gd name="connsiteY15" fmla="*/ 2033126 h 3094134"/>
                  <a:gd name="connsiteX16" fmla="*/ 0 w 1126866"/>
                  <a:gd name="connsiteY16" fmla="*/ 2033189 h 3094134"/>
                  <a:gd name="connsiteX17" fmla="*/ 0 w 1126866"/>
                  <a:gd name="connsiteY17" fmla="*/ 2524757 h 3094134"/>
                  <a:gd name="connsiteX18" fmla="*/ 1126804 w 1126866"/>
                  <a:gd name="connsiteY18" fmla="*/ 1874147 h 3094134"/>
                  <a:gd name="connsiteX19" fmla="*/ 1126804 w 1126866"/>
                  <a:gd name="connsiteY19" fmla="*/ 1630137 h 3094134"/>
                  <a:gd name="connsiteX20" fmla="*/ 0 w 1126866"/>
                  <a:gd name="connsiteY20" fmla="*/ 2280747 h 3094134"/>
                  <a:gd name="connsiteX21" fmla="*/ 0 w 1126866"/>
                  <a:gd name="connsiteY21" fmla="*/ 2524757 h 3094134"/>
                  <a:gd name="connsiteX22" fmla="*/ 0 w 1126866"/>
                  <a:gd name="connsiteY22" fmla="*/ 3094072 h 3094134"/>
                  <a:gd name="connsiteX23" fmla="*/ 1126306 w 1126866"/>
                  <a:gd name="connsiteY23" fmla="*/ 2443337 h 3094134"/>
                  <a:gd name="connsiteX24" fmla="*/ 1126804 w 1126866"/>
                  <a:gd name="connsiteY24" fmla="*/ 2199514 h 3094134"/>
                  <a:gd name="connsiteX25" fmla="*/ 0 w 1126866"/>
                  <a:gd name="connsiteY25" fmla="*/ 3094134 h 3094134"/>
                  <a:gd name="connsiteX26" fmla="*/ 0 w 1126866"/>
                  <a:gd name="connsiteY26" fmla="*/ 3094072 h 3094134"/>
                  <a:gd name="connsiteX27" fmla="*/ 1126804 w 1126866"/>
                  <a:gd name="connsiteY27" fmla="*/ 2768705 h 3094134"/>
                  <a:gd name="connsiteX28" fmla="*/ 1126804 w 1126866"/>
                  <a:gd name="connsiteY28" fmla="*/ 3012715 h 3094134"/>
                  <a:gd name="connsiteX29" fmla="*/ 1126804 w 1126866"/>
                  <a:gd name="connsiteY29" fmla="*/ 2768705 h 3094134"/>
                  <a:gd name="connsiteX0" fmla="*/ 1126866 w 1126866"/>
                  <a:gd name="connsiteY0" fmla="*/ 0 h 3094134"/>
                  <a:gd name="connsiteX1" fmla="*/ 1126866 w 1126866"/>
                  <a:gd name="connsiteY1" fmla="*/ 241769 h 3094134"/>
                  <a:gd name="connsiteX2" fmla="*/ 62 w 1126866"/>
                  <a:gd name="connsiteY2" fmla="*/ 892380 h 3094134"/>
                  <a:gd name="connsiteX3" fmla="*/ 62 w 1126866"/>
                  <a:gd name="connsiteY3" fmla="*/ 650610 h 3094134"/>
                  <a:gd name="connsiteX4" fmla="*/ 1126866 w 1126866"/>
                  <a:gd name="connsiteY4" fmla="*/ 0 h 3094134"/>
                  <a:gd name="connsiteX5" fmla="*/ 0 w 1126866"/>
                  <a:gd name="connsiteY5" fmla="*/ 1463873 h 3094134"/>
                  <a:gd name="connsiteX6" fmla="*/ 1126804 w 1126866"/>
                  <a:gd name="connsiteY6" fmla="*/ 813263 h 3094134"/>
                  <a:gd name="connsiteX7" fmla="*/ 1126804 w 1126866"/>
                  <a:gd name="connsiteY7" fmla="*/ 569253 h 3094134"/>
                  <a:gd name="connsiteX8" fmla="*/ 0 w 1126866"/>
                  <a:gd name="connsiteY8" fmla="*/ 1219864 h 3094134"/>
                  <a:gd name="connsiteX9" fmla="*/ 0 w 1126866"/>
                  <a:gd name="connsiteY9" fmla="*/ 1463811 h 3094134"/>
                  <a:gd name="connsiteX10" fmla="*/ 0 w 1126866"/>
                  <a:gd name="connsiteY10" fmla="*/ 1463873 h 3094134"/>
                  <a:gd name="connsiteX11" fmla="*/ 0 w 1126866"/>
                  <a:gd name="connsiteY11" fmla="*/ 2033189 h 3094134"/>
                  <a:gd name="connsiteX12" fmla="*/ 1126804 w 1126866"/>
                  <a:gd name="connsiteY12" fmla="*/ 1382578 h 3094134"/>
                  <a:gd name="connsiteX13" fmla="*/ 1126804 w 1126866"/>
                  <a:gd name="connsiteY13" fmla="*/ 1138568 h 3094134"/>
                  <a:gd name="connsiteX14" fmla="*/ 0 w 1126866"/>
                  <a:gd name="connsiteY14" fmla="*/ 1789179 h 3094134"/>
                  <a:gd name="connsiteX15" fmla="*/ 0 w 1126866"/>
                  <a:gd name="connsiteY15" fmla="*/ 2033126 h 3094134"/>
                  <a:gd name="connsiteX16" fmla="*/ 0 w 1126866"/>
                  <a:gd name="connsiteY16" fmla="*/ 2033189 h 3094134"/>
                  <a:gd name="connsiteX17" fmla="*/ 0 w 1126866"/>
                  <a:gd name="connsiteY17" fmla="*/ 2524757 h 3094134"/>
                  <a:gd name="connsiteX18" fmla="*/ 1126804 w 1126866"/>
                  <a:gd name="connsiteY18" fmla="*/ 1874147 h 3094134"/>
                  <a:gd name="connsiteX19" fmla="*/ 1126804 w 1126866"/>
                  <a:gd name="connsiteY19" fmla="*/ 1630137 h 3094134"/>
                  <a:gd name="connsiteX20" fmla="*/ 0 w 1126866"/>
                  <a:gd name="connsiteY20" fmla="*/ 2280747 h 3094134"/>
                  <a:gd name="connsiteX21" fmla="*/ 0 w 1126866"/>
                  <a:gd name="connsiteY21" fmla="*/ 2524757 h 3094134"/>
                  <a:gd name="connsiteX22" fmla="*/ 0 w 1126866"/>
                  <a:gd name="connsiteY22" fmla="*/ 3094134 h 3094134"/>
                  <a:gd name="connsiteX23" fmla="*/ 1126306 w 1126866"/>
                  <a:gd name="connsiteY23" fmla="*/ 2443337 h 3094134"/>
                  <a:gd name="connsiteX24" fmla="*/ 1126804 w 1126866"/>
                  <a:gd name="connsiteY24" fmla="*/ 2199514 h 3094134"/>
                  <a:gd name="connsiteX25" fmla="*/ 0 w 1126866"/>
                  <a:gd name="connsiteY25" fmla="*/ 3094134 h 3094134"/>
                  <a:gd name="connsiteX26" fmla="*/ 1126804 w 1126866"/>
                  <a:gd name="connsiteY26" fmla="*/ 2768705 h 3094134"/>
                  <a:gd name="connsiteX27" fmla="*/ 1126804 w 1126866"/>
                  <a:gd name="connsiteY27" fmla="*/ 3012715 h 3094134"/>
                  <a:gd name="connsiteX28" fmla="*/ 1126804 w 1126866"/>
                  <a:gd name="connsiteY28" fmla="*/ 2768705 h 3094134"/>
                  <a:gd name="connsiteX0" fmla="*/ 1126866 w 1126866"/>
                  <a:gd name="connsiteY0" fmla="*/ 0 h 3012714"/>
                  <a:gd name="connsiteX1" fmla="*/ 1126866 w 1126866"/>
                  <a:gd name="connsiteY1" fmla="*/ 241769 h 3012714"/>
                  <a:gd name="connsiteX2" fmla="*/ 62 w 1126866"/>
                  <a:gd name="connsiteY2" fmla="*/ 892380 h 3012714"/>
                  <a:gd name="connsiteX3" fmla="*/ 62 w 1126866"/>
                  <a:gd name="connsiteY3" fmla="*/ 650610 h 3012714"/>
                  <a:gd name="connsiteX4" fmla="*/ 1126866 w 1126866"/>
                  <a:gd name="connsiteY4" fmla="*/ 0 h 3012714"/>
                  <a:gd name="connsiteX5" fmla="*/ 0 w 1126866"/>
                  <a:gd name="connsiteY5" fmla="*/ 1463873 h 3012714"/>
                  <a:gd name="connsiteX6" fmla="*/ 1126804 w 1126866"/>
                  <a:gd name="connsiteY6" fmla="*/ 813263 h 3012714"/>
                  <a:gd name="connsiteX7" fmla="*/ 1126804 w 1126866"/>
                  <a:gd name="connsiteY7" fmla="*/ 569253 h 3012714"/>
                  <a:gd name="connsiteX8" fmla="*/ 0 w 1126866"/>
                  <a:gd name="connsiteY8" fmla="*/ 1219864 h 3012714"/>
                  <a:gd name="connsiteX9" fmla="*/ 0 w 1126866"/>
                  <a:gd name="connsiteY9" fmla="*/ 1463811 h 3012714"/>
                  <a:gd name="connsiteX10" fmla="*/ 0 w 1126866"/>
                  <a:gd name="connsiteY10" fmla="*/ 1463873 h 3012714"/>
                  <a:gd name="connsiteX11" fmla="*/ 0 w 1126866"/>
                  <a:gd name="connsiteY11" fmla="*/ 2033189 h 3012714"/>
                  <a:gd name="connsiteX12" fmla="*/ 1126804 w 1126866"/>
                  <a:gd name="connsiteY12" fmla="*/ 1382578 h 3012714"/>
                  <a:gd name="connsiteX13" fmla="*/ 1126804 w 1126866"/>
                  <a:gd name="connsiteY13" fmla="*/ 1138568 h 3012714"/>
                  <a:gd name="connsiteX14" fmla="*/ 0 w 1126866"/>
                  <a:gd name="connsiteY14" fmla="*/ 1789179 h 3012714"/>
                  <a:gd name="connsiteX15" fmla="*/ 0 w 1126866"/>
                  <a:gd name="connsiteY15" fmla="*/ 2033126 h 3012714"/>
                  <a:gd name="connsiteX16" fmla="*/ 0 w 1126866"/>
                  <a:gd name="connsiteY16" fmla="*/ 2033189 h 3012714"/>
                  <a:gd name="connsiteX17" fmla="*/ 0 w 1126866"/>
                  <a:gd name="connsiteY17" fmla="*/ 2524757 h 3012714"/>
                  <a:gd name="connsiteX18" fmla="*/ 1126804 w 1126866"/>
                  <a:gd name="connsiteY18" fmla="*/ 1874147 h 3012714"/>
                  <a:gd name="connsiteX19" fmla="*/ 1126804 w 1126866"/>
                  <a:gd name="connsiteY19" fmla="*/ 1630137 h 3012714"/>
                  <a:gd name="connsiteX20" fmla="*/ 0 w 1126866"/>
                  <a:gd name="connsiteY20" fmla="*/ 2280747 h 3012714"/>
                  <a:gd name="connsiteX21" fmla="*/ 0 w 1126866"/>
                  <a:gd name="connsiteY21" fmla="*/ 2524757 h 3012714"/>
                  <a:gd name="connsiteX22" fmla="*/ 1126804 w 1126866"/>
                  <a:gd name="connsiteY22" fmla="*/ 2199514 h 3012714"/>
                  <a:gd name="connsiteX23" fmla="*/ 1126306 w 1126866"/>
                  <a:gd name="connsiteY23" fmla="*/ 2443337 h 3012714"/>
                  <a:gd name="connsiteX24" fmla="*/ 1126804 w 1126866"/>
                  <a:gd name="connsiteY24" fmla="*/ 2199514 h 3012714"/>
                  <a:gd name="connsiteX25" fmla="*/ 1126804 w 1126866"/>
                  <a:gd name="connsiteY25" fmla="*/ 2768705 h 3012714"/>
                  <a:gd name="connsiteX26" fmla="*/ 1126804 w 1126866"/>
                  <a:gd name="connsiteY26" fmla="*/ 3012715 h 3012714"/>
                  <a:gd name="connsiteX27" fmla="*/ 1126804 w 1126866"/>
                  <a:gd name="connsiteY27" fmla="*/ 2768705 h 3012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26866" h="3012714">
                    <a:moveTo>
                      <a:pt x="1126866" y="0"/>
                    </a:moveTo>
                    <a:lnTo>
                      <a:pt x="1126866" y="241769"/>
                    </a:lnTo>
                    <a:lnTo>
                      <a:pt x="62" y="892380"/>
                    </a:lnTo>
                    <a:lnTo>
                      <a:pt x="62" y="650610"/>
                    </a:lnTo>
                    <a:lnTo>
                      <a:pt x="1126866" y="0"/>
                    </a:lnTo>
                    <a:close/>
                    <a:moveTo>
                      <a:pt x="0" y="1463873"/>
                    </a:moveTo>
                    <a:lnTo>
                      <a:pt x="1126804" y="813263"/>
                    </a:lnTo>
                    <a:lnTo>
                      <a:pt x="1126804" y="569253"/>
                    </a:lnTo>
                    <a:lnTo>
                      <a:pt x="0" y="1219864"/>
                    </a:lnTo>
                    <a:lnTo>
                      <a:pt x="0" y="1463811"/>
                    </a:lnTo>
                    <a:lnTo>
                      <a:pt x="0" y="1463873"/>
                    </a:lnTo>
                    <a:close/>
                    <a:moveTo>
                      <a:pt x="0" y="2033189"/>
                    </a:moveTo>
                    <a:lnTo>
                      <a:pt x="1126804" y="1382578"/>
                    </a:lnTo>
                    <a:lnTo>
                      <a:pt x="1126804" y="1138568"/>
                    </a:lnTo>
                    <a:lnTo>
                      <a:pt x="0" y="1789179"/>
                    </a:lnTo>
                    <a:lnTo>
                      <a:pt x="0" y="2033126"/>
                    </a:lnTo>
                    <a:lnTo>
                      <a:pt x="0" y="2033189"/>
                    </a:lnTo>
                    <a:close/>
                    <a:moveTo>
                      <a:pt x="0" y="2524757"/>
                    </a:moveTo>
                    <a:lnTo>
                      <a:pt x="1126804" y="1874147"/>
                    </a:lnTo>
                    <a:lnTo>
                      <a:pt x="1126804" y="1630137"/>
                    </a:lnTo>
                    <a:lnTo>
                      <a:pt x="0" y="2280747"/>
                    </a:lnTo>
                    <a:lnTo>
                      <a:pt x="0" y="2524757"/>
                    </a:lnTo>
                    <a:close/>
                    <a:moveTo>
                      <a:pt x="1126804" y="2199514"/>
                    </a:moveTo>
                    <a:lnTo>
                      <a:pt x="1126306" y="2443337"/>
                    </a:lnTo>
                    <a:lnTo>
                      <a:pt x="1126804" y="2199514"/>
                    </a:lnTo>
                    <a:close/>
                    <a:moveTo>
                      <a:pt x="1126804" y="2768705"/>
                    </a:moveTo>
                    <a:lnTo>
                      <a:pt x="1126804" y="3012715"/>
                    </a:lnTo>
                    <a:lnTo>
                      <a:pt x="1126804" y="2768705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4" name="Freihandform: Form 4483">
                <a:extLst>
                  <a:ext uri="{FF2B5EF4-FFF2-40B4-BE49-F238E27FC236}">
                    <a16:creationId xmlns:a16="http://schemas.microsoft.com/office/drawing/2014/main" id="{8C70D5D4-9187-F7FB-A97F-9AFC4E165A94}"/>
                  </a:ext>
                </a:extLst>
              </p:cNvPr>
              <p:cNvSpPr/>
              <p:nvPr/>
            </p:nvSpPr>
            <p:spPr>
              <a:xfrm>
                <a:off x="9442237" y="3644161"/>
                <a:ext cx="227475" cy="738708"/>
              </a:xfrm>
              <a:custGeom>
                <a:avLst/>
                <a:gdLst>
                  <a:gd name="connsiteX0" fmla="*/ 1127053 w 1127052"/>
                  <a:gd name="connsiteY0" fmla="*/ 650548 h 3659590"/>
                  <a:gd name="connsiteX1" fmla="*/ 1127053 w 1127052"/>
                  <a:gd name="connsiteY1" fmla="*/ 894558 h 3659590"/>
                  <a:gd name="connsiteX2" fmla="*/ 249 w 1127052"/>
                  <a:gd name="connsiteY2" fmla="*/ 243948 h 3659590"/>
                  <a:gd name="connsiteX3" fmla="*/ 249 w 1127052"/>
                  <a:gd name="connsiteY3" fmla="*/ 0 h 3659590"/>
                  <a:gd name="connsiteX4" fmla="*/ 1127053 w 1127052"/>
                  <a:gd name="connsiteY4" fmla="*/ 650610 h 3659590"/>
                  <a:gd name="connsiteX5" fmla="*/ 1127053 w 1127052"/>
                  <a:gd name="connsiteY5" fmla="*/ 1219864 h 3659590"/>
                  <a:gd name="connsiteX6" fmla="*/ 249 w 1127052"/>
                  <a:gd name="connsiteY6" fmla="*/ 569253 h 3659590"/>
                  <a:gd name="connsiteX7" fmla="*/ 249 w 1127052"/>
                  <a:gd name="connsiteY7" fmla="*/ 813263 h 3659590"/>
                  <a:gd name="connsiteX8" fmla="*/ 1127053 w 1127052"/>
                  <a:gd name="connsiteY8" fmla="*/ 1463873 h 3659590"/>
                  <a:gd name="connsiteX9" fmla="*/ 1127053 w 1127052"/>
                  <a:gd name="connsiteY9" fmla="*/ 1219926 h 3659590"/>
                  <a:gd name="connsiteX10" fmla="*/ 1127053 w 1127052"/>
                  <a:gd name="connsiteY10" fmla="*/ 1789116 h 3659590"/>
                  <a:gd name="connsiteX11" fmla="*/ 373 w 1127052"/>
                  <a:gd name="connsiteY11" fmla="*/ 1138630 h 3659590"/>
                  <a:gd name="connsiteX12" fmla="*/ 249 w 1127052"/>
                  <a:gd name="connsiteY12" fmla="*/ 1380088 h 3659590"/>
                  <a:gd name="connsiteX13" fmla="*/ 1127053 w 1127052"/>
                  <a:gd name="connsiteY13" fmla="*/ 2033127 h 3659590"/>
                  <a:gd name="connsiteX14" fmla="*/ 1127053 w 1127052"/>
                  <a:gd name="connsiteY14" fmla="*/ 1789179 h 3659590"/>
                  <a:gd name="connsiteX15" fmla="*/ 1127053 w 1127052"/>
                  <a:gd name="connsiteY15" fmla="*/ 2277074 h 3659590"/>
                  <a:gd name="connsiteX16" fmla="*/ 249 w 1127052"/>
                  <a:gd name="connsiteY16" fmla="*/ 1626464 h 3659590"/>
                  <a:gd name="connsiteX17" fmla="*/ 124 w 1127052"/>
                  <a:gd name="connsiteY17" fmla="*/ 1870536 h 3659590"/>
                  <a:gd name="connsiteX18" fmla="*/ 1127053 w 1127052"/>
                  <a:gd name="connsiteY18" fmla="*/ 2521085 h 3659590"/>
                  <a:gd name="connsiteX19" fmla="*/ 1127053 w 1127052"/>
                  <a:gd name="connsiteY19" fmla="*/ 2277074 h 3659590"/>
                  <a:gd name="connsiteX20" fmla="*/ 1126617 w 1127052"/>
                  <a:gd name="connsiteY20" fmla="*/ 2846390 h 3659590"/>
                  <a:gd name="connsiteX21" fmla="*/ 0 w 1127052"/>
                  <a:gd name="connsiteY21" fmla="*/ 2198269 h 3659590"/>
                  <a:gd name="connsiteX22" fmla="*/ 249 w 1127052"/>
                  <a:gd name="connsiteY22" fmla="*/ 2439478 h 3659590"/>
                  <a:gd name="connsiteX23" fmla="*/ 1126617 w 1127052"/>
                  <a:gd name="connsiteY23" fmla="*/ 3090400 h 3659590"/>
                  <a:gd name="connsiteX24" fmla="*/ 1126617 w 1127052"/>
                  <a:gd name="connsiteY24" fmla="*/ 2846390 h 3659590"/>
                  <a:gd name="connsiteX25" fmla="*/ 1127053 w 1127052"/>
                  <a:gd name="connsiteY25" fmla="*/ 3415643 h 3659590"/>
                  <a:gd name="connsiteX26" fmla="*/ 249 w 1127052"/>
                  <a:gd name="connsiteY26" fmla="*/ 2765032 h 3659590"/>
                  <a:gd name="connsiteX27" fmla="*/ 249 w 1127052"/>
                  <a:gd name="connsiteY27" fmla="*/ 3008980 h 3659590"/>
                  <a:gd name="connsiteX28" fmla="*/ 1127053 w 1127052"/>
                  <a:gd name="connsiteY28" fmla="*/ 3659590 h 3659590"/>
                  <a:gd name="connsiteX29" fmla="*/ 1127053 w 1127052"/>
                  <a:gd name="connsiteY29" fmla="*/ 3415581 h 3659590"/>
                  <a:gd name="connsiteX0" fmla="*/ 1127053 w 1127052"/>
                  <a:gd name="connsiteY0" fmla="*/ 650548 h 3659590"/>
                  <a:gd name="connsiteX1" fmla="*/ 1127053 w 1127052"/>
                  <a:gd name="connsiteY1" fmla="*/ 894558 h 3659590"/>
                  <a:gd name="connsiteX2" fmla="*/ 249 w 1127052"/>
                  <a:gd name="connsiteY2" fmla="*/ 243948 h 3659590"/>
                  <a:gd name="connsiteX3" fmla="*/ 249 w 1127052"/>
                  <a:gd name="connsiteY3" fmla="*/ 0 h 3659590"/>
                  <a:gd name="connsiteX4" fmla="*/ 1127053 w 1127052"/>
                  <a:gd name="connsiteY4" fmla="*/ 650610 h 3659590"/>
                  <a:gd name="connsiteX5" fmla="*/ 1127053 w 1127052"/>
                  <a:gd name="connsiteY5" fmla="*/ 650548 h 3659590"/>
                  <a:gd name="connsiteX6" fmla="*/ 1127053 w 1127052"/>
                  <a:gd name="connsiteY6" fmla="*/ 1219864 h 3659590"/>
                  <a:gd name="connsiteX7" fmla="*/ 249 w 1127052"/>
                  <a:gd name="connsiteY7" fmla="*/ 569253 h 3659590"/>
                  <a:gd name="connsiteX8" fmla="*/ 249 w 1127052"/>
                  <a:gd name="connsiteY8" fmla="*/ 813263 h 3659590"/>
                  <a:gd name="connsiteX9" fmla="*/ 1127053 w 1127052"/>
                  <a:gd name="connsiteY9" fmla="*/ 1463873 h 3659590"/>
                  <a:gd name="connsiteX10" fmla="*/ 1127053 w 1127052"/>
                  <a:gd name="connsiteY10" fmla="*/ 1219926 h 3659590"/>
                  <a:gd name="connsiteX11" fmla="*/ 1127053 w 1127052"/>
                  <a:gd name="connsiteY11" fmla="*/ 1219864 h 3659590"/>
                  <a:gd name="connsiteX12" fmla="*/ 1127053 w 1127052"/>
                  <a:gd name="connsiteY12" fmla="*/ 1789116 h 3659590"/>
                  <a:gd name="connsiteX13" fmla="*/ 373 w 1127052"/>
                  <a:gd name="connsiteY13" fmla="*/ 1138630 h 3659590"/>
                  <a:gd name="connsiteX14" fmla="*/ 249 w 1127052"/>
                  <a:gd name="connsiteY14" fmla="*/ 1380088 h 3659590"/>
                  <a:gd name="connsiteX15" fmla="*/ 1127053 w 1127052"/>
                  <a:gd name="connsiteY15" fmla="*/ 2033127 h 3659590"/>
                  <a:gd name="connsiteX16" fmla="*/ 1127053 w 1127052"/>
                  <a:gd name="connsiteY16" fmla="*/ 1789179 h 3659590"/>
                  <a:gd name="connsiteX17" fmla="*/ 1127053 w 1127052"/>
                  <a:gd name="connsiteY17" fmla="*/ 1789116 h 3659590"/>
                  <a:gd name="connsiteX18" fmla="*/ 1127053 w 1127052"/>
                  <a:gd name="connsiteY18" fmla="*/ 2277074 h 3659590"/>
                  <a:gd name="connsiteX19" fmla="*/ 249 w 1127052"/>
                  <a:gd name="connsiteY19" fmla="*/ 1626464 h 3659590"/>
                  <a:gd name="connsiteX20" fmla="*/ 124 w 1127052"/>
                  <a:gd name="connsiteY20" fmla="*/ 1870536 h 3659590"/>
                  <a:gd name="connsiteX21" fmla="*/ 1127053 w 1127052"/>
                  <a:gd name="connsiteY21" fmla="*/ 2521085 h 3659590"/>
                  <a:gd name="connsiteX22" fmla="*/ 1127053 w 1127052"/>
                  <a:gd name="connsiteY22" fmla="*/ 2277074 h 3659590"/>
                  <a:gd name="connsiteX23" fmla="*/ 1126617 w 1127052"/>
                  <a:gd name="connsiteY23" fmla="*/ 2846390 h 3659590"/>
                  <a:gd name="connsiteX24" fmla="*/ 0 w 1127052"/>
                  <a:gd name="connsiteY24" fmla="*/ 2198269 h 3659590"/>
                  <a:gd name="connsiteX25" fmla="*/ 249 w 1127052"/>
                  <a:gd name="connsiteY25" fmla="*/ 2439478 h 3659590"/>
                  <a:gd name="connsiteX26" fmla="*/ 1126617 w 1127052"/>
                  <a:gd name="connsiteY26" fmla="*/ 3090400 h 3659590"/>
                  <a:gd name="connsiteX27" fmla="*/ 1126617 w 1127052"/>
                  <a:gd name="connsiteY27" fmla="*/ 2846390 h 3659590"/>
                  <a:gd name="connsiteX28" fmla="*/ 1127053 w 1127052"/>
                  <a:gd name="connsiteY28" fmla="*/ 3415643 h 3659590"/>
                  <a:gd name="connsiteX29" fmla="*/ 249 w 1127052"/>
                  <a:gd name="connsiteY29" fmla="*/ 3008980 h 3659590"/>
                  <a:gd name="connsiteX30" fmla="*/ 1127053 w 1127052"/>
                  <a:gd name="connsiteY30" fmla="*/ 3659590 h 3659590"/>
                  <a:gd name="connsiteX31" fmla="*/ 1127053 w 1127052"/>
                  <a:gd name="connsiteY31" fmla="*/ 3415581 h 3659590"/>
                  <a:gd name="connsiteX32" fmla="*/ 1127053 w 1127052"/>
                  <a:gd name="connsiteY32" fmla="*/ 3415643 h 3659590"/>
                  <a:gd name="connsiteX0" fmla="*/ 1127053 w 1127052"/>
                  <a:gd name="connsiteY0" fmla="*/ 650548 h 3659590"/>
                  <a:gd name="connsiteX1" fmla="*/ 1127053 w 1127052"/>
                  <a:gd name="connsiteY1" fmla="*/ 894558 h 3659590"/>
                  <a:gd name="connsiteX2" fmla="*/ 249 w 1127052"/>
                  <a:gd name="connsiteY2" fmla="*/ 243948 h 3659590"/>
                  <a:gd name="connsiteX3" fmla="*/ 249 w 1127052"/>
                  <a:gd name="connsiteY3" fmla="*/ 0 h 3659590"/>
                  <a:gd name="connsiteX4" fmla="*/ 1127053 w 1127052"/>
                  <a:gd name="connsiteY4" fmla="*/ 650610 h 3659590"/>
                  <a:gd name="connsiteX5" fmla="*/ 1127053 w 1127052"/>
                  <a:gd name="connsiteY5" fmla="*/ 650548 h 3659590"/>
                  <a:gd name="connsiteX6" fmla="*/ 1127053 w 1127052"/>
                  <a:gd name="connsiteY6" fmla="*/ 1219864 h 3659590"/>
                  <a:gd name="connsiteX7" fmla="*/ 249 w 1127052"/>
                  <a:gd name="connsiteY7" fmla="*/ 569253 h 3659590"/>
                  <a:gd name="connsiteX8" fmla="*/ 249 w 1127052"/>
                  <a:gd name="connsiteY8" fmla="*/ 813263 h 3659590"/>
                  <a:gd name="connsiteX9" fmla="*/ 1127053 w 1127052"/>
                  <a:gd name="connsiteY9" fmla="*/ 1463873 h 3659590"/>
                  <a:gd name="connsiteX10" fmla="*/ 1127053 w 1127052"/>
                  <a:gd name="connsiteY10" fmla="*/ 1219926 h 3659590"/>
                  <a:gd name="connsiteX11" fmla="*/ 1127053 w 1127052"/>
                  <a:gd name="connsiteY11" fmla="*/ 1219864 h 3659590"/>
                  <a:gd name="connsiteX12" fmla="*/ 1127053 w 1127052"/>
                  <a:gd name="connsiteY12" fmla="*/ 1789116 h 3659590"/>
                  <a:gd name="connsiteX13" fmla="*/ 373 w 1127052"/>
                  <a:gd name="connsiteY13" fmla="*/ 1138630 h 3659590"/>
                  <a:gd name="connsiteX14" fmla="*/ 249 w 1127052"/>
                  <a:gd name="connsiteY14" fmla="*/ 1380088 h 3659590"/>
                  <a:gd name="connsiteX15" fmla="*/ 1127053 w 1127052"/>
                  <a:gd name="connsiteY15" fmla="*/ 2033127 h 3659590"/>
                  <a:gd name="connsiteX16" fmla="*/ 1127053 w 1127052"/>
                  <a:gd name="connsiteY16" fmla="*/ 1789179 h 3659590"/>
                  <a:gd name="connsiteX17" fmla="*/ 1127053 w 1127052"/>
                  <a:gd name="connsiteY17" fmla="*/ 1789116 h 3659590"/>
                  <a:gd name="connsiteX18" fmla="*/ 1127053 w 1127052"/>
                  <a:gd name="connsiteY18" fmla="*/ 2277074 h 3659590"/>
                  <a:gd name="connsiteX19" fmla="*/ 249 w 1127052"/>
                  <a:gd name="connsiteY19" fmla="*/ 1626464 h 3659590"/>
                  <a:gd name="connsiteX20" fmla="*/ 124 w 1127052"/>
                  <a:gd name="connsiteY20" fmla="*/ 1870536 h 3659590"/>
                  <a:gd name="connsiteX21" fmla="*/ 1127053 w 1127052"/>
                  <a:gd name="connsiteY21" fmla="*/ 2521085 h 3659590"/>
                  <a:gd name="connsiteX22" fmla="*/ 1127053 w 1127052"/>
                  <a:gd name="connsiteY22" fmla="*/ 2277074 h 3659590"/>
                  <a:gd name="connsiteX23" fmla="*/ 1126617 w 1127052"/>
                  <a:gd name="connsiteY23" fmla="*/ 2846390 h 3659590"/>
                  <a:gd name="connsiteX24" fmla="*/ 0 w 1127052"/>
                  <a:gd name="connsiteY24" fmla="*/ 2198269 h 3659590"/>
                  <a:gd name="connsiteX25" fmla="*/ 249 w 1127052"/>
                  <a:gd name="connsiteY25" fmla="*/ 2439478 h 3659590"/>
                  <a:gd name="connsiteX26" fmla="*/ 1126617 w 1127052"/>
                  <a:gd name="connsiteY26" fmla="*/ 3090400 h 3659590"/>
                  <a:gd name="connsiteX27" fmla="*/ 1126617 w 1127052"/>
                  <a:gd name="connsiteY27" fmla="*/ 2846390 h 3659590"/>
                  <a:gd name="connsiteX28" fmla="*/ 1127053 w 1127052"/>
                  <a:gd name="connsiteY28" fmla="*/ 3415643 h 3659590"/>
                  <a:gd name="connsiteX29" fmla="*/ 1127053 w 1127052"/>
                  <a:gd name="connsiteY29" fmla="*/ 3659590 h 3659590"/>
                  <a:gd name="connsiteX30" fmla="*/ 1127053 w 1127052"/>
                  <a:gd name="connsiteY30" fmla="*/ 3415581 h 3659590"/>
                  <a:gd name="connsiteX31" fmla="*/ 1127053 w 1127052"/>
                  <a:gd name="connsiteY31" fmla="*/ 3415643 h 3659590"/>
                  <a:gd name="connsiteX0" fmla="*/ 1127053 w 1127052"/>
                  <a:gd name="connsiteY0" fmla="*/ 650548 h 3659590"/>
                  <a:gd name="connsiteX1" fmla="*/ 1127053 w 1127052"/>
                  <a:gd name="connsiteY1" fmla="*/ 894558 h 3659590"/>
                  <a:gd name="connsiteX2" fmla="*/ 249 w 1127052"/>
                  <a:gd name="connsiteY2" fmla="*/ 243948 h 3659590"/>
                  <a:gd name="connsiteX3" fmla="*/ 249 w 1127052"/>
                  <a:gd name="connsiteY3" fmla="*/ 0 h 3659590"/>
                  <a:gd name="connsiteX4" fmla="*/ 1127053 w 1127052"/>
                  <a:gd name="connsiteY4" fmla="*/ 650610 h 3659590"/>
                  <a:gd name="connsiteX5" fmla="*/ 1127053 w 1127052"/>
                  <a:gd name="connsiteY5" fmla="*/ 650548 h 3659590"/>
                  <a:gd name="connsiteX6" fmla="*/ 1127053 w 1127052"/>
                  <a:gd name="connsiteY6" fmla="*/ 1219864 h 3659590"/>
                  <a:gd name="connsiteX7" fmla="*/ 249 w 1127052"/>
                  <a:gd name="connsiteY7" fmla="*/ 569253 h 3659590"/>
                  <a:gd name="connsiteX8" fmla="*/ 249 w 1127052"/>
                  <a:gd name="connsiteY8" fmla="*/ 813263 h 3659590"/>
                  <a:gd name="connsiteX9" fmla="*/ 1127053 w 1127052"/>
                  <a:gd name="connsiteY9" fmla="*/ 1463873 h 3659590"/>
                  <a:gd name="connsiteX10" fmla="*/ 1127053 w 1127052"/>
                  <a:gd name="connsiteY10" fmla="*/ 1219926 h 3659590"/>
                  <a:gd name="connsiteX11" fmla="*/ 1127053 w 1127052"/>
                  <a:gd name="connsiteY11" fmla="*/ 1219864 h 3659590"/>
                  <a:gd name="connsiteX12" fmla="*/ 1127053 w 1127052"/>
                  <a:gd name="connsiteY12" fmla="*/ 1789116 h 3659590"/>
                  <a:gd name="connsiteX13" fmla="*/ 373 w 1127052"/>
                  <a:gd name="connsiteY13" fmla="*/ 1138630 h 3659590"/>
                  <a:gd name="connsiteX14" fmla="*/ 249 w 1127052"/>
                  <a:gd name="connsiteY14" fmla="*/ 1380088 h 3659590"/>
                  <a:gd name="connsiteX15" fmla="*/ 1127053 w 1127052"/>
                  <a:gd name="connsiteY15" fmla="*/ 2033127 h 3659590"/>
                  <a:gd name="connsiteX16" fmla="*/ 1127053 w 1127052"/>
                  <a:gd name="connsiteY16" fmla="*/ 1789179 h 3659590"/>
                  <a:gd name="connsiteX17" fmla="*/ 1127053 w 1127052"/>
                  <a:gd name="connsiteY17" fmla="*/ 1789116 h 3659590"/>
                  <a:gd name="connsiteX18" fmla="*/ 1127053 w 1127052"/>
                  <a:gd name="connsiteY18" fmla="*/ 2277074 h 3659590"/>
                  <a:gd name="connsiteX19" fmla="*/ 249 w 1127052"/>
                  <a:gd name="connsiteY19" fmla="*/ 1626464 h 3659590"/>
                  <a:gd name="connsiteX20" fmla="*/ 124 w 1127052"/>
                  <a:gd name="connsiteY20" fmla="*/ 1870536 h 3659590"/>
                  <a:gd name="connsiteX21" fmla="*/ 1127053 w 1127052"/>
                  <a:gd name="connsiteY21" fmla="*/ 2521085 h 3659590"/>
                  <a:gd name="connsiteX22" fmla="*/ 1127053 w 1127052"/>
                  <a:gd name="connsiteY22" fmla="*/ 2277074 h 3659590"/>
                  <a:gd name="connsiteX23" fmla="*/ 1126617 w 1127052"/>
                  <a:gd name="connsiteY23" fmla="*/ 2846390 h 3659590"/>
                  <a:gd name="connsiteX24" fmla="*/ 0 w 1127052"/>
                  <a:gd name="connsiteY24" fmla="*/ 2198269 h 3659590"/>
                  <a:gd name="connsiteX25" fmla="*/ 1126617 w 1127052"/>
                  <a:gd name="connsiteY25" fmla="*/ 3090400 h 3659590"/>
                  <a:gd name="connsiteX26" fmla="*/ 1126617 w 1127052"/>
                  <a:gd name="connsiteY26" fmla="*/ 2846390 h 3659590"/>
                  <a:gd name="connsiteX27" fmla="*/ 1127053 w 1127052"/>
                  <a:gd name="connsiteY27" fmla="*/ 3415643 h 3659590"/>
                  <a:gd name="connsiteX28" fmla="*/ 1127053 w 1127052"/>
                  <a:gd name="connsiteY28" fmla="*/ 3659590 h 3659590"/>
                  <a:gd name="connsiteX29" fmla="*/ 1127053 w 1127052"/>
                  <a:gd name="connsiteY29" fmla="*/ 3415581 h 3659590"/>
                  <a:gd name="connsiteX30" fmla="*/ 1127053 w 1127052"/>
                  <a:gd name="connsiteY30" fmla="*/ 3415643 h 3659590"/>
                  <a:gd name="connsiteX0" fmla="*/ 1126929 w 1126928"/>
                  <a:gd name="connsiteY0" fmla="*/ 650548 h 3659590"/>
                  <a:gd name="connsiteX1" fmla="*/ 1126929 w 1126928"/>
                  <a:gd name="connsiteY1" fmla="*/ 894558 h 3659590"/>
                  <a:gd name="connsiteX2" fmla="*/ 125 w 1126928"/>
                  <a:gd name="connsiteY2" fmla="*/ 243948 h 3659590"/>
                  <a:gd name="connsiteX3" fmla="*/ 125 w 1126928"/>
                  <a:gd name="connsiteY3" fmla="*/ 0 h 3659590"/>
                  <a:gd name="connsiteX4" fmla="*/ 1126929 w 1126928"/>
                  <a:gd name="connsiteY4" fmla="*/ 650610 h 3659590"/>
                  <a:gd name="connsiteX5" fmla="*/ 1126929 w 1126928"/>
                  <a:gd name="connsiteY5" fmla="*/ 650548 h 3659590"/>
                  <a:gd name="connsiteX6" fmla="*/ 1126929 w 1126928"/>
                  <a:gd name="connsiteY6" fmla="*/ 1219864 h 3659590"/>
                  <a:gd name="connsiteX7" fmla="*/ 125 w 1126928"/>
                  <a:gd name="connsiteY7" fmla="*/ 569253 h 3659590"/>
                  <a:gd name="connsiteX8" fmla="*/ 125 w 1126928"/>
                  <a:gd name="connsiteY8" fmla="*/ 813263 h 3659590"/>
                  <a:gd name="connsiteX9" fmla="*/ 1126929 w 1126928"/>
                  <a:gd name="connsiteY9" fmla="*/ 1463873 h 3659590"/>
                  <a:gd name="connsiteX10" fmla="*/ 1126929 w 1126928"/>
                  <a:gd name="connsiteY10" fmla="*/ 1219926 h 3659590"/>
                  <a:gd name="connsiteX11" fmla="*/ 1126929 w 1126928"/>
                  <a:gd name="connsiteY11" fmla="*/ 1219864 h 3659590"/>
                  <a:gd name="connsiteX12" fmla="*/ 1126929 w 1126928"/>
                  <a:gd name="connsiteY12" fmla="*/ 1789116 h 3659590"/>
                  <a:gd name="connsiteX13" fmla="*/ 249 w 1126928"/>
                  <a:gd name="connsiteY13" fmla="*/ 1138630 h 3659590"/>
                  <a:gd name="connsiteX14" fmla="*/ 125 w 1126928"/>
                  <a:gd name="connsiteY14" fmla="*/ 1380088 h 3659590"/>
                  <a:gd name="connsiteX15" fmla="*/ 1126929 w 1126928"/>
                  <a:gd name="connsiteY15" fmla="*/ 2033127 h 3659590"/>
                  <a:gd name="connsiteX16" fmla="*/ 1126929 w 1126928"/>
                  <a:gd name="connsiteY16" fmla="*/ 1789179 h 3659590"/>
                  <a:gd name="connsiteX17" fmla="*/ 1126929 w 1126928"/>
                  <a:gd name="connsiteY17" fmla="*/ 1789116 h 3659590"/>
                  <a:gd name="connsiteX18" fmla="*/ 1126929 w 1126928"/>
                  <a:gd name="connsiteY18" fmla="*/ 2277074 h 3659590"/>
                  <a:gd name="connsiteX19" fmla="*/ 125 w 1126928"/>
                  <a:gd name="connsiteY19" fmla="*/ 1626464 h 3659590"/>
                  <a:gd name="connsiteX20" fmla="*/ 0 w 1126928"/>
                  <a:gd name="connsiteY20" fmla="*/ 1870536 h 3659590"/>
                  <a:gd name="connsiteX21" fmla="*/ 1126929 w 1126928"/>
                  <a:gd name="connsiteY21" fmla="*/ 2521085 h 3659590"/>
                  <a:gd name="connsiteX22" fmla="*/ 1126929 w 1126928"/>
                  <a:gd name="connsiteY22" fmla="*/ 2277074 h 3659590"/>
                  <a:gd name="connsiteX23" fmla="*/ 1126493 w 1126928"/>
                  <a:gd name="connsiteY23" fmla="*/ 2846390 h 3659590"/>
                  <a:gd name="connsiteX24" fmla="*/ 1126493 w 1126928"/>
                  <a:gd name="connsiteY24" fmla="*/ 3090400 h 3659590"/>
                  <a:gd name="connsiteX25" fmla="*/ 1126493 w 1126928"/>
                  <a:gd name="connsiteY25" fmla="*/ 2846390 h 3659590"/>
                  <a:gd name="connsiteX26" fmla="*/ 1126929 w 1126928"/>
                  <a:gd name="connsiteY26" fmla="*/ 3415643 h 3659590"/>
                  <a:gd name="connsiteX27" fmla="*/ 1126929 w 1126928"/>
                  <a:gd name="connsiteY27" fmla="*/ 3659590 h 3659590"/>
                  <a:gd name="connsiteX28" fmla="*/ 1126929 w 1126928"/>
                  <a:gd name="connsiteY28" fmla="*/ 3415581 h 3659590"/>
                  <a:gd name="connsiteX29" fmla="*/ 1126929 w 1126928"/>
                  <a:gd name="connsiteY29" fmla="*/ 3415643 h 365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126928" h="3659590">
                    <a:moveTo>
                      <a:pt x="1126929" y="650548"/>
                    </a:moveTo>
                    <a:lnTo>
                      <a:pt x="1126929" y="894558"/>
                    </a:lnTo>
                    <a:lnTo>
                      <a:pt x="125" y="243948"/>
                    </a:lnTo>
                    <a:lnTo>
                      <a:pt x="125" y="0"/>
                    </a:lnTo>
                    <a:lnTo>
                      <a:pt x="1126929" y="650610"/>
                    </a:lnTo>
                    <a:lnTo>
                      <a:pt x="1126929" y="650548"/>
                    </a:lnTo>
                    <a:close/>
                    <a:moveTo>
                      <a:pt x="1126929" y="1219864"/>
                    </a:moveTo>
                    <a:lnTo>
                      <a:pt x="125" y="569253"/>
                    </a:lnTo>
                    <a:lnTo>
                      <a:pt x="125" y="813263"/>
                    </a:lnTo>
                    <a:lnTo>
                      <a:pt x="1126929" y="1463873"/>
                    </a:lnTo>
                    <a:lnTo>
                      <a:pt x="1126929" y="1219926"/>
                    </a:lnTo>
                    <a:lnTo>
                      <a:pt x="1126929" y="1219864"/>
                    </a:lnTo>
                    <a:close/>
                    <a:moveTo>
                      <a:pt x="1126929" y="1789116"/>
                    </a:moveTo>
                    <a:lnTo>
                      <a:pt x="249" y="1138630"/>
                    </a:lnTo>
                    <a:cubicBezTo>
                      <a:pt x="208" y="1219116"/>
                      <a:pt x="166" y="1299602"/>
                      <a:pt x="125" y="1380088"/>
                    </a:cubicBezTo>
                    <a:lnTo>
                      <a:pt x="1126929" y="2033127"/>
                    </a:lnTo>
                    <a:lnTo>
                      <a:pt x="1126929" y="1789179"/>
                    </a:lnTo>
                    <a:lnTo>
                      <a:pt x="1126929" y="1789116"/>
                    </a:lnTo>
                    <a:close/>
                    <a:moveTo>
                      <a:pt x="1126929" y="2277074"/>
                    </a:moveTo>
                    <a:lnTo>
                      <a:pt x="125" y="1626464"/>
                    </a:lnTo>
                    <a:cubicBezTo>
                      <a:pt x="83" y="1707821"/>
                      <a:pt x="42" y="1789179"/>
                      <a:pt x="0" y="1870536"/>
                    </a:cubicBezTo>
                    <a:lnTo>
                      <a:pt x="1126929" y="2521085"/>
                    </a:lnTo>
                    <a:lnTo>
                      <a:pt x="1126929" y="2277074"/>
                    </a:lnTo>
                    <a:close/>
                    <a:moveTo>
                      <a:pt x="1126493" y="2846390"/>
                    </a:moveTo>
                    <a:lnTo>
                      <a:pt x="1126493" y="3090400"/>
                    </a:lnTo>
                    <a:lnTo>
                      <a:pt x="1126493" y="2846390"/>
                    </a:lnTo>
                    <a:close/>
                    <a:moveTo>
                      <a:pt x="1126929" y="3415643"/>
                    </a:moveTo>
                    <a:lnTo>
                      <a:pt x="1126929" y="3659590"/>
                    </a:lnTo>
                    <a:lnTo>
                      <a:pt x="1126929" y="3415581"/>
                    </a:lnTo>
                    <a:lnTo>
                      <a:pt x="1126929" y="3415643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5" name="Freihandform: Form 4484">
                <a:extLst>
                  <a:ext uri="{FF2B5EF4-FFF2-40B4-BE49-F238E27FC236}">
                    <a16:creationId xmlns:a16="http://schemas.microsoft.com/office/drawing/2014/main" id="{7134231A-AE32-F76A-422C-C32475BB62CA}"/>
                  </a:ext>
                </a:extLst>
              </p:cNvPr>
              <p:cNvSpPr/>
              <p:nvPr/>
            </p:nvSpPr>
            <p:spPr>
              <a:xfrm>
                <a:off x="9442261" y="3512819"/>
                <a:ext cx="454900" cy="262658"/>
              </a:xfrm>
              <a:custGeom>
                <a:avLst/>
                <a:gdLst>
                  <a:gd name="connsiteX0" fmla="*/ 1126804 w 2253607"/>
                  <a:gd name="connsiteY0" fmla="*/ 0 h 1301220"/>
                  <a:gd name="connsiteX1" fmla="*/ 2253608 w 2253607"/>
                  <a:gd name="connsiteY1" fmla="*/ 650610 h 1301220"/>
                  <a:gd name="connsiteX2" fmla="*/ 1126804 w 2253607"/>
                  <a:gd name="connsiteY2" fmla="*/ 1301221 h 1301220"/>
                  <a:gd name="connsiteX3" fmla="*/ 0 w 2253607"/>
                  <a:gd name="connsiteY3" fmla="*/ 650610 h 1301220"/>
                  <a:gd name="connsiteX4" fmla="*/ 1126804 w 2253607"/>
                  <a:gd name="connsiteY4" fmla="*/ 0 h 130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1220">
                    <a:moveTo>
                      <a:pt x="1126804" y="0"/>
                    </a:moveTo>
                    <a:lnTo>
                      <a:pt x="2253608" y="650610"/>
                    </a:lnTo>
                    <a:lnTo>
                      <a:pt x="1126804" y="1301221"/>
                    </a:lnTo>
                    <a:lnTo>
                      <a:pt x="0" y="650610"/>
                    </a:lnTo>
                    <a:lnTo>
                      <a:pt x="1126804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BEDC">
                      <a:alpha val="0"/>
                    </a:srgbClr>
                  </a:gs>
                  <a:gs pos="50000">
                    <a:srgbClr val="00BEDC">
                      <a:alpha val="49804"/>
                    </a:srgbClr>
                  </a:gs>
                  <a:gs pos="100000">
                    <a:srgbClr val="00BEDC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6" name="Freihandform: Form 4485">
                <a:extLst>
                  <a:ext uri="{FF2B5EF4-FFF2-40B4-BE49-F238E27FC236}">
                    <a16:creationId xmlns:a16="http://schemas.microsoft.com/office/drawing/2014/main" id="{707D35E1-FFFE-9C7B-6B05-892BCA147DC0}"/>
                  </a:ext>
                </a:extLst>
              </p:cNvPr>
              <p:cNvSpPr/>
              <p:nvPr/>
            </p:nvSpPr>
            <p:spPr>
              <a:xfrm>
                <a:off x="9441646" y="3462710"/>
                <a:ext cx="454900" cy="263137"/>
              </a:xfrm>
              <a:custGeom>
                <a:avLst/>
                <a:gdLst>
                  <a:gd name="connsiteX0" fmla="*/ 1126368 w 2253607"/>
                  <a:gd name="connsiteY0" fmla="*/ 0 h 1303586"/>
                  <a:gd name="connsiteX1" fmla="*/ 2253608 w 2253607"/>
                  <a:gd name="connsiteY1" fmla="*/ 642394 h 1303586"/>
                  <a:gd name="connsiteX2" fmla="*/ 1111117 w 2253607"/>
                  <a:gd name="connsiteY2" fmla="*/ 1303586 h 1303586"/>
                  <a:gd name="connsiteX3" fmla="*/ 0 w 2253607"/>
                  <a:gd name="connsiteY3" fmla="*/ 643079 h 1303586"/>
                  <a:gd name="connsiteX4" fmla="*/ 1126368 w 2253607"/>
                  <a:gd name="connsiteY4" fmla="*/ 0 h 1303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3586">
                    <a:moveTo>
                      <a:pt x="1126368" y="0"/>
                    </a:moveTo>
                    <a:lnTo>
                      <a:pt x="2253608" y="642394"/>
                    </a:lnTo>
                    <a:lnTo>
                      <a:pt x="1111117" y="1303586"/>
                    </a:lnTo>
                    <a:lnTo>
                      <a:pt x="0" y="643079"/>
                    </a:lnTo>
                    <a:lnTo>
                      <a:pt x="1126368" y="0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7" name="Freihandform: Form 4486">
                <a:extLst>
                  <a:ext uri="{FF2B5EF4-FFF2-40B4-BE49-F238E27FC236}">
                    <a16:creationId xmlns:a16="http://schemas.microsoft.com/office/drawing/2014/main" id="{E3C2D0F7-A3BF-FB25-66AD-2BC8ECE81CA0}"/>
                  </a:ext>
                </a:extLst>
              </p:cNvPr>
              <p:cNvSpPr/>
              <p:nvPr/>
            </p:nvSpPr>
            <p:spPr>
              <a:xfrm>
                <a:off x="9443769" y="3462710"/>
                <a:ext cx="454699" cy="263550"/>
              </a:xfrm>
              <a:custGeom>
                <a:avLst/>
                <a:gdLst>
                  <a:gd name="connsiteX0" fmla="*/ 1116035 w 2252611"/>
                  <a:gd name="connsiteY0" fmla="*/ 0 h 1305640"/>
                  <a:gd name="connsiteX1" fmla="*/ 2252612 w 2252611"/>
                  <a:gd name="connsiteY1" fmla="*/ 644448 h 1305640"/>
                  <a:gd name="connsiteX2" fmla="*/ 1116035 w 2252611"/>
                  <a:gd name="connsiteY2" fmla="*/ 1305641 h 1305640"/>
                  <a:gd name="connsiteX3" fmla="*/ 0 w 2252611"/>
                  <a:gd name="connsiteY3" fmla="*/ 645133 h 1305640"/>
                  <a:gd name="connsiteX4" fmla="*/ 1116035 w 2252611"/>
                  <a:gd name="connsiteY4" fmla="*/ 0 h 1305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2611" h="1305640">
                    <a:moveTo>
                      <a:pt x="1116035" y="0"/>
                    </a:moveTo>
                    <a:lnTo>
                      <a:pt x="2252612" y="644448"/>
                    </a:lnTo>
                    <a:lnTo>
                      <a:pt x="1116035" y="1305641"/>
                    </a:lnTo>
                    <a:lnTo>
                      <a:pt x="0" y="645133"/>
                    </a:lnTo>
                    <a:lnTo>
                      <a:pt x="1116035" y="0"/>
                    </a:lnTo>
                    <a:close/>
                  </a:path>
                </a:pathLst>
              </a:custGeom>
              <a:gradFill>
                <a:gsLst>
                  <a:gs pos="1000">
                    <a:srgbClr val="00C1B6">
                      <a:alpha val="0"/>
                    </a:srgbClr>
                  </a:gs>
                  <a:gs pos="12000">
                    <a:srgbClr val="00C1B6">
                      <a:alpha val="10980"/>
                    </a:srgbClr>
                  </a:gs>
                  <a:gs pos="100000">
                    <a:srgbClr val="00C1B6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8" name="Freihandform: Form 4487">
                <a:extLst>
                  <a:ext uri="{FF2B5EF4-FFF2-40B4-BE49-F238E27FC236}">
                    <a16:creationId xmlns:a16="http://schemas.microsoft.com/office/drawing/2014/main" id="{C57BF479-27B3-80F4-3D13-4D8C97DCC4B8}"/>
                  </a:ext>
                </a:extLst>
              </p:cNvPr>
              <p:cNvSpPr/>
              <p:nvPr/>
            </p:nvSpPr>
            <p:spPr>
              <a:xfrm>
                <a:off x="9498829" y="3496322"/>
                <a:ext cx="341364" cy="195913"/>
              </a:xfrm>
              <a:custGeom>
                <a:avLst/>
                <a:gdLst>
                  <a:gd name="connsiteX0" fmla="*/ 0 w 1691139"/>
                  <a:gd name="connsiteY0" fmla="*/ 485281 h 970562"/>
                  <a:gd name="connsiteX1" fmla="*/ 846192 w 1691139"/>
                  <a:gd name="connsiteY1" fmla="*/ 0 h 970562"/>
                  <a:gd name="connsiteX2" fmla="*/ 1691140 w 1691139"/>
                  <a:gd name="connsiteY2" fmla="*/ 483476 h 970562"/>
                  <a:gd name="connsiteX3" fmla="*/ 846192 w 1691139"/>
                  <a:gd name="connsiteY3" fmla="*/ 970562 h 970562"/>
                  <a:gd name="connsiteX4" fmla="*/ 0 w 1691139"/>
                  <a:gd name="connsiteY4" fmla="*/ 485281 h 970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1139" h="970562">
                    <a:moveTo>
                      <a:pt x="0" y="485281"/>
                    </a:moveTo>
                    <a:lnTo>
                      <a:pt x="846192" y="0"/>
                    </a:lnTo>
                    <a:lnTo>
                      <a:pt x="1691140" y="483476"/>
                    </a:lnTo>
                    <a:lnTo>
                      <a:pt x="846192" y="970562"/>
                    </a:lnTo>
                    <a:lnTo>
                      <a:pt x="0" y="485281"/>
                    </a:lnTo>
                    <a:close/>
                  </a:path>
                </a:pathLst>
              </a:custGeom>
              <a:gradFill>
                <a:gsLst>
                  <a:gs pos="12000">
                    <a:srgbClr val="805CFF"/>
                  </a:gs>
                  <a:gs pos="19000">
                    <a:srgbClr val="694BD8">
                      <a:alpha val="81961"/>
                    </a:srgbClr>
                  </a:gs>
                  <a:gs pos="27000">
                    <a:srgbClr val="5039AF">
                      <a:alpha val="62745"/>
                    </a:srgbClr>
                  </a:gs>
                  <a:gs pos="35000">
                    <a:srgbClr val="3A2A8B">
                      <a:alpha val="45882"/>
                    </a:srgbClr>
                  </a:gs>
                  <a:gs pos="44000">
                    <a:srgbClr val="281D6C">
                      <a:alpha val="31765"/>
                    </a:srgbClr>
                  </a:gs>
                  <a:gs pos="53000">
                    <a:srgbClr val="191253">
                      <a:alpha val="20000"/>
                    </a:srgbClr>
                  </a:gs>
                  <a:gs pos="63000">
                    <a:srgbClr val="0E0A40">
                      <a:alpha val="10980"/>
                    </a:srgbClr>
                  </a:gs>
                  <a:gs pos="73000">
                    <a:srgbClr val="060432">
                      <a:alpha val="4706"/>
                    </a:srgbClr>
                  </a:gs>
                  <a:gs pos="85000">
                    <a:srgbClr val="01012A">
                      <a:alpha val="784"/>
                    </a:srgbClr>
                  </a:gs>
                  <a:gs pos="100000">
                    <a:srgbClr val="000028">
                      <a:alpha val="0"/>
                    </a:srgbClr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9" name="Freihandform: Form 4488">
                <a:extLst>
                  <a:ext uri="{FF2B5EF4-FFF2-40B4-BE49-F238E27FC236}">
                    <a16:creationId xmlns:a16="http://schemas.microsoft.com/office/drawing/2014/main" id="{094FCAED-C881-EECC-E33E-A1A35AB1F733}"/>
                  </a:ext>
                </a:extLst>
              </p:cNvPr>
              <p:cNvSpPr/>
              <p:nvPr/>
            </p:nvSpPr>
            <p:spPr>
              <a:xfrm>
                <a:off x="9669749" y="3496322"/>
                <a:ext cx="171185" cy="106841"/>
              </a:xfrm>
              <a:custGeom>
                <a:avLst/>
                <a:gdLst>
                  <a:gd name="connsiteX0" fmla="*/ 773363 w 848059"/>
                  <a:gd name="connsiteY0" fmla="*/ 529290 h 529290"/>
                  <a:gd name="connsiteX1" fmla="*/ 436 w 848059"/>
                  <a:gd name="connsiteY1" fmla="*/ 85902 h 529290"/>
                  <a:gd name="connsiteX2" fmla="*/ 0 w 848059"/>
                  <a:gd name="connsiteY2" fmla="*/ 0 h 529290"/>
                  <a:gd name="connsiteX3" fmla="*/ 848060 w 848059"/>
                  <a:gd name="connsiteY3" fmla="*/ 487958 h 529290"/>
                  <a:gd name="connsiteX4" fmla="*/ 773363 w 848059"/>
                  <a:gd name="connsiteY4" fmla="*/ 529290 h 52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059" h="529290">
                    <a:moveTo>
                      <a:pt x="773363" y="529290"/>
                    </a:moveTo>
                    <a:lnTo>
                      <a:pt x="436" y="85902"/>
                    </a:lnTo>
                    <a:lnTo>
                      <a:pt x="0" y="0"/>
                    </a:lnTo>
                    <a:lnTo>
                      <a:pt x="848060" y="487958"/>
                    </a:lnTo>
                    <a:lnTo>
                      <a:pt x="773363" y="529290"/>
                    </a:lnTo>
                    <a:close/>
                  </a:path>
                </a:pathLst>
              </a:custGeom>
              <a:solidFill>
                <a:srgbClr val="009999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0" name="Freihandform: Form 4489">
                <a:extLst>
                  <a:ext uri="{FF2B5EF4-FFF2-40B4-BE49-F238E27FC236}">
                    <a16:creationId xmlns:a16="http://schemas.microsoft.com/office/drawing/2014/main" id="{EDEF939A-9A7D-CBDA-4514-21FF1BBCCE29}"/>
                  </a:ext>
                </a:extLst>
              </p:cNvPr>
              <p:cNvSpPr/>
              <p:nvPr/>
            </p:nvSpPr>
            <p:spPr>
              <a:xfrm>
                <a:off x="9497483" y="3496322"/>
                <a:ext cx="172528" cy="106841"/>
              </a:xfrm>
              <a:custGeom>
                <a:avLst/>
                <a:gdLst>
                  <a:gd name="connsiteX0" fmla="*/ 81357 w 854720"/>
                  <a:gd name="connsiteY0" fmla="*/ 529290 h 529290"/>
                  <a:gd name="connsiteX1" fmla="*/ 854284 w 854720"/>
                  <a:gd name="connsiteY1" fmla="*/ 85902 h 529290"/>
                  <a:gd name="connsiteX2" fmla="*/ 854720 w 854720"/>
                  <a:gd name="connsiteY2" fmla="*/ 0 h 529290"/>
                  <a:gd name="connsiteX3" fmla="*/ 0 w 854720"/>
                  <a:gd name="connsiteY3" fmla="*/ 484285 h 529290"/>
                  <a:gd name="connsiteX4" fmla="*/ 81357 w 854720"/>
                  <a:gd name="connsiteY4" fmla="*/ 529290 h 52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4720" h="529290">
                    <a:moveTo>
                      <a:pt x="81357" y="529290"/>
                    </a:moveTo>
                    <a:lnTo>
                      <a:pt x="854284" y="85902"/>
                    </a:lnTo>
                    <a:lnTo>
                      <a:pt x="854720" y="0"/>
                    </a:lnTo>
                    <a:lnTo>
                      <a:pt x="0" y="484285"/>
                    </a:lnTo>
                    <a:lnTo>
                      <a:pt x="81357" y="529290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2" name="Freihandform: Form 4491">
                <a:extLst>
                  <a:ext uri="{FF2B5EF4-FFF2-40B4-BE49-F238E27FC236}">
                    <a16:creationId xmlns:a16="http://schemas.microsoft.com/office/drawing/2014/main" id="{25971FFE-4080-77A8-7F93-8BA20FA73B65}"/>
                  </a:ext>
                </a:extLst>
              </p:cNvPr>
              <p:cNvSpPr/>
              <p:nvPr/>
            </p:nvSpPr>
            <p:spPr>
              <a:xfrm>
                <a:off x="9543584" y="3637914"/>
                <a:ext cx="353589" cy="391837"/>
              </a:xfrm>
              <a:custGeom>
                <a:avLst/>
                <a:gdLst>
                  <a:gd name="connsiteX0" fmla="*/ 1751706 w 1751706"/>
                  <a:gd name="connsiteY0" fmla="*/ 1291012 h 1941187"/>
                  <a:gd name="connsiteX1" fmla="*/ 683104 w 1751706"/>
                  <a:gd name="connsiteY1" fmla="*/ 1941187 h 1941187"/>
                  <a:gd name="connsiteX2" fmla="*/ 391350 w 1751706"/>
                  <a:gd name="connsiteY2" fmla="*/ 1773804 h 1941187"/>
                  <a:gd name="connsiteX3" fmla="*/ 391350 w 1751706"/>
                  <a:gd name="connsiteY3" fmla="*/ 638348 h 1941187"/>
                  <a:gd name="connsiteX4" fmla="*/ 0 w 1751706"/>
                  <a:gd name="connsiteY4" fmla="*/ 416685 h 1941187"/>
                  <a:gd name="connsiteX5" fmla="*/ 0 w 1751706"/>
                  <a:gd name="connsiteY5" fmla="*/ 72830 h 1941187"/>
                  <a:gd name="connsiteX6" fmla="*/ 149519 w 1751706"/>
                  <a:gd name="connsiteY6" fmla="*/ 0 h 194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1706" h="1941187">
                    <a:moveTo>
                      <a:pt x="1751706" y="1291012"/>
                    </a:moveTo>
                    <a:lnTo>
                      <a:pt x="683104" y="1941187"/>
                    </a:lnTo>
                    <a:lnTo>
                      <a:pt x="391350" y="1773804"/>
                    </a:lnTo>
                    <a:lnTo>
                      <a:pt x="391350" y="638348"/>
                    </a:lnTo>
                    <a:lnTo>
                      <a:pt x="0" y="416685"/>
                    </a:lnTo>
                    <a:lnTo>
                      <a:pt x="0" y="72830"/>
                    </a:lnTo>
                    <a:lnTo>
                      <a:pt x="149519" y="0"/>
                    </a:lnTo>
                  </a:path>
                </a:pathLst>
              </a:custGeom>
              <a:noFill/>
              <a:ln w="12700" cap="flat">
                <a:solidFill>
                  <a:srgbClr val="805C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3" name="Freihandform: Form 4492">
                <a:extLst>
                  <a:ext uri="{FF2B5EF4-FFF2-40B4-BE49-F238E27FC236}">
                    <a16:creationId xmlns:a16="http://schemas.microsoft.com/office/drawing/2014/main" id="{AB2C916D-C118-2D36-9E4B-1347A41C5573}"/>
                  </a:ext>
                </a:extLst>
              </p:cNvPr>
              <p:cNvSpPr/>
              <p:nvPr/>
            </p:nvSpPr>
            <p:spPr>
              <a:xfrm>
                <a:off x="9563223" y="3651710"/>
                <a:ext cx="333938" cy="355097"/>
              </a:xfrm>
              <a:custGeom>
                <a:avLst/>
                <a:gdLst>
                  <a:gd name="connsiteX0" fmla="*/ 98413 w 1654351"/>
                  <a:gd name="connsiteY0" fmla="*/ 0 h 1759175"/>
                  <a:gd name="connsiteX1" fmla="*/ 1681 w 1654351"/>
                  <a:gd name="connsiteY1" fmla="*/ 61065 h 1759175"/>
                  <a:gd name="connsiteX2" fmla="*/ 0 w 1654351"/>
                  <a:gd name="connsiteY2" fmla="*/ 284969 h 1759175"/>
                  <a:gd name="connsiteX3" fmla="*/ 393591 w 1654351"/>
                  <a:gd name="connsiteY3" fmla="*/ 512297 h 1759175"/>
                  <a:gd name="connsiteX4" fmla="*/ 393591 w 1654351"/>
                  <a:gd name="connsiteY4" fmla="*/ 1647690 h 1759175"/>
                  <a:gd name="connsiteX5" fmla="*/ 588674 w 1654351"/>
                  <a:gd name="connsiteY5" fmla="*/ 1759176 h 1759175"/>
                  <a:gd name="connsiteX6" fmla="*/ 1654351 w 1654351"/>
                  <a:gd name="connsiteY6" fmla="*/ 1144793 h 175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54351" h="1759175">
                    <a:moveTo>
                      <a:pt x="98413" y="0"/>
                    </a:moveTo>
                    <a:lnTo>
                      <a:pt x="1681" y="61065"/>
                    </a:lnTo>
                    <a:lnTo>
                      <a:pt x="0" y="284969"/>
                    </a:lnTo>
                    <a:lnTo>
                      <a:pt x="393591" y="512297"/>
                    </a:lnTo>
                    <a:lnTo>
                      <a:pt x="393591" y="1647690"/>
                    </a:lnTo>
                    <a:lnTo>
                      <a:pt x="588674" y="1759176"/>
                    </a:lnTo>
                    <a:lnTo>
                      <a:pt x="1654351" y="1144793"/>
                    </a:lnTo>
                  </a:path>
                </a:pathLst>
              </a:custGeom>
              <a:noFill/>
              <a:ln w="12700" cap="flat">
                <a:solidFill>
                  <a:srgbClr val="B4A8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4" name="Freihandform: Form 4493">
                <a:extLst>
                  <a:ext uri="{FF2B5EF4-FFF2-40B4-BE49-F238E27FC236}">
                    <a16:creationId xmlns:a16="http://schemas.microsoft.com/office/drawing/2014/main" id="{368C271E-8972-2B47-1254-6A1032CB330B}"/>
                  </a:ext>
                </a:extLst>
              </p:cNvPr>
              <p:cNvSpPr/>
              <p:nvPr/>
            </p:nvSpPr>
            <p:spPr>
              <a:xfrm>
                <a:off x="9722106" y="3627647"/>
                <a:ext cx="61285" cy="483144"/>
              </a:xfrm>
              <a:custGeom>
                <a:avLst/>
                <a:gdLst>
                  <a:gd name="connsiteX0" fmla="*/ 144414 w 291815"/>
                  <a:gd name="connsiteY0" fmla="*/ 3550408 h 3550408"/>
                  <a:gd name="connsiteX1" fmla="*/ 0 w 291815"/>
                  <a:gd name="connsiteY1" fmla="*/ 3459527 h 3550408"/>
                  <a:gd name="connsiteX2" fmla="*/ 0 w 291815"/>
                  <a:gd name="connsiteY2" fmla="*/ 2558682 h 3550408"/>
                  <a:gd name="connsiteX3" fmla="*/ 291816 w 291815"/>
                  <a:gd name="connsiteY3" fmla="*/ 2387315 h 3550408"/>
                  <a:gd name="connsiteX4" fmla="*/ 291816 w 291815"/>
                  <a:gd name="connsiteY4" fmla="*/ 234548 h 3550408"/>
                  <a:gd name="connsiteX5" fmla="*/ 191722 w 291815"/>
                  <a:gd name="connsiteY5" fmla="*/ 178588 h 3550408"/>
                  <a:gd name="connsiteX6" fmla="*/ 95052 w 291815"/>
                  <a:gd name="connsiteY6" fmla="*/ 119204 h 3550408"/>
                  <a:gd name="connsiteX7" fmla="*/ 95052 w 291815"/>
                  <a:gd name="connsiteY7" fmla="*/ 0 h 3550408"/>
                  <a:gd name="connsiteX0" fmla="*/ 0 w 291815"/>
                  <a:gd name="connsiteY0" fmla="*/ 3459527 h 3459526"/>
                  <a:gd name="connsiteX1" fmla="*/ 0 w 291815"/>
                  <a:gd name="connsiteY1" fmla="*/ 2558682 h 3459526"/>
                  <a:gd name="connsiteX2" fmla="*/ 291816 w 291815"/>
                  <a:gd name="connsiteY2" fmla="*/ 2387315 h 3459526"/>
                  <a:gd name="connsiteX3" fmla="*/ 291816 w 291815"/>
                  <a:gd name="connsiteY3" fmla="*/ 234548 h 3459526"/>
                  <a:gd name="connsiteX4" fmla="*/ 191722 w 291815"/>
                  <a:gd name="connsiteY4" fmla="*/ 178588 h 3459526"/>
                  <a:gd name="connsiteX5" fmla="*/ 95052 w 291815"/>
                  <a:gd name="connsiteY5" fmla="*/ 119204 h 3459526"/>
                  <a:gd name="connsiteX6" fmla="*/ 95052 w 291815"/>
                  <a:gd name="connsiteY6" fmla="*/ 0 h 3459526"/>
                  <a:gd name="connsiteX0" fmla="*/ 0 w 291815"/>
                  <a:gd name="connsiteY0" fmla="*/ 3058435 h 3058435"/>
                  <a:gd name="connsiteX1" fmla="*/ 0 w 291815"/>
                  <a:gd name="connsiteY1" fmla="*/ 2558682 h 3058435"/>
                  <a:gd name="connsiteX2" fmla="*/ 291816 w 291815"/>
                  <a:gd name="connsiteY2" fmla="*/ 2387315 h 3058435"/>
                  <a:gd name="connsiteX3" fmla="*/ 291816 w 291815"/>
                  <a:gd name="connsiteY3" fmla="*/ 234548 h 3058435"/>
                  <a:gd name="connsiteX4" fmla="*/ 191722 w 291815"/>
                  <a:gd name="connsiteY4" fmla="*/ 178588 h 3058435"/>
                  <a:gd name="connsiteX5" fmla="*/ 95052 w 291815"/>
                  <a:gd name="connsiteY5" fmla="*/ 119204 h 3058435"/>
                  <a:gd name="connsiteX6" fmla="*/ 95052 w 291815"/>
                  <a:gd name="connsiteY6" fmla="*/ 0 h 3058435"/>
                  <a:gd name="connsiteX0" fmla="*/ 0 w 291815"/>
                  <a:gd name="connsiteY0" fmla="*/ 2558682 h 2558684"/>
                  <a:gd name="connsiteX1" fmla="*/ 291816 w 291815"/>
                  <a:gd name="connsiteY1" fmla="*/ 2387315 h 2558684"/>
                  <a:gd name="connsiteX2" fmla="*/ 291816 w 291815"/>
                  <a:gd name="connsiteY2" fmla="*/ 234548 h 2558684"/>
                  <a:gd name="connsiteX3" fmla="*/ 191722 w 291815"/>
                  <a:gd name="connsiteY3" fmla="*/ 178588 h 2558684"/>
                  <a:gd name="connsiteX4" fmla="*/ 95052 w 291815"/>
                  <a:gd name="connsiteY4" fmla="*/ 119204 h 2558684"/>
                  <a:gd name="connsiteX5" fmla="*/ 95052 w 291815"/>
                  <a:gd name="connsiteY5" fmla="*/ 0 h 2558684"/>
                  <a:gd name="connsiteX0" fmla="*/ 0 w 303611"/>
                  <a:gd name="connsiteY0" fmla="*/ 2558682 h 2558684"/>
                  <a:gd name="connsiteX1" fmla="*/ 303611 w 303611"/>
                  <a:gd name="connsiteY1" fmla="*/ 2210359 h 2558684"/>
                  <a:gd name="connsiteX2" fmla="*/ 291816 w 303611"/>
                  <a:gd name="connsiteY2" fmla="*/ 234548 h 2558684"/>
                  <a:gd name="connsiteX3" fmla="*/ 191722 w 303611"/>
                  <a:gd name="connsiteY3" fmla="*/ 178588 h 2558684"/>
                  <a:gd name="connsiteX4" fmla="*/ 95052 w 303611"/>
                  <a:gd name="connsiteY4" fmla="*/ 119204 h 2558684"/>
                  <a:gd name="connsiteX5" fmla="*/ 95052 w 303611"/>
                  <a:gd name="connsiteY5" fmla="*/ 0 h 2558684"/>
                  <a:gd name="connsiteX0" fmla="*/ 0 w 303611"/>
                  <a:gd name="connsiteY0" fmla="*/ 2393525 h 2393525"/>
                  <a:gd name="connsiteX1" fmla="*/ 303611 w 303611"/>
                  <a:gd name="connsiteY1" fmla="*/ 2210359 h 2393525"/>
                  <a:gd name="connsiteX2" fmla="*/ 291816 w 303611"/>
                  <a:gd name="connsiteY2" fmla="*/ 234548 h 2393525"/>
                  <a:gd name="connsiteX3" fmla="*/ 191722 w 303611"/>
                  <a:gd name="connsiteY3" fmla="*/ 178588 h 2393525"/>
                  <a:gd name="connsiteX4" fmla="*/ 95052 w 303611"/>
                  <a:gd name="connsiteY4" fmla="*/ 119204 h 2393525"/>
                  <a:gd name="connsiteX5" fmla="*/ 95052 w 303611"/>
                  <a:gd name="connsiteY5" fmla="*/ 0 h 239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3611" h="2393525">
                    <a:moveTo>
                      <a:pt x="0" y="2393525"/>
                    </a:moveTo>
                    <a:lnTo>
                      <a:pt x="303611" y="2210359"/>
                    </a:lnTo>
                    <a:cubicBezTo>
                      <a:pt x="299679" y="1551755"/>
                      <a:pt x="295748" y="893152"/>
                      <a:pt x="291816" y="234548"/>
                    </a:cubicBezTo>
                    <a:lnTo>
                      <a:pt x="191722" y="178588"/>
                    </a:lnTo>
                    <a:lnTo>
                      <a:pt x="95052" y="119204"/>
                    </a:lnTo>
                    <a:lnTo>
                      <a:pt x="95052" y="0"/>
                    </a:lnTo>
                  </a:path>
                </a:pathLst>
              </a:custGeom>
              <a:noFill/>
              <a:ln w="12700" cap="flat">
                <a:solidFill>
                  <a:srgbClr val="00E6DC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5" name="Freihandform: Form 4494">
                <a:extLst>
                  <a:ext uri="{FF2B5EF4-FFF2-40B4-BE49-F238E27FC236}">
                    <a16:creationId xmlns:a16="http://schemas.microsoft.com/office/drawing/2014/main" id="{33173D0C-35BD-4CFB-34BD-7A5A62600203}"/>
                  </a:ext>
                </a:extLst>
              </p:cNvPr>
              <p:cNvSpPr/>
              <p:nvPr/>
            </p:nvSpPr>
            <p:spPr>
              <a:xfrm>
                <a:off x="9583754" y="3560992"/>
                <a:ext cx="173584" cy="90606"/>
              </a:xfrm>
              <a:custGeom>
                <a:avLst/>
                <a:gdLst>
                  <a:gd name="connsiteX0" fmla="*/ 0 w 859948"/>
                  <a:gd name="connsiteY0" fmla="*/ 448866 h 448866"/>
                  <a:gd name="connsiteX1" fmla="*/ 781144 w 859948"/>
                  <a:gd name="connsiteY1" fmla="*/ 0 h 448866"/>
                  <a:gd name="connsiteX2" fmla="*/ 859949 w 859948"/>
                  <a:gd name="connsiteY2" fmla="*/ 45565 h 44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9948" h="448866">
                    <a:moveTo>
                      <a:pt x="0" y="448866"/>
                    </a:moveTo>
                    <a:lnTo>
                      <a:pt x="781144" y="0"/>
                    </a:lnTo>
                    <a:lnTo>
                      <a:pt x="859949" y="45565"/>
                    </a:lnTo>
                  </a:path>
                </a:pathLst>
              </a:custGeom>
              <a:noFill/>
              <a:ln w="12700" cap="flat">
                <a:solidFill>
                  <a:srgbClr val="805C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6" name="Freihandform: Form 4495">
                <a:extLst>
                  <a:ext uri="{FF2B5EF4-FFF2-40B4-BE49-F238E27FC236}">
                    <a16:creationId xmlns:a16="http://schemas.microsoft.com/office/drawing/2014/main" id="{93D55ABA-440B-1619-4AD7-11C6AC359AA3}"/>
                  </a:ext>
                </a:extLst>
              </p:cNvPr>
              <p:cNvSpPr/>
              <p:nvPr/>
            </p:nvSpPr>
            <p:spPr>
              <a:xfrm>
                <a:off x="9611397" y="3595294"/>
                <a:ext cx="123412" cy="63139"/>
              </a:xfrm>
              <a:custGeom>
                <a:avLst/>
                <a:gdLst>
                  <a:gd name="connsiteX0" fmla="*/ 0 w 611394"/>
                  <a:gd name="connsiteY0" fmla="*/ 312794 h 312793"/>
                  <a:gd name="connsiteX1" fmla="*/ 546097 w 611394"/>
                  <a:gd name="connsiteY1" fmla="*/ 0 h 312793"/>
                  <a:gd name="connsiteX2" fmla="*/ 611395 w 611394"/>
                  <a:gd name="connsiteY2" fmla="*/ 38967 h 312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1394" h="312793">
                    <a:moveTo>
                      <a:pt x="0" y="312794"/>
                    </a:moveTo>
                    <a:lnTo>
                      <a:pt x="546097" y="0"/>
                    </a:lnTo>
                    <a:lnTo>
                      <a:pt x="611395" y="38967"/>
                    </a:lnTo>
                  </a:path>
                </a:pathLst>
              </a:custGeom>
              <a:noFill/>
              <a:ln w="12700" cap="flat">
                <a:solidFill>
                  <a:srgbClr val="B4A8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7" name="Freihandform: Form 4496">
                <a:extLst>
                  <a:ext uri="{FF2B5EF4-FFF2-40B4-BE49-F238E27FC236}">
                    <a16:creationId xmlns:a16="http://schemas.microsoft.com/office/drawing/2014/main" id="{BC00FDFF-5E2A-E9BD-EE23-58834BBB48AE}"/>
                  </a:ext>
                </a:extLst>
              </p:cNvPr>
              <p:cNvSpPr/>
              <p:nvPr/>
            </p:nvSpPr>
            <p:spPr>
              <a:xfrm>
                <a:off x="9532049" y="3501484"/>
                <a:ext cx="296557" cy="642474"/>
              </a:xfrm>
              <a:custGeom>
                <a:avLst/>
                <a:gdLst>
                  <a:gd name="connsiteX0" fmla="*/ 0 w 1469164"/>
                  <a:gd name="connsiteY0" fmla="*/ 0 h 4456918"/>
                  <a:gd name="connsiteX1" fmla="*/ 0 w 1469164"/>
                  <a:gd name="connsiteY1" fmla="*/ 450796 h 4456918"/>
                  <a:gd name="connsiteX2" fmla="*/ 980584 w 1469164"/>
                  <a:gd name="connsiteY2" fmla="*/ 1012144 h 4456918"/>
                  <a:gd name="connsiteX3" fmla="*/ 980584 w 1469164"/>
                  <a:gd name="connsiteY3" fmla="*/ 1906640 h 4456918"/>
                  <a:gd name="connsiteX4" fmla="*/ 1469165 w 1469164"/>
                  <a:gd name="connsiteY4" fmla="*/ 1629390 h 4456918"/>
                  <a:gd name="connsiteX5" fmla="*/ 1469165 w 1469164"/>
                  <a:gd name="connsiteY5" fmla="*/ 2300231 h 4456918"/>
                  <a:gd name="connsiteX6" fmla="*/ 688768 w 1469164"/>
                  <a:gd name="connsiteY6" fmla="*/ 2749782 h 4456918"/>
                  <a:gd name="connsiteX7" fmla="*/ 688768 w 1469164"/>
                  <a:gd name="connsiteY7" fmla="*/ 4456918 h 4456918"/>
                  <a:gd name="connsiteX0" fmla="*/ 0 w 1469164"/>
                  <a:gd name="connsiteY0" fmla="*/ 0 h 3808089"/>
                  <a:gd name="connsiteX1" fmla="*/ 0 w 1469164"/>
                  <a:gd name="connsiteY1" fmla="*/ 450796 h 3808089"/>
                  <a:gd name="connsiteX2" fmla="*/ 980584 w 1469164"/>
                  <a:gd name="connsiteY2" fmla="*/ 1012144 h 3808089"/>
                  <a:gd name="connsiteX3" fmla="*/ 980584 w 1469164"/>
                  <a:gd name="connsiteY3" fmla="*/ 1906640 h 3808089"/>
                  <a:gd name="connsiteX4" fmla="*/ 1469165 w 1469164"/>
                  <a:gd name="connsiteY4" fmla="*/ 1629390 h 3808089"/>
                  <a:gd name="connsiteX5" fmla="*/ 1469165 w 1469164"/>
                  <a:gd name="connsiteY5" fmla="*/ 2300231 h 3808089"/>
                  <a:gd name="connsiteX6" fmla="*/ 688768 w 1469164"/>
                  <a:gd name="connsiteY6" fmla="*/ 2749782 h 3808089"/>
                  <a:gd name="connsiteX7" fmla="*/ 688769 w 1469164"/>
                  <a:gd name="connsiteY7" fmla="*/ 3808089 h 3808089"/>
                  <a:gd name="connsiteX0" fmla="*/ 0 w 1469164"/>
                  <a:gd name="connsiteY0" fmla="*/ 0 h 3182857"/>
                  <a:gd name="connsiteX1" fmla="*/ 0 w 1469164"/>
                  <a:gd name="connsiteY1" fmla="*/ 450796 h 3182857"/>
                  <a:gd name="connsiteX2" fmla="*/ 980584 w 1469164"/>
                  <a:gd name="connsiteY2" fmla="*/ 1012144 h 3182857"/>
                  <a:gd name="connsiteX3" fmla="*/ 980584 w 1469164"/>
                  <a:gd name="connsiteY3" fmla="*/ 1906640 h 3182857"/>
                  <a:gd name="connsiteX4" fmla="*/ 1469165 w 1469164"/>
                  <a:gd name="connsiteY4" fmla="*/ 1629390 h 3182857"/>
                  <a:gd name="connsiteX5" fmla="*/ 1469165 w 1469164"/>
                  <a:gd name="connsiteY5" fmla="*/ 2300231 h 3182857"/>
                  <a:gd name="connsiteX6" fmla="*/ 688768 w 1469164"/>
                  <a:gd name="connsiteY6" fmla="*/ 2749782 h 3182857"/>
                  <a:gd name="connsiteX7" fmla="*/ 688769 w 1469164"/>
                  <a:gd name="connsiteY7" fmla="*/ 3182857 h 318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9164" h="3182857">
                    <a:moveTo>
                      <a:pt x="0" y="0"/>
                    </a:moveTo>
                    <a:lnTo>
                      <a:pt x="0" y="450796"/>
                    </a:lnTo>
                    <a:lnTo>
                      <a:pt x="980584" y="1012144"/>
                    </a:lnTo>
                    <a:lnTo>
                      <a:pt x="980584" y="1906640"/>
                    </a:lnTo>
                    <a:lnTo>
                      <a:pt x="1469165" y="1629390"/>
                    </a:lnTo>
                    <a:lnTo>
                      <a:pt x="1469165" y="2300231"/>
                    </a:lnTo>
                    <a:lnTo>
                      <a:pt x="688768" y="2749782"/>
                    </a:lnTo>
                    <a:cubicBezTo>
                      <a:pt x="688768" y="3318827"/>
                      <a:pt x="688769" y="2613812"/>
                      <a:pt x="688769" y="3182857"/>
                    </a:cubicBezTo>
                  </a:path>
                </a:pathLst>
              </a:custGeom>
              <a:noFill/>
              <a:ln w="12700" cap="flat">
                <a:solidFill>
                  <a:srgbClr val="00FFB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8" name="Freihandform: Form 4497">
                <a:extLst>
                  <a:ext uri="{FF2B5EF4-FFF2-40B4-BE49-F238E27FC236}">
                    <a16:creationId xmlns:a16="http://schemas.microsoft.com/office/drawing/2014/main" id="{87A14419-3D93-A256-3528-0E6A122ABED3}"/>
                  </a:ext>
                </a:extLst>
              </p:cNvPr>
              <p:cNvSpPr/>
              <p:nvPr/>
            </p:nvSpPr>
            <p:spPr>
              <a:xfrm>
                <a:off x="9480168" y="3526463"/>
                <a:ext cx="18659" cy="505664"/>
              </a:xfrm>
              <a:custGeom>
                <a:avLst/>
                <a:gdLst>
                  <a:gd name="connsiteX0" fmla="*/ 369750 w 369749"/>
                  <a:gd name="connsiteY0" fmla="*/ 0 h 3682870"/>
                  <a:gd name="connsiteX1" fmla="*/ 369750 w 369749"/>
                  <a:gd name="connsiteY1" fmla="*/ 387491 h 3682870"/>
                  <a:gd name="connsiteX2" fmla="*/ 277312 w 369749"/>
                  <a:gd name="connsiteY2" fmla="*/ 448555 h 3682870"/>
                  <a:gd name="connsiteX3" fmla="*/ 277312 w 369749"/>
                  <a:gd name="connsiteY3" fmla="*/ 2823607 h 3682870"/>
                  <a:gd name="connsiteX4" fmla="*/ 0 w 369749"/>
                  <a:gd name="connsiteY4" fmla="*/ 2995472 h 3682870"/>
                  <a:gd name="connsiteX5" fmla="*/ 0 w 369749"/>
                  <a:gd name="connsiteY5" fmla="*/ 3682871 h 3682870"/>
                  <a:gd name="connsiteX6" fmla="*/ 300967 w 369749"/>
                  <a:gd name="connsiteY6" fmla="*/ 3501606 h 3682870"/>
                  <a:gd name="connsiteX0" fmla="*/ 369750 w 369749"/>
                  <a:gd name="connsiteY0" fmla="*/ 0 h 3682870"/>
                  <a:gd name="connsiteX1" fmla="*/ 369750 w 369749"/>
                  <a:gd name="connsiteY1" fmla="*/ 387491 h 3682870"/>
                  <a:gd name="connsiteX2" fmla="*/ 277312 w 369749"/>
                  <a:gd name="connsiteY2" fmla="*/ 448555 h 3682870"/>
                  <a:gd name="connsiteX3" fmla="*/ 277312 w 369749"/>
                  <a:gd name="connsiteY3" fmla="*/ 2823607 h 3682870"/>
                  <a:gd name="connsiteX4" fmla="*/ 0 w 369749"/>
                  <a:gd name="connsiteY4" fmla="*/ 2995472 h 3682870"/>
                  <a:gd name="connsiteX5" fmla="*/ 0 w 369749"/>
                  <a:gd name="connsiteY5" fmla="*/ 3682871 h 3682870"/>
                  <a:gd name="connsiteX0" fmla="*/ 369750 w 369749"/>
                  <a:gd name="connsiteY0" fmla="*/ 0 h 2995474"/>
                  <a:gd name="connsiteX1" fmla="*/ 369750 w 369749"/>
                  <a:gd name="connsiteY1" fmla="*/ 387491 h 2995474"/>
                  <a:gd name="connsiteX2" fmla="*/ 277312 w 369749"/>
                  <a:gd name="connsiteY2" fmla="*/ 448555 h 2995474"/>
                  <a:gd name="connsiteX3" fmla="*/ 277312 w 369749"/>
                  <a:gd name="connsiteY3" fmla="*/ 2823607 h 2995474"/>
                  <a:gd name="connsiteX4" fmla="*/ 0 w 369749"/>
                  <a:gd name="connsiteY4" fmla="*/ 2995472 h 2995474"/>
                  <a:gd name="connsiteX0" fmla="*/ 92439 w 92438"/>
                  <a:gd name="connsiteY0" fmla="*/ 0 h 2823608"/>
                  <a:gd name="connsiteX1" fmla="*/ 92439 w 92438"/>
                  <a:gd name="connsiteY1" fmla="*/ 387491 h 2823608"/>
                  <a:gd name="connsiteX2" fmla="*/ 1 w 92438"/>
                  <a:gd name="connsiteY2" fmla="*/ 448555 h 2823608"/>
                  <a:gd name="connsiteX3" fmla="*/ 1 w 92438"/>
                  <a:gd name="connsiteY3" fmla="*/ 2823607 h 2823608"/>
                  <a:gd name="connsiteX0" fmla="*/ 92439 w 92438"/>
                  <a:gd name="connsiteY0" fmla="*/ 0 h 2505091"/>
                  <a:gd name="connsiteX1" fmla="*/ 92439 w 92438"/>
                  <a:gd name="connsiteY1" fmla="*/ 387491 h 2505091"/>
                  <a:gd name="connsiteX2" fmla="*/ 1 w 92438"/>
                  <a:gd name="connsiteY2" fmla="*/ 448555 h 2505091"/>
                  <a:gd name="connsiteX3" fmla="*/ 0 w 92438"/>
                  <a:gd name="connsiteY3" fmla="*/ 2505091 h 250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438" h="2505091">
                    <a:moveTo>
                      <a:pt x="92439" y="0"/>
                    </a:moveTo>
                    <a:lnTo>
                      <a:pt x="92439" y="387491"/>
                    </a:lnTo>
                    <a:lnTo>
                      <a:pt x="1" y="448555"/>
                    </a:lnTo>
                    <a:cubicBezTo>
                      <a:pt x="1" y="1134067"/>
                      <a:pt x="0" y="1819579"/>
                      <a:pt x="0" y="2505091"/>
                    </a:cubicBezTo>
                  </a:path>
                </a:pathLst>
              </a:custGeom>
              <a:noFill/>
              <a:ln w="12700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9" name="Freihandform: Form 4498">
                <a:extLst>
                  <a:ext uri="{FF2B5EF4-FFF2-40B4-BE49-F238E27FC236}">
                    <a16:creationId xmlns:a16="http://schemas.microsoft.com/office/drawing/2014/main" id="{25464667-EB49-DB65-A831-6ABD9BE0AF2F}"/>
                  </a:ext>
                </a:extLst>
              </p:cNvPr>
              <p:cNvSpPr/>
              <p:nvPr/>
            </p:nvSpPr>
            <p:spPr>
              <a:xfrm>
                <a:off x="9755643" y="3568143"/>
                <a:ext cx="51165" cy="44316"/>
              </a:xfrm>
              <a:custGeom>
                <a:avLst/>
                <a:gdLst>
                  <a:gd name="connsiteX0" fmla="*/ 0 w 253471"/>
                  <a:gd name="connsiteY0" fmla="*/ 0 h 219546"/>
                  <a:gd name="connsiteX1" fmla="*/ 126736 w 253471"/>
                  <a:gd name="connsiteY1" fmla="*/ 73328 h 219546"/>
                  <a:gd name="connsiteX2" fmla="*/ 253472 w 253471"/>
                  <a:gd name="connsiteY2" fmla="*/ 62 h 219546"/>
                  <a:gd name="connsiteX3" fmla="*/ 253472 w 253471"/>
                  <a:gd name="connsiteY3" fmla="*/ 146468 h 219546"/>
                  <a:gd name="connsiteX4" fmla="*/ 126736 w 253471"/>
                  <a:gd name="connsiteY4" fmla="*/ 219547 h 219546"/>
                  <a:gd name="connsiteX5" fmla="*/ 0 w 253471"/>
                  <a:gd name="connsiteY5" fmla="*/ 146406 h 219546"/>
                  <a:gd name="connsiteX6" fmla="*/ 0 w 253471"/>
                  <a:gd name="connsiteY6" fmla="*/ 0 h 21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71" h="219546">
                    <a:moveTo>
                      <a:pt x="0" y="0"/>
                    </a:moveTo>
                    <a:lnTo>
                      <a:pt x="126736" y="73328"/>
                    </a:lnTo>
                    <a:lnTo>
                      <a:pt x="253472" y="62"/>
                    </a:lnTo>
                    <a:lnTo>
                      <a:pt x="253472" y="146468"/>
                    </a:lnTo>
                    <a:lnTo>
                      <a:pt x="126736" y="219547"/>
                    </a:lnTo>
                    <a:lnTo>
                      <a:pt x="0" y="14640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0" name="Freihandform: Form 4499">
                <a:extLst>
                  <a:ext uri="{FF2B5EF4-FFF2-40B4-BE49-F238E27FC236}">
                    <a16:creationId xmlns:a16="http://schemas.microsoft.com/office/drawing/2014/main" id="{165A9273-C5D1-895A-692A-4585A052B3E0}"/>
                  </a:ext>
                </a:extLst>
              </p:cNvPr>
              <p:cNvSpPr/>
              <p:nvPr/>
            </p:nvSpPr>
            <p:spPr>
              <a:xfrm>
                <a:off x="9755667" y="3553380"/>
                <a:ext cx="51140" cy="29565"/>
              </a:xfrm>
              <a:custGeom>
                <a:avLst/>
                <a:gdLst>
                  <a:gd name="connsiteX0" fmla="*/ 126612 w 253347"/>
                  <a:gd name="connsiteY0" fmla="*/ 0 h 146468"/>
                  <a:gd name="connsiteX1" fmla="*/ 253347 w 253347"/>
                  <a:gd name="connsiteY1" fmla="*/ 73203 h 146468"/>
                  <a:gd name="connsiteX2" fmla="*/ 126612 w 253347"/>
                  <a:gd name="connsiteY2" fmla="*/ 146468 h 146468"/>
                  <a:gd name="connsiteX3" fmla="*/ 0 w 253347"/>
                  <a:gd name="connsiteY3" fmla="*/ 73888 h 146468"/>
                  <a:gd name="connsiteX4" fmla="*/ 126612 w 253347"/>
                  <a:gd name="connsiteY4" fmla="*/ 0 h 14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347" h="146468">
                    <a:moveTo>
                      <a:pt x="126612" y="0"/>
                    </a:moveTo>
                    <a:lnTo>
                      <a:pt x="253347" y="73203"/>
                    </a:lnTo>
                    <a:lnTo>
                      <a:pt x="126612" y="146468"/>
                    </a:lnTo>
                    <a:lnTo>
                      <a:pt x="0" y="73888"/>
                    </a:lnTo>
                    <a:lnTo>
                      <a:pt x="126612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1" name="Freihandform: Form 4500">
                <a:extLst>
                  <a:ext uri="{FF2B5EF4-FFF2-40B4-BE49-F238E27FC236}">
                    <a16:creationId xmlns:a16="http://schemas.microsoft.com/office/drawing/2014/main" id="{CA4122A4-3FF3-FCDE-DDCD-63BF4A3EBAB1}"/>
                  </a:ext>
                </a:extLst>
              </p:cNvPr>
              <p:cNvSpPr/>
              <p:nvPr/>
            </p:nvSpPr>
            <p:spPr>
              <a:xfrm>
                <a:off x="9781223" y="3568155"/>
                <a:ext cx="25581" cy="44304"/>
              </a:xfrm>
              <a:custGeom>
                <a:avLst/>
                <a:gdLst>
                  <a:gd name="connsiteX0" fmla="*/ 0 w 126735"/>
                  <a:gd name="connsiteY0" fmla="*/ 73265 h 219484"/>
                  <a:gd name="connsiteX1" fmla="*/ 0 w 126735"/>
                  <a:gd name="connsiteY1" fmla="*/ 219485 h 219484"/>
                  <a:gd name="connsiteX2" fmla="*/ 126736 w 126735"/>
                  <a:gd name="connsiteY2" fmla="*/ 146406 h 219484"/>
                  <a:gd name="connsiteX3" fmla="*/ 126736 w 126735"/>
                  <a:gd name="connsiteY3" fmla="*/ 0 h 219484"/>
                  <a:gd name="connsiteX4" fmla="*/ 0 w 126735"/>
                  <a:gd name="connsiteY4" fmla="*/ 73265 h 21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735" h="219484">
                    <a:moveTo>
                      <a:pt x="0" y="73265"/>
                    </a:moveTo>
                    <a:lnTo>
                      <a:pt x="0" y="219485"/>
                    </a:lnTo>
                    <a:lnTo>
                      <a:pt x="126736" y="146406"/>
                    </a:lnTo>
                    <a:lnTo>
                      <a:pt x="126736" y="0"/>
                    </a:lnTo>
                    <a:lnTo>
                      <a:pt x="0" y="73265"/>
                    </a:lnTo>
                    <a:close/>
                  </a:path>
                </a:pathLst>
              </a:custGeom>
              <a:solidFill>
                <a:srgbClr val="00BE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2" name="Freihandform: Form 4501">
                <a:extLst>
                  <a:ext uri="{FF2B5EF4-FFF2-40B4-BE49-F238E27FC236}">
                    <a16:creationId xmlns:a16="http://schemas.microsoft.com/office/drawing/2014/main" id="{C5D2EBCF-3D31-2FE3-7B27-53DD8CC5A6F0}"/>
                  </a:ext>
                </a:extLst>
              </p:cNvPr>
              <p:cNvSpPr/>
              <p:nvPr/>
            </p:nvSpPr>
            <p:spPr>
              <a:xfrm>
                <a:off x="9765770" y="3545173"/>
                <a:ext cx="29829" cy="29829"/>
              </a:xfrm>
              <a:custGeom>
                <a:avLst/>
                <a:gdLst>
                  <a:gd name="connsiteX0" fmla="*/ 147776 w 147775"/>
                  <a:gd name="connsiteY0" fmla="*/ 73888 h 147775"/>
                  <a:gd name="connsiteX1" fmla="*/ 73888 w 147775"/>
                  <a:gd name="connsiteY1" fmla="*/ 147775 h 147775"/>
                  <a:gd name="connsiteX2" fmla="*/ 0 w 147775"/>
                  <a:gd name="connsiteY2" fmla="*/ 73888 h 147775"/>
                  <a:gd name="connsiteX3" fmla="*/ 73888 w 147775"/>
                  <a:gd name="connsiteY3" fmla="*/ 0 h 147775"/>
                  <a:gd name="connsiteX4" fmla="*/ 147776 w 147775"/>
                  <a:gd name="connsiteY4" fmla="*/ 73888 h 14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775" h="147775">
                    <a:moveTo>
                      <a:pt x="147776" y="73888"/>
                    </a:moveTo>
                    <a:cubicBezTo>
                      <a:pt x="147776" y="114695"/>
                      <a:pt x="114695" y="147775"/>
                      <a:pt x="73888" y="147775"/>
                    </a:cubicBezTo>
                    <a:cubicBezTo>
                      <a:pt x="33081" y="147775"/>
                      <a:pt x="0" y="114695"/>
                      <a:pt x="0" y="73888"/>
                    </a:cubicBezTo>
                    <a:cubicBezTo>
                      <a:pt x="0" y="33081"/>
                      <a:pt x="33081" y="0"/>
                      <a:pt x="73888" y="0"/>
                    </a:cubicBezTo>
                    <a:cubicBezTo>
                      <a:pt x="114695" y="0"/>
                      <a:pt x="147776" y="33081"/>
                      <a:pt x="147776" y="73888"/>
                    </a:cubicBezTo>
                    <a:close/>
                  </a:path>
                </a:pathLst>
              </a:custGeom>
              <a:solidFill>
                <a:srgbClr val="00646E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3" name="Freihandform: Form 4502">
                <a:extLst>
                  <a:ext uri="{FF2B5EF4-FFF2-40B4-BE49-F238E27FC236}">
                    <a16:creationId xmlns:a16="http://schemas.microsoft.com/office/drawing/2014/main" id="{B68F3AD2-8307-86CA-92E9-E864FD742E60}"/>
                  </a:ext>
                </a:extLst>
              </p:cNvPr>
              <p:cNvSpPr/>
              <p:nvPr/>
            </p:nvSpPr>
            <p:spPr>
              <a:xfrm>
                <a:off x="9727132" y="3604821"/>
                <a:ext cx="28573" cy="24740"/>
              </a:xfrm>
              <a:custGeom>
                <a:avLst/>
                <a:gdLst>
                  <a:gd name="connsiteX0" fmla="*/ 0 w 141550"/>
                  <a:gd name="connsiteY0" fmla="*/ 0 h 122565"/>
                  <a:gd name="connsiteX1" fmla="*/ 70775 w 141550"/>
                  <a:gd name="connsiteY1" fmla="*/ 40959 h 122565"/>
                  <a:gd name="connsiteX2" fmla="*/ 141551 w 141550"/>
                  <a:gd name="connsiteY2" fmla="*/ 62 h 122565"/>
                  <a:gd name="connsiteX3" fmla="*/ 141551 w 141550"/>
                  <a:gd name="connsiteY3" fmla="*/ 81793 h 122565"/>
                  <a:gd name="connsiteX4" fmla="*/ 70775 w 141550"/>
                  <a:gd name="connsiteY4" fmla="*/ 122565 h 122565"/>
                  <a:gd name="connsiteX5" fmla="*/ 0 w 141550"/>
                  <a:gd name="connsiteY5" fmla="*/ 81731 h 122565"/>
                  <a:gd name="connsiteX6" fmla="*/ 0 w 141550"/>
                  <a:gd name="connsiteY6" fmla="*/ 0 h 122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550" h="122565">
                    <a:moveTo>
                      <a:pt x="0" y="0"/>
                    </a:moveTo>
                    <a:lnTo>
                      <a:pt x="70775" y="40959"/>
                    </a:lnTo>
                    <a:lnTo>
                      <a:pt x="141551" y="62"/>
                    </a:lnTo>
                    <a:lnTo>
                      <a:pt x="141551" y="81793"/>
                    </a:lnTo>
                    <a:lnTo>
                      <a:pt x="70775" y="122565"/>
                    </a:lnTo>
                    <a:lnTo>
                      <a:pt x="0" y="817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4" name="Freihandform: Form 4503">
                <a:extLst>
                  <a:ext uri="{FF2B5EF4-FFF2-40B4-BE49-F238E27FC236}">
                    <a16:creationId xmlns:a16="http://schemas.microsoft.com/office/drawing/2014/main" id="{B3CFB867-6AA6-BC9B-6970-9A4740845524}"/>
                  </a:ext>
                </a:extLst>
              </p:cNvPr>
              <p:cNvSpPr/>
              <p:nvPr/>
            </p:nvSpPr>
            <p:spPr>
              <a:xfrm>
                <a:off x="9727146" y="3596575"/>
                <a:ext cx="28560" cy="16510"/>
              </a:xfrm>
              <a:custGeom>
                <a:avLst/>
                <a:gdLst>
                  <a:gd name="connsiteX0" fmla="*/ 70713 w 141488"/>
                  <a:gd name="connsiteY0" fmla="*/ 0 h 81793"/>
                  <a:gd name="connsiteX1" fmla="*/ 141489 w 141488"/>
                  <a:gd name="connsiteY1" fmla="*/ 40897 h 81793"/>
                  <a:gd name="connsiteX2" fmla="*/ 70713 w 141488"/>
                  <a:gd name="connsiteY2" fmla="*/ 81793 h 81793"/>
                  <a:gd name="connsiteX3" fmla="*/ 0 w 141488"/>
                  <a:gd name="connsiteY3" fmla="*/ 41270 h 81793"/>
                  <a:gd name="connsiteX4" fmla="*/ 70713 w 141488"/>
                  <a:gd name="connsiteY4" fmla="*/ 0 h 81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88" h="81793">
                    <a:moveTo>
                      <a:pt x="70713" y="0"/>
                    </a:moveTo>
                    <a:lnTo>
                      <a:pt x="141489" y="40897"/>
                    </a:lnTo>
                    <a:lnTo>
                      <a:pt x="70713" y="81793"/>
                    </a:lnTo>
                    <a:lnTo>
                      <a:pt x="0" y="41270"/>
                    </a:lnTo>
                    <a:lnTo>
                      <a:pt x="70713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5" name="Freihandform: Form 4504">
                <a:extLst>
                  <a:ext uri="{FF2B5EF4-FFF2-40B4-BE49-F238E27FC236}">
                    <a16:creationId xmlns:a16="http://schemas.microsoft.com/office/drawing/2014/main" id="{2E47487F-8101-0DC2-2EF4-4685D53B62AB}"/>
                  </a:ext>
                </a:extLst>
              </p:cNvPr>
              <p:cNvSpPr/>
              <p:nvPr/>
            </p:nvSpPr>
            <p:spPr>
              <a:xfrm>
                <a:off x="9741420" y="3604830"/>
                <a:ext cx="14286" cy="24727"/>
              </a:xfrm>
              <a:custGeom>
                <a:avLst/>
                <a:gdLst>
                  <a:gd name="connsiteX0" fmla="*/ 0 w 70775"/>
                  <a:gd name="connsiteY0" fmla="*/ 40897 h 122503"/>
                  <a:gd name="connsiteX1" fmla="*/ 0 w 70775"/>
                  <a:gd name="connsiteY1" fmla="*/ 122503 h 122503"/>
                  <a:gd name="connsiteX2" fmla="*/ 70776 w 70775"/>
                  <a:gd name="connsiteY2" fmla="*/ 81731 h 122503"/>
                  <a:gd name="connsiteX3" fmla="*/ 70776 w 70775"/>
                  <a:gd name="connsiteY3" fmla="*/ 0 h 122503"/>
                  <a:gd name="connsiteX4" fmla="*/ 0 w 70775"/>
                  <a:gd name="connsiteY4" fmla="*/ 40897 h 122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775" h="122503">
                    <a:moveTo>
                      <a:pt x="0" y="40897"/>
                    </a:moveTo>
                    <a:lnTo>
                      <a:pt x="0" y="122503"/>
                    </a:lnTo>
                    <a:lnTo>
                      <a:pt x="70776" y="81731"/>
                    </a:lnTo>
                    <a:lnTo>
                      <a:pt x="70776" y="0"/>
                    </a:lnTo>
                    <a:lnTo>
                      <a:pt x="0" y="40897"/>
                    </a:lnTo>
                    <a:close/>
                  </a:path>
                </a:pathLst>
              </a:custGeom>
              <a:solidFill>
                <a:srgbClr val="00BE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06" name="Grafik 1070">
              <a:extLst>
                <a:ext uri="{FF2B5EF4-FFF2-40B4-BE49-F238E27FC236}">
                  <a16:creationId xmlns:a16="http://schemas.microsoft.com/office/drawing/2014/main" id="{75AF438D-1D4C-4449-4373-3361B53BCECF}"/>
                </a:ext>
              </a:extLst>
            </p:cNvPr>
            <p:cNvGrpSpPr/>
            <p:nvPr/>
          </p:nvGrpSpPr>
          <p:grpSpPr>
            <a:xfrm>
              <a:off x="7150940" y="3450475"/>
              <a:ext cx="903174" cy="765460"/>
              <a:chOff x="8142443" y="3579399"/>
              <a:chExt cx="960120" cy="813721"/>
            </a:xfrm>
          </p:grpSpPr>
          <p:sp>
            <p:nvSpPr>
              <p:cNvPr id="4507" name="Freihandform: Form 4506">
                <a:extLst>
                  <a:ext uri="{FF2B5EF4-FFF2-40B4-BE49-F238E27FC236}">
                    <a16:creationId xmlns:a16="http://schemas.microsoft.com/office/drawing/2014/main" id="{3D707705-C2C0-AB7E-18A8-18D3B605CEA3}"/>
                  </a:ext>
                </a:extLst>
              </p:cNvPr>
              <p:cNvSpPr/>
              <p:nvPr/>
            </p:nvSpPr>
            <p:spPr>
              <a:xfrm>
                <a:off x="8616787" y="3579399"/>
                <a:ext cx="485775" cy="336042"/>
              </a:xfrm>
              <a:custGeom>
                <a:avLst/>
                <a:gdLst>
                  <a:gd name="connsiteX0" fmla="*/ 367093 w 485775"/>
                  <a:gd name="connsiteY0" fmla="*/ 336042 h 336042"/>
                  <a:gd name="connsiteX1" fmla="*/ 0 w 485775"/>
                  <a:gd name="connsiteY1" fmla="*/ 127159 h 336042"/>
                  <a:gd name="connsiteX2" fmla="*/ 118681 w 485775"/>
                  <a:gd name="connsiteY2" fmla="*/ 0 h 336042"/>
                  <a:gd name="connsiteX3" fmla="*/ 485775 w 485775"/>
                  <a:gd name="connsiteY3" fmla="*/ 208883 h 336042"/>
                  <a:gd name="connsiteX4" fmla="*/ 367093 w 485775"/>
                  <a:gd name="connsiteY4" fmla="*/ 336042 h 336042"/>
                  <a:gd name="connsiteX5" fmla="*/ 367093 w 485775"/>
                  <a:gd name="connsiteY5" fmla="*/ 336042 h 336042"/>
                  <a:gd name="connsiteX6" fmla="*/ 367093 w 485775"/>
                  <a:gd name="connsiteY6" fmla="*/ 336042 h 336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336042">
                    <a:moveTo>
                      <a:pt x="367093" y="336042"/>
                    </a:moveTo>
                    <a:lnTo>
                      <a:pt x="0" y="127159"/>
                    </a:lnTo>
                    <a:lnTo>
                      <a:pt x="118681" y="0"/>
                    </a:lnTo>
                    <a:lnTo>
                      <a:pt x="485775" y="208883"/>
                    </a:lnTo>
                    <a:lnTo>
                      <a:pt x="367093" y="336042"/>
                    </a:lnTo>
                    <a:lnTo>
                      <a:pt x="367093" y="336042"/>
                    </a:lnTo>
                    <a:lnTo>
                      <a:pt x="367093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8" name="Freihandform: Form 4507">
                <a:extLst>
                  <a:ext uri="{FF2B5EF4-FFF2-40B4-BE49-F238E27FC236}">
                    <a16:creationId xmlns:a16="http://schemas.microsoft.com/office/drawing/2014/main" id="{B5271581-EA4A-DD1E-34F8-373D00D6D299}"/>
                  </a:ext>
                </a:extLst>
              </p:cNvPr>
              <p:cNvSpPr/>
              <p:nvPr/>
            </p:nvSpPr>
            <p:spPr>
              <a:xfrm>
                <a:off x="8497915" y="3647978"/>
                <a:ext cx="485775" cy="336042"/>
              </a:xfrm>
              <a:custGeom>
                <a:avLst/>
                <a:gdLst>
                  <a:gd name="connsiteX0" fmla="*/ 367094 w 485775"/>
                  <a:gd name="connsiteY0" fmla="*/ 336042 h 336042"/>
                  <a:gd name="connsiteX1" fmla="*/ 0 w 485775"/>
                  <a:gd name="connsiteY1" fmla="*/ 127159 h 336042"/>
                  <a:gd name="connsiteX2" fmla="*/ 118681 w 485775"/>
                  <a:gd name="connsiteY2" fmla="*/ 0 h 336042"/>
                  <a:gd name="connsiteX3" fmla="*/ 485775 w 485775"/>
                  <a:gd name="connsiteY3" fmla="*/ 208883 h 336042"/>
                  <a:gd name="connsiteX4" fmla="*/ 367094 w 485775"/>
                  <a:gd name="connsiteY4" fmla="*/ 336042 h 336042"/>
                  <a:gd name="connsiteX5" fmla="*/ 367094 w 485775"/>
                  <a:gd name="connsiteY5" fmla="*/ 336042 h 336042"/>
                  <a:gd name="connsiteX6" fmla="*/ 367094 w 485775"/>
                  <a:gd name="connsiteY6" fmla="*/ 336042 h 336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336042">
                    <a:moveTo>
                      <a:pt x="367094" y="336042"/>
                    </a:moveTo>
                    <a:lnTo>
                      <a:pt x="0" y="127159"/>
                    </a:lnTo>
                    <a:lnTo>
                      <a:pt x="118681" y="0"/>
                    </a:lnTo>
                    <a:lnTo>
                      <a:pt x="485775" y="208883"/>
                    </a:lnTo>
                    <a:lnTo>
                      <a:pt x="367094" y="336042"/>
                    </a:lnTo>
                    <a:lnTo>
                      <a:pt x="367094" y="336042"/>
                    </a:lnTo>
                    <a:lnTo>
                      <a:pt x="367094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9" name="Freihandform: Form 4508">
                <a:extLst>
                  <a:ext uri="{FF2B5EF4-FFF2-40B4-BE49-F238E27FC236}">
                    <a16:creationId xmlns:a16="http://schemas.microsoft.com/office/drawing/2014/main" id="{864BD698-C8F4-C41C-258D-896198A97C70}"/>
                  </a:ext>
                </a:extLst>
              </p:cNvPr>
              <p:cNvSpPr/>
              <p:nvPr/>
            </p:nvSpPr>
            <p:spPr>
              <a:xfrm>
                <a:off x="8380186" y="3716559"/>
                <a:ext cx="484631" cy="336041"/>
              </a:xfrm>
              <a:custGeom>
                <a:avLst/>
                <a:gdLst>
                  <a:gd name="connsiteX0" fmla="*/ 366236 w 484631"/>
                  <a:gd name="connsiteY0" fmla="*/ 336042 h 336041"/>
                  <a:gd name="connsiteX1" fmla="*/ 0 w 484631"/>
                  <a:gd name="connsiteY1" fmla="*/ 127159 h 336041"/>
                  <a:gd name="connsiteX2" fmla="*/ 118396 w 484631"/>
                  <a:gd name="connsiteY2" fmla="*/ 0 h 336041"/>
                  <a:gd name="connsiteX3" fmla="*/ 484632 w 484631"/>
                  <a:gd name="connsiteY3" fmla="*/ 208883 h 336041"/>
                  <a:gd name="connsiteX4" fmla="*/ 366236 w 484631"/>
                  <a:gd name="connsiteY4" fmla="*/ 336042 h 336041"/>
                  <a:gd name="connsiteX5" fmla="*/ 366236 w 484631"/>
                  <a:gd name="connsiteY5" fmla="*/ 336042 h 336041"/>
                  <a:gd name="connsiteX6" fmla="*/ 366236 w 484631"/>
                  <a:gd name="connsiteY6" fmla="*/ 336042 h 336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631" h="336041">
                    <a:moveTo>
                      <a:pt x="366236" y="336042"/>
                    </a:moveTo>
                    <a:lnTo>
                      <a:pt x="0" y="127159"/>
                    </a:lnTo>
                    <a:lnTo>
                      <a:pt x="118396" y="0"/>
                    </a:lnTo>
                    <a:lnTo>
                      <a:pt x="484632" y="208883"/>
                    </a:lnTo>
                    <a:lnTo>
                      <a:pt x="366236" y="336042"/>
                    </a:lnTo>
                    <a:lnTo>
                      <a:pt x="366236" y="336042"/>
                    </a:lnTo>
                    <a:lnTo>
                      <a:pt x="366236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0" name="Freihandform: Form 4509">
                <a:extLst>
                  <a:ext uri="{FF2B5EF4-FFF2-40B4-BE49-F238E27FC236}">
                    <a16:creationId xmlns:a16="http://schemas.microsoft.com/office/drawing/2014/main" id="{CED717CC-8243-37A3-0300-16095FEC8DD0}"/>
                  </a:ext>
                </a:extLst>
              </p:cNvPr>
              <p:cNvSpPr/>
              <p:nvPr/>
            </p:nvSpPr>
            <p:spPr>
              <a:xfrm>
                <a:off x="8142443" y="3978211"/>
                <a:ext cx="366903" cy="414908"/>
              </a:xfrm>
              <a:custGeom>
                <a:avLst/>
                <a:gdLst>
                  <a:gd name="connsiteX0" fmla="*/ 366903 w 366903"/>
                  <a:gd name="connsiteY0" fmla="*/ 414909 h 414908"/>
                  <a:gd name="connsiteX1" fmla="*/ 476 w 366903"/>
                  <a:gd name="connsiteY1" fmla="*/ 205740 h 414908"/>
                  <a:gd name="connsiteX2" fmla="*/ 0 w 366903"/>
                  <a:gd name="connsiteY2" fmla="*/ 0 h 414908"/>
                  <a:gd name="connsiteX3" fmla="*/ 366427 w 366903"/>
                  <a:gd name="connsiteY3" fmla="*/ 209169 h 414908"/>
                  <a:gd name="connsiteX4" fmla="*/ 366903 w 366903"/>
                  <a:gd name="connsiteY4" fmla="*/ 414909 h 414908"/>
                  <a:gd name="connsiteX5" fmla="*/ 366903 w 366903"/>
                  <a:gd name="connsiteY5" fmla="*/ 414909 h 414908"/>
                  <a:gd name="connsiteX6" fmla="*/ 366903 w 366903"/>
                  <a:gd name="connsiteY6" fmla="*/ 414909 h 414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903" h="414908">
                    <a:moveTo>
                      <a:pt x="366903" y="414909"/>
                    </a:moveTo>
                    <a:lnTo>
                      <a:pt x="476" y="205740"/>
                    </a:lnTo>
                    <a:lnTo>
                      <a:pt x="0" y="0"/>
                    </a:lnTo>
                    <a:lnTo>
                      <a:pt x="366427" y="209169"/>
                    </a:lnTo>
                    <a:lnTo>
                      <a:pt x="366903" y="414909"/>
                    </a:lnTo>
                    <a:lnTo>
                      <a:pt x="366903" y="414909"/>
                    </a:lnTo>
                    <a:lnTo>
                      <a:pt x="366903" y="414909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1" name="Freihandform: Form 4510">
                <a:extLst>
                  <a:ext uri="{FF2B5EF4-FFF2-40B4-BE49-F238E27FC236}">
                    <a16:creationId xmlns:a16="http://schemas.microsoft.com/office/drawing/2014/main" id="{D6327AA3-6BB8-76C5-6150-586C403A9147}"/>
                  </a:ext>
                </a:extLst>
              </p:cNvPr>
              <p:cNvSpPr/>
              <p:nvPr/>
            </p:nvSpPr>
            <p:spPr>
              <a:xfrm>
                <a:off x="8261314" y="3785138"/>
                <a:ext cx="484632" cy="336041"/>
              </a:xfrm>
              <a:custGeom>
                <a:avLst/>
                <a:gdLst>
                  <a:gd name="connsiteX0" fmla="*/ 366236 w 484632"/>
                  <a:gd name="connsiteY0" fmla="*/ 336042 h 336041"/>
                  <a:gd name="connsiteX1" fmla="*/ 0 w 484632"/>
                  <a:gd name="connsiteY1" fmla="*/ 127159 h 336041"/>
                  <a:gd name="connsiteX2" fmla="*/ 118396 w 484632"/>
                  <a:gd name="connsiteY2" fmla="*/ 0 h 336041"/>
                  <a:gd name="connsiteX3" fmla="*/ 484632 w 484632"/>
                  <a:gd name="connsiteY3" fmla="*/ 208883 h 336041"/>
                  <a:gd name="connsiteX4" fmla="*/ 366236 w 484632"/>
                  <a:gd name="connsiteY4" fmla="*/ 336042 h 336041"/>
                  <a:gd name="connsiteX5" fmla="*/ 366236 w 484632"/>
                  <a:gd name="connsiteY5" fmla="*/ 336042 h 336041"/>
                  <a:gd name="connsiteX6" fmla="*/ 366236 w 484632"/>
                  <a:gd name="connsiteY6" fmla="*/ 336042 h 336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632" h="336041">
                    <a:moveTo>
                      <a:pt x="366236" y="336042"/>
                    </a:moveTo>
                    <a:lnTo>
                      <a:pt x="0" y="127159"/>
                    </a:lnTo>
                    <a:lnTo>
                      <a:pt x="118396" y="0"/>
                    </a:lnTo>
                    <a:lnTo>
                      <a:pt x="484632" y="208883"/>
                    </a:lnTo>
                    <a:lnTo>
                      <a:pt x="366236" y="336042"/>
                    </a:lnTo>
                    <a:lnTo>
                      <a:pt x="366236" y="336042"/>
                    </a:lnTo>
                    <a:lnTo>
                      <a:pt x="366236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2" name="Freihandform: Form 4511">
                <a:extLst>
                  <a:ext uri="{FF2B5EF4-FFF2-40B4-BE49-F238E27FC236}">
                    <a16:creationId xmlns:a16="http://schemas.microsoft.com/office/drawing/2014/main" id="{FA0A131B-8BDB-E044-BC77-469F30A554CF}"/>
                  </a:ext>
                </a:extLst>
              </p:cNvPr>
              <p:cNvSpPr/>
              <p:nvPr/>
            </p:nvSpPr>
            <p:spPr>
              <a:xfrm>
                <a:off x="8142443" y="3853718"/>
                <a:ext cx="484632" cy="336041"/>
              </a:xfrm>
              <a:custGeom>
                <a:avLst/>
                <a:gdLst>
                  <a:gd name="connsiteX0" fmla="*/ 366236 w 484632"/>
                  <a:gd name="connsiteY0" fmla="*/ 336042 h 336041"/>
                  <a:gd name="connsiteX1" fmla="*/ 0 w 484632"/>
                  <a:gd name="connsiteY1" fmla="*/ 127159 h 336041"/>
                  <a:gd name="connsiteX2" fmla="*/ 118396 w 484632"/>
                  <a:gd name="connsiteY2" fmla="*/ 0 h 336041"/>
                  <a:gd name="connsiteX3" fmla="*/ 484632 w 484632"/>
                  <a:gd name="connsiteY3" fmla="*/ 208883 h 336041"/>
                  <a:gd name="connsiteX4" fmla="*/ 366236 w 484632"/>
                  <a:gd name="connsiteY4" fmla="*/ 336042 h 336041"/>
                  <a:gd name="connsiteX5" fmla="*/ 366236 w 484632"/>
                  <a:gd name="connsiteY5" fmla="*/ 336042 h 336041"/>
                  <a:gd name="connsiteX6" fmla="*/ 366236 w 484632"/>
                  <a:gd name="connsiteY6" fmla="*/ 336042 h 336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632" h="336041">
                    <a:moveTo>
                      <a:pt x="366236" y="336042"/>
                    </a:moveTo>
                    <a:lnTo>
                      <a:pt x="0" y="127159"/>
                    </a:lnTo>
                    <a:lnTo>
                      <a:pt x="118396" y="0"/>
                    </a:lnTo>
                    <a:lnTo>
                      <a:pt x="484632" y="208883"/>
                    </a:lnTo>
                    <a:lnTo>
                      <a:pt x="366236" y="336042"/>
                    </a:lnTo>
                    <a:lnTo>
                      <a:pt x="366236" y="336042"/>
                    </a:lnTo>
                    <a:lnTo>
                      <a:pt x="366236" y="33604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3" name="Freihandform: Form 4512">
                <a:extLst>
                  <a:ext uri="{FF2B5EF4-FFF2-40B4-BE49-F238E27FC236}">
                    <a16:creationId xmlns:a16="http://schemas.microsoft.com/office/drawing/2014/main" id="{16EE3A54-56BB-E137-6171-E6A5E44C1CCC}"/>
                  </a:ext>
                </a:extLst>
              </p:cNvPr>
              <p:cNvSpPr/>
              <p:nvPr/>
            </p:nvSpPr>
            <p:spPr>
              <a:xfrm>
                <a:off x="8509346" y="3786187"/>
                <a:ext cx="593217" cy="606933"/>
              </a:xfrm>
              <a:custGeom>
                <a:avLst/>
                <a:gdLst>
                  <a:gd name="connsiteX0" fmla="*/ 592550 w 593217"/>
                  <a:gd name="connsiteY0" fmla="*/ 0 h 606933"/>
                  <a:gd name="connsiteX1" fmla="*/ 592646 w 593217"/>
                  <a:gd name="connsiteY1" fmla="*/ 58769 h 606933"/>
                  <a:gd name="connsiteX2" fmla="*/ 593217 w 593217"/>
                  <a:gd name="connsiteY2" fmla="*/ 264319 h 606933"/>
                  <a:gd name="connsiteX3" fmla="*/ 120015 w 593217"/>
                  <a:gd name="connsiteY3" fmla="*/ 537972 h 606933"/>
                  <a:gd name="connsiteX4" fmla="*/ 108204 w 593217"/>
                  <a:gd name="connsiteY4" fmla="*/ 532638 h 606933"/>
                  <a:gd name="connsiteX5" fmla="*/ 18288 w 593217"/>
                  <a:gd name="connsiteY5" fmla="*/ 584454 h 606933"/>
                  <a:gd name="connsiteX6" fmla="*/ 18288 w 593217"/>
                  <a:gd name="connsiteY6" fmla="*/ 596741 h 606933"/>
                  <a:gd name="connsiteX7" fmla="*/ 476 w 593217"/>
                  <a:gd name="connsiteY7" fmla="*/ 606933 h 606933"/>
                  <a:gd name="connsiteX8" fmla="*/ 0 w 593217"/>
                  <a:gd name="connsiteY8" fmla="*/ 401384 h 606933"/>
                  <a:gd name="connsiteX9" fmla="*/ 118396 w 593217"/>
                  <a:gd name="connsiteY9" fmla="*/ 274130 h 606933"/>
                  <a:gd name="connsiteX10" fmla="*/ 118586 w 593217"/>
                  <a:gd name="connsiteY10" fmla="*/ 332804 h 606933"/>
                  <a:gd name="connsiteX11" fmla="*/ 236887 w 593217"/>
                  <a:gd name="connsiteY11" fmla="*/ 205550 h 606933"/>
                  <a:gd name="connsiteX12" fmla="*/ 237077 w 593217"/>
                  <a:gd name="connsiteY12" fmla="*/ 264319 h 606933"/>
                  <a:gd name="connsiteX13" fmla="*/ 355473 w 593217"/>
                  <a:gd name="connsiteY13" fmla="*/ 137065 h 606933"/>
                  <a:gd name="connsiteX14" fmla="*/ 355664 w 593217"/>
                  <a:gd name="connsiteY14" fmla="*/ 195739 h 606933"/>
                  <a:gd name="connsiteX15" fmla="*/ 473964 w 593217"/>
                  <a:gd name="connsiteY15" fmla="*/ 68485 h 606933"/>
                  <a:gd name="connsiteX16" fmla="*/ 474155 w 593217"/>
                  <a:gd name="connsiteY16" fmla="*/ 127254 h 606933"/>
                  <a:gd name="connsiteX17" fmla="*/ 592550 w 593217"/>
                  <a:gd name="connsiteY17" fmla="*/ 0 h 606933"/>
                  <a:gd name="connsiteX18" fmla="*/ 592550 w 593217"/>
                  <a:gd name="connsiteY18" fmla="*/ 0 h 606933"/>
                  <a:gd name="connsiteX19" fmla="*/ 592550 w 593217"/>
                  <a:gd name="connsiteY19" fmla="*/ 0 h 606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3217" h="606933">
                    <a:moveTo>
                      <a:pt x="592550" y="0"/>
                    </a:moveTo>
                    <a:lnTo>
                      <a:pt x="592646" y="58769"/>
                    </a:lnTo>
                    <a:lnTo>
                      <a:pt x="593217" y="264319"/>
                    </a:lnTo>
                    <a:lnTo>
                      <a:pt x="120015" y="537972"/>
                    </a:lnTo>
                    <a:lnTo>
                      <a:pt x="108204" y="532638"/>
                    </a:lnTo>
                    <a:lnTo>
                      <a:pt x="18288" y="584454"/>
                    </a:lnTo>
                    <a:lnTo>
                      <a:pt x="18288" y="596741"/>
                    </a:lnTo>
                    <a:lnTo>
                      <a:pt x="476" y="606933"/>
                    </a:lnTo>
                    <a:lnTo>
                      <a:pt x="0" y="401384"/>
                    </a:lnTo>
                    <a:lnTo>
                      <a:pt x="118396" y="274130"/>
                    </a:lnTo>
                    <a:lnTo>
                      <a:pt x="118586" y="332804"/>
                    </a:lnTo>
                    <a:lnTo>
                      <a:pt x="236887" y="205550"/>
                    </a:lnTo>
                    <a:lnTo>
                      <a:pt x="237077" y="264319"/>
                    </a:lnTo>
                    <a:lnTo>
                      <a:pt x="355473" y="137065"/>
                    </a:lnTo>
                    <a:lnTo>
                      <a:pt x="355664" y="195739"/>
                    </a:lnTo>
                    <a:lnTo>
                      <a:pt x="473964" y="68485"/>
                    </a:lnTo>
                    <a:lnTo>
                      <a:pt x="474155" y="127254"/>
                    </a:lnTo>
                    <a:lnTo>
                      <a:pt x="592550" y="0"/>
                    </a:lnTo>
                    <a:lnTo>
                      <a:pt x="592550" y="0"/>
                    </a:lnTo>
                    <a:lnTo>
                      <a:pt x="592550" y="0"/>
                    </a:lnTo>
                    <a:close/>
                  </a:path>
                </a:pathLst>
              </a:custGeom>
              <a:solidFill>
                <a:srgbClr val="E5E5E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4" name="Freihandform: Form 4513">
                <a:extLst>
                  <a:ext uri="{FF2B5EF4-FFF2-40B4-BE49-F238E27FC236}">
                    <a16:creationId xmlns:a16="http://schemas.microsoft.com/office/drawing/2014/main" id="{C17FE3E0-4823-5EED-8455-C9EFD61A4302}"/>
                  </a:ext>
                </a:extLst>
              </p:cNvPr>
              <p:cNvSpPr/>
              <p:nvPr/>
            </p:nvSpPr>
            <p:spPr>
              <a:xfrm>
                <a:off x="8159587" y="4023931"/>
                <a:ext cx="101726" cy="101726"/>
              </a:xfrm>
              <a:custGeom>
                <a:avLst/>
                <a:gdLst>
                  <a:gd name="connsiteX0" fmla="*/ 0 w 101726"/>
                  <a:gd name="connsiteY0" fmla="*/ 0 h 101726"/>
                  <a:gd name="connsiteX1" fmla="*/ 0 w 101726"/>
                  <a:gd name="connsiteY1" fmla="*/ 43624 h 101726"/>
                  <a:gd name="connsiteX2" fmla="*/ 101727 w 101726"/>
                  <a:gd name="connsiteY2" fmla="*/ 101727 h 101726"/>
                  <a:gd name="connsiteX3" fmla="*/ 101727 w 101726"/>
                  <a:gd name="connsiteY3" fmla="*/ 58102 h 101726"/>
                  <a:gd name="connsiteX4" fmla="*/ 0 w 101726"/>
                  <a:gd name="connsiteY4" fmla="*/ 0 h 101726"/>
                  <a:gd name="connsiteX5" fmla="*/ 0 w 101726"/>
                  <a:gd name="connsiteY5" fmla="*/ 0 h 101726"/>
                  <a:gd name="connsiteX6" fmla="*/ 0 w 101726"/>
                  <a:gd name="connsiteY6" fmla="*/ 0 h 101726"/>
                  <a:gd name="connsiteX7" fmla="*/ 0 w 101726"/>
                  <a:gd name="connsiteY7" fmla="*/ 0 h 101726"/>
                  <a:gd name="connsiteX8" fmla="*/ 0 w 101726"/>
                  <a:gd name="connsiteY8" fmla="*/ 0 h 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101726">
                    <a:moveTo>
                      <a:pt x="0" y="0"/>
                    </a:moveTo>
                    <a:lnTo>
                      <a:pt x="0" y="43624"/>
                    </a:lnTo>
                    <a:lnTo>
                      <a:pt x="101727" y="101727"/>
                    </a:lnTo>
                    <a:lnTo>
                      <a:pt x="101727" y="5810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5" name="Freihandform: Form 4514">
                <a:extLst>
                  <a:ext uri="{FF2B5EF4-FFF2-40B4-BE49-F238E27FC236}">
                    <a16:creationId xmlns:a16="http://schemas.microsoft.com/office/drawing/2014/main" id="{3759F9AC-F082-27A9-5FBE-4D304FB6CE11}"/>
                  </a:ext>
                </a:extLst>
              </p:cNvPr>
              <p:cNvSpPr/>
              <p:nvPr/>
            </p:nvSpPr>
            <p:spPr>
              <a:xfrm>
                <a:off x="8159587" y="4045648"/>
                <a:ext cx="101726" cy="80009"/>
              </a:xfrm>
              <a:custGeom>
                <a:avLst/>
                <a:gdLst>
                  <a:gd name="connsiteX0" fmla="*/ 0 w 101726"/>
                  <a:gd name="connsiteY0" fmla="*/ 21812 h 80009"/>
                  <a:gd name="connsiteX1" fmla="*/ 38100 w 101726"/>
                  <a:gd name="connsiteY1" fmla="*/ 0 h 80009"/>
                  <a:gd name="connsiteX2" fmla="*/ 101727 w 101726"/>
                  <a:gd name="connsiteY2" fmla="*/ 36385 h 80009"/>
                  <a:gd name="connsiteX3" fmla="*/ 101727 w 101726"/>
                  <a:gd name="connsiteY3" fmla="*/ 80010 h 80009"/>
                  <a:gd name="connsiteX4" fmla="*/ 0 w 101726"/>
                  <a:gd name="connsiteY4" fmla="*/ 21812 h 80009"/>
                  <a:gd name="connsiteX5" fmla="*/ 0 w 101726"/>
                  <a:gd name="connsiteY5" fmla="*/ 21812 h 80009"/>
                  <a:gd name="connsiteX6" fmla="*/ 0 w 101726"/>
                  <a:gd name="connsiteY6" fmla="*/ 21812 h 80009"/>
                  <a:gd name="connsiteX7" fmla="*/ 0 w 101726"/>
                  <a:gd name="connsiteY7" fmla="*/ 21812 h 80009"/>
                  <a:gd name="connsiteX8" fmla="*/ 0 w 101726"/>
                  <a:gd name="connsiteY8" fmla="*/ 21812 h 8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80009">
                    <a:moveTo>
                      <a:pt x="0" y="21812"/>
                    </a:moveTo>
                    <a:lnTo>
                      <a:pt x="38100" y="0"/>
                    </a:lnTo>
                    <a:lnTo>
                      <a:pt x="101727" y="36385"/>
                    </a:lnTo>
                    <a:lnTo>
                      <a:pt x="101727" y="80010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6" name="Freihandform: Form 4515">
                <a:extLst>
                  <a:ext uri="{FF2B5EF4-FFF2-40B4-BE49-F238E27FC236}">
                    <a16:creationId xmlns:a16="http://schemas.microsoft.com/office/drawing/2014/main" id="{782022DD-4A99-8A50-B081-6CB9BA4D7967}"/>
                  </a:ext>
                </a:extLst>
              </p:cNvPr>
              <p:cNvSpPr/>
              <p:nvPr/>
            </p:nvSpPr>
            <p:spPr>
              <a:xfrm>
                <a:off x="8273888" y="4089082"/>
                <a:ext cx="101726" cy="102870"/>
              </a:xfrm>
              <a:custGeom>
                <a:avLst/>
                <a:gdLst>
                  <a:gd name="connsiteX0" fmla="*/ 0 w 101726"/>
                  <a:gd name="connsiteY0" fmla="*/ 0 h 102870"/>
                  <a:gd name="connsiteX1" fmla="*/ 0 w 101726"/>
                  <a:gd name="connsiteY1" fmla="*/ 44101 h 102870"/>
                  <a:gd name="connsiteX2" fmla="*/ 101727 w 101726"/>
                  <a:gd name="connsiteY2" fmla="*/ 102870 h 102870"/>
                  <a:gd name="connsiteX3" fmla="*/ 101727 w 101726"/>
                  <a:gd name="connsiteY3" fmla="*/ 58769 h 102870"/>
                  <a:gd name="connsiteX4" fmla="*/ 0 w 101726"/>
                  <a:gd name="connsiteY4" fmla="*/ 0 h 102870"/>
                  <a:gd name="connsiteX5" fmla="*/ 0 w 101726"/>
                  <a:gd name="connsiteY5" fmla="*/ 0 h 102870"/>
                  <a:gd name="connsiteX6" fmla="*/ 0 w 101726"/>
                  <a:gd name="connsiteY6" fmla="*/ 0 h 102870"/>
                  <a:gd name="connsiteX7" fmla="*/ 0 w 101726"/>
                  <a:gd name="connsiteY7" fmla="*/ 0 h 102870"/>
                  <a:gd name="connsiteX8" fmla="*/ 0 w 101726"/>
                  <a:gd name="connsiteY8" fmla="*/ 0 h 1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102870">
                    <a:moveTo>
                      <a:pt x="0" y="0"/>
                    </a:moveTo>
                    <a:lnTo>
                      <a:pt x="0" y="44101"/>
                    </a:lnTo>
                    <a:lnTo>
                      <a:pt x="101727" y="102870"/>
                    </a:lnTo>
                    <a:lnTo>
                      <a:pt x="101727" y="5876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7" name="Freihandform: Form 4516">
                <a:extLst>
                  <a:ext uri="{FF2B5EF4-FFF2-40B4-BE49-F238E27FC236}">
                    <a16:creationId xmlns:a16="http://schemas.microsoft.com/office/drawing/2014/main" id="{012CEC18-EEF9-5BEF-3A14-8AD823FF4626}"/>
                  </a:ext>
                </a:extLst>
              </p:cNvPr>
              <p:cNvSpPr/>
              <p:nvPr/>
            </p:nvSpPr>
            <p:spPr>
              <a:xfrm>
                <a:off x="8273888" y="4110799"/>
                <a:ext cx="101726" cy="81153"/>
              </a:xfrm>
              <a:custGeom>
                <a:avLst/>
                <a:gdLst>
                  <a:gd name="connsiteX0" fmla="*/ 0 w 101726"/>
                  <a:gd name="connsiteY0" fmla="*/ 22098 h 81153"/>
                  <a:gd name="connsiteX1" fmla="*/ 38195 w 101726"/>
                  <a:gd name="connsiteY1" fmla="*/ 0 h 81153"/>
                  <a:gd name="connsiteX2" fmla="*/ 101727 w 101726"/>
                  <a:gd name="connsiteY2" fmla="*/ 36862 h 81153"/>
                  <a:gd name="connsiteX3" fmla="*/ 101727 w 101726"/>
                  <a:gd name="connsiteY3" fmla="*/ 81153 h 81153"/>
                  <a:gd name="connsiteX4" fmla="*/ 0 w 101726"/>
                  <a:gd name="connsiteY4" fmla="*/ 22098 h 81153"/>
                  <a:gd name="connsiteX5" fmla="*/ 0 w 101726"/>
                  <a:gd name="connsiteY5" fmla="*/ 22098 h 81153"/>
                  <a:gd name="connsiteX6" fmla="*/ 0 w 101726"/>
                  <a:gd name="connsiteY6" fmla="*/ 22098 h 81153"/>
                  <a:gd name="connsiteX7" fmla="*/ 0 w 101726"/>
                  <a:gd name="connsiteY7" fmla="*/ 22098 h 81153"/>
                  <a:gd name="connsiteX8" fmla="*/ 0 w 101726"/>
                  <a:gd name="connsiteY8" fmla="*/ 22098 h 8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6" h="81153">
                    <a:moveTo>
                      <a:pt x="0" y="22098"/>
                    </a:moveTo>
                    <a:lnTo>
                      <a:pt x="38195" y="0"/>
                    </a:lnTo>
                    <a:lnTo>
                      <a:pt x="101727" y="36862"/>
                    </a:lnTo>
                    <a:lnTo>
                      <a:pt x="101727" y="81153"/>
                    </a:lnTo>
                    <a:lnTo>
                      <a:pt x="0" y="22098"/>
                    </a:lnTo>
                    <a:lnTo>
                      <a:pt x="0" y="22098"/>
                    </a:lnTo>
                    <a:lnTo>
                      <a:pt x="0" y="22098"/>
                    </a:lnTo>
                    <a:lnTo>
                      <a:pt x="0" y="22098"/>
                    </a:lnTo>
                    <a:lnTo>
                      <a:pt x="0" y="22098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8" name="Freihandform: Form 4517">
                <a:extLst>
                  <a:ext uri="{FF2B5EF4-FFF2-40B4-BE49-F238E27FC236}">
                    <a16:creationId xmlns:a16="http://schemas.microsoft.com/office/drawing/2014/main" id="{980FFEFB-E4E4-FAA9-5B10-89750EA1F84A}"/>
                  </a:ext>
                </a:extLst>
              </p:cNvPr>
              <p:cNvSpPr/>
              <p:nvPr/>
            </p:nvSpPr>
            <p:spPr>
              <a:xfrm>
                <a:off x="8388187" y="4155375"/>
                <a:ext cx="101727" cy="101727"/>
              </a:xfrm>
              <a:custGeom>
                <a:avLst/>
                <a:gdLst>
                  <a:gd name="connsiteX0" fmla="*/ 0 w 101727"/>
                  <a:gd name="connsiteY0" fmla="*/ 0 h 101727"/>
                  <a:gd name="connsiteX1" fmla="*/ 0 w 101727"/>
                  <a:gd name="connsiteY1" fmla="*/ 43625 h 101727"/>
                  <a:gd name="connsiteX2" fmla="*/ 101727 w 101727"/>
                  <a:gd name="connsiteY2" fmla="*/ 101727 h 101727"/>
                  <a:gd name="connsiteX3" fmla="*/ 101727 w 101727"/>
                  <a:gd name="connsiteY3" fmla="*/ 58103 h 101727"/>
                  <a:gd name="connsiteX4" fmla="*/ 0 w 101727"/>
                  <a:gd name="connsiteY4" fmla="*/ 0 h 101727"/>
                  <a:gd name="connsiteX5" fmla="*/ 0 w 101727"/>
                  <a:gd name="connsiteY5" fmla="*/ 0 h 101727"/>
                  <a:gd name="connsiteX6" fmla="*/ 0 w 101727"/>
                  <a:gd name="connsiteY6" fmla="*/ 0 h 101727"/>
                  <a:gd name="connsiteX7" fmla="*/ 0 w 101727"/>
                  <a:gd name="connsiteY7" fmla="*/ 0 h 101727"/>
                  <a:gd name="connsiteX8" fmla="*/ 0 w 101727"/>
                  <a:gd name="connsiteY8" fmla="*/ 0 h 10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101727">
                    <a:moveTo>
                      <a:pt x="0" y="0"/>
                    </a:moveTo>
                    <a:lnTo>
                      <a:pt x="0" y="43625"/>
                    </a:lnTo>
                    <a:lnTo>
                      <a:pt x="101727" y="101727"/>
                    </a:lnTo>
                    <a:lnTo>
                      <a:pt x="101727" y="5810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9" name="Freihandform: Form 4518">
                <a:extLst>
                  <a:ext uri="{FF2B5EF4-FFF2-40B4-BE49-F238E27FC236}">
                    <a16:creationId xmlns:a16="http://schemas.microsoft.com/office/drawing/2014/main" id="{4061C1C9-C7DF-BB29-BA55-EE161285F48C}"/>
                  </a:ext>
                </a:extLst>
              </p:cNvPr>
              <p:cNvSpPr/>
              <p:nvPr/>
            </p:nvSpPr>
            <p:spPr>
              <a:xfrm>
                <a:off x="8388187" y="4177092"/>
                <a:ext cx="101727" cy="80010"/>
              </a:xfrm>
              <a:custGeom>
                <a:avLst/>
                <a:gdLst>
                  <a:gd name="connsiteX0" fmla="*/ 0 w 101727"/>
                  <a:gd name="connsiteY0" fmla="*/ 21812 h 80010"/>
                  <a:gd name="connsiteX1" fmla="*/ 38195 w 101727"/>
                  <a:gd name="connsiteY1" fmla="*/ 0 h 80010"/>
                  <a:gd name="connsiteX2" fmla="*/ 101727 w 101727"/>
                  <a:gd name="connsiteY2" fmla="*/ 36386 h 80010"/>
                  <a:gd name="connsiteX3" fmla="*/ 101727 w 101727"/>
                  <a:gd name="connsiteY3" fmla="*/ 80010 h 80010"/>
                  <a:gd name="connsiteX4" fmla="*/ 0 w 101727"/>
                  <a:gd name="connsiteY4" fmla="*/ 21812 h 80010"/>
                  <a:gd name="connsiteX5" fmla="*/ 0 w 101727"/>
                  <a:gd name="connsiteY5" fmla="*/ 21812 h 80010"/>
                  <a:gd name="connsiteX6" fmla="*/ 0 w 101727"/>
                  <a:gd name="connsiteY6" fmla="*/ 21812 h 80010"/>
                  <a:gd name="connsiteX7" fmla="*/ 0 w 101727"/>
                  <a:gd name="connsiteY7" fmla="*/ 21812 h 80010"/>
                  <a:gd name="connsiteX8" fmla="*/ 0 w 101727"/>
                  <a:gd name="connsiteY8" fmla="*/ 21812 h 80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80010">
                    <a:moveTo>
                      <a:pt x="0" y="21812"/>
                    </a:moveTo>
                    <a:lnTo>
                      <a:pt x="38195" y="0"/>
                    </a:lnTo>
                    <a:lnTo>
                      <a:pt x="101727" y="36386"/>
                    </a:lnTo>
                    <a:lnTo>
                      <a:pt x="101727" y="80010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lnTo>
                      <a:pt x="0" y="21812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0" name="Freihandform: Form 4519">
                <a:extLst>
                  <a:ext uri="{FF2B5EF4-FFF2-40B4-BE49-F238E27FC236}">
                    <a16:creationId xmlns:a16="http://schemas.microsoft.com/office/drawing/2014/main" id="{DFE9BE25-02EF-EAAD-B7D0-C2ED475D4A78}"/>
                  </a:ext>
                </a:extLst>
              </p:cNvPr>
              <p:cNvSpPr/>
              <p:nvPr/>
            </p:nvSpPr>
            <p:spPr>
              <a:xfrm>
                <a:off x="8756234" y="4023931"/>
                <a:ext cx="101727" cy="101726"/>
              </a:xfrm>
              <a:custGeom>
                <a:avLst/>
                <a:gdLst>
                  <a:gd name="connsiteX0" fmla="*/ 101727 w 101727"/>
                  <a:gd name="connsiteY0" fmla="*/ 0 h 101726"/>
                  <a:gd name="connsiteX1" fmla="*/ 101727 w 101727"/>
                  <a:gd name="connsiteY1" fmla="*/ 43624 h 101726"/>
                  <a:gd name="connsiteX2" fmla="*/ 0 w 101727"/>
                  <a:gd name="connsiteY2" fmla="*/ 101727 h 101726"/>
                  <a:gd name="connsiteX3" fmla="*/ 0 w 101727"/>
                  <a:gd name="connsiteY3" fmla="*/ 58102 h 101726"/>
                  <a:gd name="connsiteX4" fmla="*/ 101727 w 101727"/>
                  <a:gd name="connsiteY4" fmla="*/ 0 h 101726"/>
                  <a:gd name="connsiteX5" fmla="*/ 101727 w 101727"/>
                  <a:gd name="connsiteY5" fmla="*/ 0 h 101726"/>
                  <a:gd name="connsiteX6" fmla="*/ 101727 w 101727"/>
                  <a:gd name="connsiteY6" fmla="*/ 0 h 101726"/>
                  <a:gd name="connsiteX7" fmla="*/ 101727 w 101727"/>
                  <a:gd name="connsiteY7" fmla="*/ 0 h 101726"/>
                  <a:gd name="connsiteX8" fmla="*/ 101727 w 101727"/>
                  <a:gd name="connsiteY8" fmla="*/ 0 h 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101726">
                    <a:moveTo>
                      <a:pt x="101727" y="0"/>
                    </a:moveTo>
                    <a:lnTo>
                      <a:pt x="101727" y="43624"/>
                    </a:lnTo>
                    <a:lnTo>
                      <a:pt x="0" y="101727"/>
                    </a:lnTo>
                    <a:lnTo>
                      <a:pt x="0" y="58102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1" name="Freihandform: Form 4520">
                <a:extLst>
                  <a:ext uri="{FF2B5EF4-FFF2-40B4-BE49-F238E27FC236}">
                    <a16:creationId xmlns:a16="http://schemas.microsoft.com/office/drawing/2014/main" id="{0BC5A516-89F5-CE04-4185-42E5D254E03A}"/>
                  </a:ext>
                </a:extLst>
              </p:cNvPr>
              <p:cNvSpPr/>
              <p:nvPr/>
            </p:nvSpPr>
            <p:spPr>
              <a:xfrm>
                <a:off x="8756234" y="4045648"/>
                <a:ext cx="101727" cy="80009"/>
              </a:xfrm>
              <a:custGeom>
                <a:avLst/>
                <a:gdLst>
                  <a:gd name="connsiteX0" fmla="*/ 101727 w 101727"/>
                  <a:gd name="connsiteY0" fmla="*/ 21812 h 80009"/>
                  <a:gd name="connsiteX1" fmla="*/ 63627 w 101727"/>
                  <a:gd name="connsiteY1" fmla="*/ 0 h 80009"/>
                  <a:gd name="connsiteX2" fmla="*/ 0 w 101727"/>
                  <a:gd name="connsiteY2" fmla="*/ 36385 h 80009"/>
                  <a:gd name="connsiteX3" fmla="*/ 0 w 101727"/>
                  <a:gd name="connsiteY3" fmla="*/ 80010 h 80009"/>
                  <a:gd name="connsiteX4" fmla="*/ 101727 w 101727"/>
                  <a:gd name="connsiteY4" fmla="*/ 21812 h 80009"/>
                  <a:gd name="connsiteX5" fmla="*/ 101727 w 101727"/>
                  <a:gd name="connsiteY5" fmla="*/ 21812 h 80009"/>
                  <a:gd name="connsiteX6" fmla="*/ 101727 w 101727"/>
                  <a:gd name="connsiteY6" fmla="*/ 21812 h 80009"/>
                  <a:gd name="connsiteX7" fmla="*/ 101727 w 101727"/>
                  <a:gd name="connsiteY7" fmla="*/ 21812 h 80009"/>
                  <a:gd name="connsiteX8" fmla="*/ 101727 w 101727"/>
                  <a:gd name="connsiteY8" fmla="*/ 21812 h 8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80009">
                    <a:moveTo>
                      <a:pt x="101727" y="21812"/>
                    </a:moveTo>
                    <a:lnTo>
                      <a:pt x="63627" y="0"/>
                    </a:lnTo>
                    <a:lnTo>
                      <a:pt x="0" y="36385"/>
                    </a:lnTo>
                    <a:lnTo>
                      <a:pt x="0" y="80010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2" name="Freihandform: Form 4521">
                <a:extLst>
                  <a:ext uri="{FF2B5EF4-FFF2-40B4-BE49-F238E27FC236}">
                    <a16:creationId xmlns:a16="http://schemas.microsoft.com/office/drawing/2014/main" id="{2101338B-D3B8-AA72-7EAB-9D67326EE64C}"/>
                  </a:ext>
                </a:extLst>
              </p:cNvPr>
              <p:cNvSpPr/>
              <p:nvPr/>
            </p:nvSpPr>
            <p:spPr>
              <a:xfrm>
                <a:off x="8641933" y="4089082"/>
                <a:ext cx="100584" cy="102870"/>
              </a:xfrm>
              <a:custGeom>
                <a:avLst/>
                <a:gdLst>
                  <a:gd name="connsiteX0" fmla="*/ 100584 w 100584"/>
                  <a:gd name="connsiteY0" fmla="*/ 0 h 102870"/>
                  <a:gd name="connsiteX1" fmla="*/ 100584 w 100584"/>
                  <a:gd name="connsiteY1" fmla="*/ 44101 h 102870"/>
                  <a:gd name="connsiteX2" fmla="*/ 0 w 100584"/>
                  <a:gd name="connsiteY2" fmla="*/ 102870 h 102870"/>
                  <a:gd name="connsiteX3" fmla="*/ 0 w 100584"/>
                  <a:gd name="connsiteY3" fmla="*/ 58769 h 102870"/>
                  <a:gd name="connsiteX4" fmla="*/ 100584 w 100584"/>
                  <a:gd name="connsiteY4" fmla="*/ 0 h 102870"/>
                  <a:gd name="connsiteX5" fmla="*/ 100584 w 100584"/>
                  <a:gd name="connsiteY5" fmla="*/ 0 h 102870"/>
                  <a:gd name="connsiteX6" fmla="*/ 100584 w 100584"/>
                  <a:gd name="connsiteY6" fmla="*/ 0 h 102870"/>
                  <a:gd name="connsiteX7" fmla="*/ 100584 w 100584"/>
                  <a:gd name="connsiteY7" fmla="*/ 0 h 102870"/>
                  <a:gd name="connsiteX8" fmla="*/ 100584 w 100584"/>
                  <a:gd name="connsiteY8" fmla="*/ 0 h 1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4" h="102870">
                    <a:moveTo>
                      <a:pt x="100584" y="0"/>
                    </a:moveTo>
                    <a:lnTo>
                      <a:pt x="100584" y="44101"/>
                    </a:lnTo>
                    <a:lnTo>
                      <a:pt x="0" y="102870"/>
                    </a:lnTo>
                    <a:lnTo>
                      <a:pt x="0" y="58769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3" name="Freihandform: Form 4522">
                <a:extLst>
                  <a:ext uri="{FF2B5EF4-FFF2-40B4-BE49-F238E27FC236}">
                    <a16:creationId xmlns:a16="http://schemas.microsoft.com/office/drawing/2014/main" id="{84F4B415-A838-ED39-74A1-0E795A0D9776}"/>
                  </a:ext>
                </a:extLst>
              </p:cNvPr>
              <p:cNvSpPr/>
              <p:nvPr/>
            </p:nvSpPr>
            <p:spPr>
              <a:xfrm>
                <a:off x="8641933" y="4110799"/>
                <a:ext cx="100584" cy="81153"/>
              </a:xfrm>
              <a:custGeom>
                <a:avLst/>
                <a:gdLst>
                  <a:gd name="connsiteX0" fmla="*/ 100584 w 100584"/>
                  <a:gd name="connsiteY0" fmla="*/ 22098 h 81153"/>
                  <a:gd name="connsiteX1" fmla="*/ 62865 w 100584"/>
                  <a:gd name="connsiteY1" fmla="*/ 0 h 81153"/>
                  <a:gd name="connsiteX2" fmla="*/ 0 w 100584"/>
                  <a:gd name="connsiteY2" fmla="*/ 36862 h 81153"/>
                  <a:gd name="connsiteX3" fmla="*/ 0 w 100584"/>
                  <a:gd name="connsiteY3" fmla="*/ 81153 h 81153"/>
                  <a:gd name="connsiteX4" fmla="*/ 100584 w 100584"/>
                  <a:gd name="connsiteY4" fmla="*/ 22098 h 81153"/>
                  <a:gd name="connsiteX5" fmla="*/ 100584 w 100584"/>
                  <a:gd name="connsiteY5" fmla="*/ 22098 h 81153"/>
                  <a:gd name="connsiteX6" fmla="*/ 100584 w 100584"/>
                  <a:gd name="connsiteY6" fmla="*/ 22098 h 81153"/>
                  <a:gd name="connsiteX7" fmla="*/ 100584 w 100584"/>
                  <a:gd name="connsiteY7" fmla="*/ 22098 h 81153"/>
                  <a:gd name="connsiteX8" fmla="*/ 100584 w 100584"/>
                  <a:gd name="connsiteY8" fmla="*/ 22098 h 8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4" h="81153">
                    <a:moveTo>
                      <a:pt x="100584" y="22098"/>
                    </a:moveTo>
                    <a:lnTo>
                      <a:pt x="62865" y="0"/>
                    </a:lnTo>
                    <a:lnTo>
                      <a:pt x="0" y="36862"/>
                    </a:lnTo>
                    <a:lnTo>
                      <a:pt x="0" y="81153"/>
                    </a:lnTo>
                    <a:lnTo>
                      <a:pt x="100584" y="22098"/>
                    </a:lnTo>
                    <a:lnTo>
                      <a:pt x="100584" y="22098"/>
                    </a:lnTo>
                    <a:lnTo>
                      <a:pt x="100584" y="22098"/>
                    </a:lnTo>
                    <a:lnTo>
                      <a:pt x="100584" y="22098"/>
                    </a:lnTo>
                    <a:lnTo>
                      <a:pt x="100584" y="22098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4" name="Freihandform: Form 4523">
                <a:extLst>
                  <a:ext uri="{FF2B5EF4-FFF2-40B4-BE49-F238E27FC236}">
                    <a16:creationId xmlns:a16="http://schemas.microsoft.com/office/drawing/2014/main" id="{D82E4C43-5515-569E-4B2C-D479EB9EC1ED}"/>
                  </a:ext>
                </a:extLst>
              </p:cNvPr>
              <p:cNvSpPr/>
              <p:nvPr/>
            </p:nvSpPr>
            <p:spPr>
              <a:xfrm>
                <a:off x="8983690" y="3892486"/>
                <a:ext cx="101727" cy="101726"/>
              </a:xfrm>
              <a:custGeom>
                <a:avLst/>
                <a:gdLst>
                  <a:gd name="connsiteX0" fmla="*/ 101727 w 101727"/>
                  <a:gd name="connsiteY0" fmla="*/ 0 h 101726"/>
                  <a:gd name="connsiteX1" fmla="*/ 101727 w 101727"/>
                  <a:gd name="connsiteY1" fmla="*/ 43625 h 101726"/>
                  <a:gd name="connsiteX2" fmla="*/ 0 w 101727"/>
                  <a:gd name="connsiteY2" fmla="*/ 101727 h 101726"/>
                  <a:gd name="connsiteX3" fmla="*/ 0 w 101727"/>
                  <a:gd name="connsiteY3" fmla="*/ 58102 h 101726"/>
                  <a:gd name="connsiteX4" fmla="*/ 101727 w 101727"/>
                  <a:gd name="connsiteY4" fmla="*/ 0 h 101726"/>
                  <a:gd name="connsiteX5" fmla="*/ 101727 w 101727"/>
                  <a:gd name="connsiteY5" fmla="*/ 0 h 101726"/>
                  <a:gd name="connsiteX6" fmla="*/ 101727 w 101727"/>
                  <a:gd name="connsiteY6" fmla="*/ 0 h 101726"/>
                  <a:gd name="connsiteX7" fmla="*/ 101727 w 101727"/>
                  <a:gd name="connsiteY7" fmla="*/ 0 h 101726"/>
                  <a:gd name="connsiteX8" fmla="*/ 101727 w 101727"/>
                  <a:gd name="connsiteY8" fmla="*/ 0 h 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101726">
                    <a:moveTo>
                      <a:pt x="101727" y="0"/>
                    </a:moveTo>
                    <a:lnTo>
                      <a:pt x="101727" y="43625"/>
                    </a:lnTo>
                    <a:lnTo>
                      <a:pt x="0" y="101727"/>
                    </a:lnTo>
                    <a:lnTo>
                      <a:pt x="0" y="58102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lnTo>
                      <a:pt x="101727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5" name="Freihandform: Form 4524">
                <a:extLst>
                  <a:ext uri="{FF2B5EF4-FFF2-40B4-BE49-F238E27FC236}">
                    <a16:creationId xmlns:a16="http://schemas.microsoft.com/office/drawing/2014/main" id="{9948E921-8808-EEC5-8B19-4C0C0E2C21BC}"/>
                  </a:ext>
                </a:extLst>
              </p:cNvPr>
              <p:cNvSpPr/>
              <p:nvPr/>
            </p:nvSpPr>
            <p:spPr>
              <a:xfrm>
                <a:off x="8983690" y="3914203"/>
                <a:ext cx="101727" cy="80009"/>
              </a:xfrm>
              <a:custGeom>
                <a:avLst/>
                <a:gdLst>
                  <a:gd name="connsiteX0" fmla="*/ 101727 w 101727"/>
                  <a:gd name="connsiteY0" fmla="*/ 21812 h 80009"/>
                  <a:gd name="connsiteX1" fmla="*/ 63532 w 101727"/>
                  <a:gd name="connsiteY1" fmla="*/ 0 h 80009"/>
                  <a:gd name="connsiteX2" fmla="*/ 0 w 101727"/>
                  <a:gd name="connsiteY2" fmla="*/ 36385 h 80009"/>
                  <a:gd name="connsiteX3" fmla="*/ 0 w 101727"/>
                  <a:gd name="connsiteY3" fmla="*/ 80010 h 80009"/>
                  <a:gd name="connsiteX4" fmla="*/ 101727 w 101727"/>
                  <a:gd name="connsiteY4" fmla="*/ 21812 h 80009"/>
                  <a:gd name="connsiteX5" fmla="*/ 101727 w 101727"/>
                  <a:gd name="connsiteY5" fmla="*/ 21812 h 80009"/>
                  <a:gd name="connsiteX6" fmla="*/ 101727 w 101727"/>
                  <a:gd name="connsiteY6" fmla="*/ 21812 h 80009"/>
                  <a:gd name="connsiteX7" fmla="*/ 101727 w 101727"/>
                  <a:gd name="connsiteY7" fmla="*/ 21812 h 80009"/>
                  <a:gd name="connsiteX8" fmla="*/ 101727 w 101727"/>
                  <a:gd name="connsiteY8" fmla="*/ 21812 h 80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27" h="80009">
                    <a:moveTo>
                      <a:pt x="101727" y="21812"/>
                    </a:moveTo>
                    <a:lnTo>
                      <a:pt x="63532" y="0"/>
                    </a:lnTo>
                    <a:lnTo>
                      <a:pt x="0" y="36385"/>
                    </a:lnTo>
                    <a:lnTo>
                      <a:pt x="0" y="80010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lnTo>
                      <a:pt x="101727" y="21812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6" name="Freihandform: Form 4525">
                <a:extLst>
                  <a:ext uri="{FF2B5EF4-FFF2-40B4-BE49-F238E27FC236}">
                    <a16:creationId xmlns:a16="http://schemas.microsoft.com/office/drawing/2014/main" id="{18611D6A-69C9-2793-D2A6-2E50E89221EC}"/>
                  </a:ext>
                </a:extLst>
              </p:cNvPr>
              <p:cNvSpPr/>
              <p:nvPr/>
            </p:nvSpPr>
            <p:spPr>
              <a:xfrm>
                <a:off x="8870534" y="3957637"/>
                <a:ext cx="100583" cy="102870"/>
              </a:xfrm>
              <a:custGeom>
                <a:avLst/>
                <a:gdLst>
                  <a:gd name="connsiteX0" fmla="*/ 100584 w 100583"/>
                  <a:gd name="connsiteY0" fmla="*/ 0 h 102870"/>
                  <a:gd name="connsiteX1" fmla="*/ 100584 w 100583"/>
                  <a:gd name="connsiteY1" fmla="*/ 44101 h 102870"/>
                  <a:gd name="connsiteX2" fmla="*/ 0 w 100583"/>
                  <a:gd name="connsiteY2" fmla="*/ 102870 h 102870"/>
                  <a:gd name="connsiteX3" fmla="*/ 0 w 100583"/>
                  <a:gd name="connsiteY3" fmla="*/ 58769 h 102870"/>
                  <a:gd name="connsiteX4" fmla="*/ 100584 w 100583"/>
                  <a:gd name="connsiteY4" fmla="*/ 0 h 102870"/>
                  <a:gd name="connsiteX5" fmla="*/ 100584 w 100583"/>
                  <a:gd name="connsiteY5" fmla="*/ 0 h 102870"/>
                  <a:gd name="connsiteX6" fmla="*/ 100584 w 100583"/>
                  <a:gd name="connsiteY6" fmla="*/ 0 h 102870"/>
                  <a:gd name="connsiteX7" fmla="*/ 100584 w 100583"/>
                  <a:gd name="connsiteY7" fmla="*/ 0 h 102870"/>
                  <a:gd name="connsiteX8" fmla="*/ 100584 w 100583"/>
                  <a:gd name="connsiteY8" fmla="*/ 0 h 1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3" h="102870">
                    <a:moveTo>
                      <a:pt x="100584" y="0"/>
                    </a:moveTo>
                    <a:lnTo>
                      <a:pt x="100584" y="44101"/>
                    </a:lnTo>
                    <a:lnTo>
                      <a:pt x="0" y="102870"/>
                    </a:lnTo>
                    <a:lnTo>
                      <a:pt x="0" y="58769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lnTo>
                      <a:pt x="100584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7" name="Freihandform: Form 4526">
                <a:extLst>
                  <a:ext uri="{FF2B5EF4-FFF2-40B4-BE49-F238E27FC236}">
                    <a16:creationId xmlns:a16="http://schemas.microsoft.com/office/drawing/2014/main" id="{EB13607A-9021-BC13-9B3D-684C43DFDC6C}"/>
                  </a:ext>
                </a:extLst>
              </p:cNvPr>
              <p:cNvSpPr/>
              <p:nvPr/>
            </p:nvSpPr>
            <p:spPr>
              <a:xfrm>
                <a:off x="8870534" y="3980496"/>
                <a:ext cx="100583" cy="80010"/>
              </a:xfrm>
              <a:custGeom>
                <a:avLst/>
                <a:gdLst>
                  <a:gd name="connsiteX0" fmla="*/ 100584 w 100583"/>
                  <a:gd name="connsiteY0" fmla="*/ 21812 h 80010"/>
                  <a:gd name="connsiteX1" fmla="*/ 62865 w 100583"/>
                  <a:gd name="connsiteY1" fmla="*/ 0 h 80010"/>
                  <a:gd name="connsiteX2" fmla="*/ 0 w 100583"/>
                  <a:gd name="connsiteY2" fmla="*/ 36386 h 80010"/>
                  <a:gd name="connsiteX3" fmla="*/ 0 w 100583"/>
                  <a:gd name="connsiteY3" fmla="*/ 80010 h 80010"/>
                  <a:gd name="connsiteX4" fmla="*/ 100584 w 100583"/>
                  <a:gd name="connsiteY4" fmla="*/ 21812 h 80010"/>
                  <a:gd name="connsiteX5" fmla="*/ 100584 w 100583"/>
                  <a:gd name="connsiteY5" fmla="*/ 21812 h 80010"/>
                  <a:gd name="connsiteX6" fmla="*/ 100584 w 100583"/>
                  <a:gd name="connsiteY6" fmla="*/ 21812 h 80010"/>
                  <a:gd name="connsiteX7" fmla="*/ 100584 w 100583"/>
                  <a:gd name="connsiteY7" fmla="*/ 21812 h 80010"/>
                  <a:gd name="connsiteX8" fmla="*/ 100584 w 100583"/>
                  <a:gd name="connsiteY8" fmla="*/ 21812 h 80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83" h="80010">
                    <a:moveTo>
                      <a:pt x="100584" y="21812"/>
                    </a:moveTo>
                    <a:lnTo>
                      <a:pt x="62865" y="0"/>
                    </a:lnTo>
                    <a:lnTo>
                      <a:pt x="0" y="36386"/>
                    </a:lnTo>
                    <a:lnTo>
                      <a:pt x="0" y="80010"/>
                    </a:lnTo>
                    <a:lnTo>
                      <a:pt x="100584" y="21812"/>
                    </a:lnTo>
                    <a:lnTo>
                      <a:pt x="100584" y="21812"/>
                    </a:lnTo>
                    <a:lnTo>
                      <a:pt x="100584" y="21812"/>
                    </a:lnTo>
                    <a:lnTo>
                      <a:pt x="100584" y="21812"/>
                    </a:lnTo>
                    <a:lnTo>
                      <a:pt x="100584" y="21812"/>
                    </a:lnTo>
                    <a:close/>
                  </a:path>
                </a:pathLst>
              </a:custGeom>
              <a:solidFill>
                <a:srgbClr val="CCCCD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8" name="Freihandform: Form 4527">
                <a:extLst>
                  <a:ext uri="{FF2B5EF4-FFF2-40B4-BE49-F238E27FC236}">
                    <a16:creationId xmlns:a16="http://schemas.microsoft.com/office/drawing/2014/main" id="{6C090B40-1657-4F8D-E923-F79FF3D237B3}"/>
                  </a:ext>
                </a:extLst>
              </p:cNvPr>
              <p:cNvSpPr/>
              <p:nvPr/>
            </p:nvSpPr>
            <p:spPr>
              <a:xfrm>
                <a:off x="8617550" y="4155375"/>
                <a:ext cx="11810" cy="168783"/>
              </a:xfrm>
              <a:custGeom>
                <a:avLst/>
                <a:gdLst>
                  <a:gd name="connsiteX0" fmla="*/ 11811 w 11810"/>
                  <a:gd name="connsiteY0" fmla="*/ 0 h 168783"/>
                  <a:gd name="connsiteX1" fmla="*/ 11811 w 11810"/>
                  <a:gd name="connsiteY1" fmla="*/ 168783 h 168783"/>
                  <a:gd name="connsiteX2" fmla="*/ 0 w 11810"/>
                  <a:gd name="connsiteY2" fmla="*/ 163449 h 168783"/>
                  <a:gd name="connsiteX3" fmla="*/ 0 w 11810"/>
                  <a:gd name="connsiteY3" fmla="*/ 6858 h 168783"/>
                  <a:gd name="connsiteX4" fmla="*/ 11811 w 11810"/>
                  <a:gd name="connsiteY4" fmla="*/ 0 h 168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10" h="168783">
                    <a:moveTo>
                      <a:pt x="11811" y="0"/>
                    </a:moveTo>
                    <a:lnTo>
                      <a:pt x="11811" y="168783"/>
                    </a:lnTo>
                    <a:lnTo>
                      <a:pt x="0" y="163449"/>
                    </a:lnTo>
                    <a:lnTo>
                      <a:pt x="0" y="6858"/>
                    </a:lnTo>
                    <a:lnTo>
                      <a:pt x="11811" y="0"/>
                    </a:ln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9" name="Freihandform: Form 4528">
                <a:extLst>
                  <a:ext uri="{FF2B5EF4-FFF2-40B4-BE49-F238E27FC236}">
                    <a16:creationId xmlns:a16="http://schemas.microsoft.com/office/drawing/2014/main" id="{881CE74B-16B1-59BE-5930-BE3B28AD2E03}"/>
                  </a:ext>
                </a:extLst>
              </p:cNvPr>
              <p:cNvSpPr/>
              <p:nvPr/>
            </p:nvSpPr>
            <p:spPr>
              <a:xfrm>
                <a:off x="8527633" y="4162233"/>
                <a:ext cx="89916" cy="208407"/>
              </a:xfrm>
              <a:custGeom>
                <a:avLst/>
                <a:gdLst>
                  <a:gd name="connsiteX0" fmla="*/ 89916 w 89916"/>
                  <a:gd name="connsiteY0" fmla="*/ 0 h 208407"/>
                  <a:gd name="connsiteX1" fmla="*/ 89916 w 89916"/>
                  <a:gd name="connsiteY1" fmla="*/ 156591 h 208407"/>
                  <a:gd name="connsiteX2" fmla="*/ 0 w 89916"/>
                  <a:gd name="connsiteY2" fmla="*/ 208407 h 208407"/>
                  <a:gd name="connsiteX3" fmla="*/ 0 w 89916"/>
                  <a:gd name="connsiteY3" fmla="*/ 51816 h 208407"/>
                  <a:gd name="connsiteX4" fmla="*/ 89916 w 89916"/>
                  <a:gd name="connsiteY4" fmla="*/ 0 h 20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916" h="208407">
                    <a:moveTo>
                      <a:pt x="89916" y="0"/>
                    </a:moveTo>
                    <a:lnTo>
                      <a:pt x="89916" y="156591"/>
                    </a:lnTo>
                    <a:lnTo>
                      <a:pt x="0" y="208407"/>
                    </a:lnTo>
                    <a:lnTo>
                      <a:pt x="0" y="51816"/>
                    </a:lnTo>
                    <a:lnTo>
                      <a:pt x="89916" y="0"/>
                    </a:lnTo>
                    <a:close/>
                  </a:path>
                </a:pathLst>
              </a:custGeom>
              <a:solidFill>
                <a:srgbClr val="9999A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30" name="Freihandform: Form 4529">
              <a:extLst>
                <a:ext uri="{FF2B5EF4-FFF2-40B4-BE49-F238E27FC236}">
                  <a16:creationId xmlns:a16="http://schemas.microsoft.com/office/drawing/2014/main" id="{46495846-0228-8BD0-B146-0519E6940FB7}"/>
                </a:ext>
              </a:extLst>
            </p:cNvPr>
            <p:cNvSpPr/>
            <p:nvPr/>
          </p:nvSpPr>
          <p:spPr>
            <a:xfrm>
              <a:off x="7217865" y="3765744"/>
              <a:ext cx="834124" cy="331365"/>
            </a:xfrm>
            <a:custGeom>
              <a:avLst/>
              <a:gdLst>
                <a:gd name="connsiteX0" fmla="*/ 1751706 w 1751706"/>
                <a:gd name="connsiteY0" fmla="*/ 1291012 h 1941187"/>
                <a:gd name="connsiteX1" fmla="*/ 683104 w 1751706"/>
                <a:gd name="connsiteY1" fmla="*/ 1941187 h 1941187"/>
                <a:gd name="connsiteX2" fmla="*/ 391350 w 1751706"/>
                <a:gd name="connsiteY2" fmla="*/ 1773804 h 1941187"/>
                <a:gd name="connsiteX3" fmla="*/ 391350 w 1751706"/>
                <a:gd name="connsiteY3" fmla="*/ 638348 h 1941187"/>
                <a:gd name="connsiteX4" fmla="*/ 0 w 1751706"/>
                <a:gd name="connsiteY4" fmla="*/ 416685 h 1941187"/>
                <a:gd name="connsiteX5" fmla="*/ 0 w 1751706"/>
                <a:gd name="connsiteY5" fmla="*/ 72830 h 1941187"/>
                <a:gd name="connsiteX6" fmla="*/ 149519 w 1751706"/>
                <a:gd name="connsiteY6" fmla="*/ 0 h 1941187"/>
                <a:gd name="connsiteX0" fmla="*/ 1751706 w 1751706"/>
                <a:gd name="connsiteY0" fmla="*/ 1291012 h 1941187"/>
                <a:gd name="connsiteX1" fmla="*/ 683104 w 1751706"/>
                <a:gd name="connsiteY1" fmla="*/ 1941187 h 1941187"/>
                <a:gd name="connsiteX2" fmla="*/ 391350 w 1751706"/>
                <a:gd name="connsiteY2" fmla="*/ 1773804 h 1941187"/>
                <a:gd name="connsiteX3" fmla="*/ 391350 w 1751706"/>
                <a:gd name="connsiteY3" fmla="*/ 638348 h 1941187"/>
                <a:gd name="connsiteX4" fmla="*/ 6118 w 1751706"/>
                <a:gd name="connsiteY4" fmla="*/ 1059146 h 1941187"/>
                <a:gd name="connsiteX5" fmla="*/ 0 w 1751706"/>
                <a:gd name="connsiteY5" fmla="*/ 72830 h 1941187"/>
                <a:gd name="connsiteX6" fmla="*/ 149519 w 1751706"/>
                <a:gd name="connsiteY6" fmla="*/ 0 h 1941187"/>
                <a:gd name="connsiteX0" fmla="*/ 1751706 w 1751706"/>
                <a:gd name="connsiteY0" fmla="*/ 1291012 h 1941187"/>
                <a:gd name="connsiteX1" fmla="*/ 683104 w 1751706"/>
                <a:gd name="connsiteY1" fmla="*/ 1941187 h 1941187"/>
                <a:gd name="connsiteX2" fmla="*/ 391350 w 1751706"/>
                <a:gd name="connsiteY2" fmla="*/ 1773804 h 1941187"/>
                <a:gd name="connsiteX3" fmla="*/ 391349 w 1751706"/>
                <a:gd name="connsiteY3" fmla="*/ 1537793 h 1941187"/>
                <a:gd name="connsiteX4" fmla="*/ 6118 w 1751706"/>
                <a:gd name="connsiteY4" fmla="*/ 1059146 h 1941187"/>
                <a:gd name="connsiteX5" fmla="*/ 0 w 1751706"/>
                <a:gd name="connsiteY5" fmla="*/ 72830 h 1941187"/>
                <a:gd name="connsiteX6" fmla="*/ 149519 w 1751706"/>
                <a:gd name="connsiteY6" fmla="*/ 0 h 1941187"/>
                <a:gd name="connsiteX0" fmla="*/ 2094360 w 2094360"/>
                <a:gd name="connsiteY0" fmla="*/ 1291012 h 1941187"/>
                <a:gd name="connsiteX1" fmla="*/ 1025758 w 2094360"/>
                <a:gd name="connsiteY1" fmla="*/ 1941187 h 1941187"/>
                <a:gd name="connsiteX2" fmla="*/ 734004 w 2094360"/>
                <a:gd name="connsiteY2" fmla="*/ 1773804 h 1941187"/>
                <a:gd name="connsiteX3" fmla="*/ 734003 w 2094360"/>
                <a:gd name="connsiteY3" fmla="*/ 1537793 h 1941187"/>
                <a:gd name="connsiteX4" fmla="*/ 8 w 2094360"/>
                <a:gd name="connsiteY4" fmla="*/ 1120331 h 1941187"/>
                <a:gd name="connsiteX5" fmla="*/ 342654 w 2094360"/>
                <a:gd name="connsiteY5" fmla="*/ 72830 h 1941187"/>
                <a:gd name="connsiteX6" fmla="*/ 492173 w 2094360"/>
                <a:gd name="connsiteY6" fmla="*/ 0 h 1941187"/>
                <a:gd name="connsiteX0" fmla="*/ 2143309 w 2143309"/>
                <a:gd name="connsiteY0" fmla="*/ 1291012 h 1941187"/>
                <a:gd name="connsiteX1" fmla="*/ 1074707 w 2143309"/>
                <a:gd name="connsiteY1" fmla="*/ 1941187 h 1941187"/>
                <a:gd name="connsiteX2" fmla="*/ 782953 w 2143309"/>
                <a:gd name="connsiteY2" fmla="*/ 1773804 h 1941187"/>
                <a:gd name="connsiteX3" fmla="*/ 782952 w 2143309"/>
                <a:gd name="connsiteY3" fmla="*/ 1537793 h 1941187"/>
                <a:gd name="connsiteX4" fmla="*/ 7 w 2143309"/>
                <a:gd name="connsiteY4" fmla="*/ 1089738 h 1941187"/>
                <a:gd name="connsiteX5" fmla="*/ 391603 w 2143309"/>
                <a:gd name="connsiteY5" fmla="*/ 72830 h 1941187"/>
                <a:gd name="connsiteX6" fmla="*/ 541122 w 2143309"/>
                <a:gd name="connsiteY6" fmla="*/ 0 h 1941187"/>
                <a:gd name="connsiteX0" fmla="*/ 2145753 w 2145753"/>
                <a:gd name="connsiteY0" fmla="*/ 1291012 h 1941187"/>
                <a:gd name="connsiteX1" fmla="*/ 1077151 w 2145753"/>
                <a:gd name="connsiteY1" fmla="*/ 1941187 h 1941187"/>
                <a:gd name="connsiteX2" fmla="*/ 785397 w 2145753"/>
                <a:gd name="connsiteY2" fmla="*/ 1773804 h 1941187"/>
                <a:gd name="connsiteX3" fmla="*/ 785396 w 2145753"/>
                <a:gd name="connsiteY3" fmla="*/ 1537793 h 1941187"/>
                <a:gd name="connsiteX4" fmla="*/ 2451 w 2145753"/>
                <a:gd name="connsiteY4" fmla="*/ 1089738 h 1941187"/>
                <a:gd name="connsiteX5" fmla="*/ 543566 w 2145753"/>
                <a:gd name="connsiteY5" fmla="*/ 0 h 1941187"/>
                <a:gd name="connsiteX0" fmla="*/ 2143302 w 2143302"/>
                <a:gd name="connsiteY0" fmla="*/ 201274 h 851449"/>
                <a:gd name="connsiteX1" fmla="*/ 1074700 w 2143302"/>
                <a:gd name="connsiteY1" fmla="*/ 851449 h 851449"/>
                <a:gd name="connsiteX2" fmla="*/ 782946 w 2143302"/>
                <a:gd name="connsiteY2" fmla="*/ 684066 h 851449"/>
                <a:gd name="connsiteX3" fmla="*/ 782945 w 2143302"/>
                <a:gd name="connsiteY3" fmla="*/ 448055 h 851449"/>
                <a:gd name="connsiteX4" fmla="*/ 0 w 2143302"/>
                <a:gd name="connsiteY4" fmla="*/ 0 h 85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3302" h="851449">
                  <a:moveTo>
                    <a:pt x="2143302" y="201274"/>
                  </a:moveTo>
                  <a:lnTo>
                    <a:pt x="1074700" y="851449"/>
                  </a:lnTo>
                  <a:lnTo>
                    <a:pt x="782946" y="684066"/>
                  </a:lnTo>
                  <a:cubicBezTo>
                    <a:pt x="782946" y="605396"/>
                    <a:pt x="782945" y="526725"/>
                    <a:pt x="782945" y="448055"/>
                  </a:cubicBez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805C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31" name="Freihandform: Form 4530">
              <a:extLst>
                <a:ext uri="{FF2B5EF4-FFF2-40B4-BE49-F238E27FC236}">
                  <a16:creationId xmlns:a16="http://schemas.microsoft.com/office/drawing/2014/main" id="{0A5F2E05-ECA5-D767-39A5-03FFF68DADD7}"/>
                </a:ext>
              </a:extLst>
            </p:cNvPr>
            <p:cNvSpPr/>
            <p:nvPr/>
          </p:nvSpPr>
          <p:spPr>
            <a:xfrm>
              <a:off x="7250967" y="3748226"/>
              <a:ext cx="801000" cy="304647"/>
            </a:xfrm>
            <a:custGeom>
              <a:avLst/>
              <a:gdLst>
                <a:gd name="connsiteX0" fmla="*/ 98413 w 1654351"/>
                <a:gd name="connsiteY0" fmla="*/ 0 h 1759175"/>
                <a:gd name="connsiteX1" fmla="*/ 1681 w 1654351"/>
                <a:gd name="connsiteY1" fmla="*/ 61065 h 1759175"/>
                <a:gd name="connsiteX2" fmla="*/ 0 w 1654351"/>
                <a:gd name="connsiteY2" fmla="*/ 284969 h 1759175"/>
                <a:gd name="connsiteX3" fmla="*/ 393591 w 1654351"/>
                <a:gd name="connsiteY3" fmla="*/ 512297 h 1759175"/>
                <a:gd name="connsiteX4" fmla="*/ 393591 w 1654351"/>
                <a:gd name="connsiteY4" fmla="*/ 1647690 h 1759175"/>
                <a:gd name="connsiteX5" fmla="*/ 588674 w 1654351"/>
                <a:gd name="connsiteY5" fmla="*/ 1759176 h 1759175"/>
                <a:gd name="connsiteX6" fmla="*/ 1654351 w 1654351"/>
                <a:gd name="connsiteY6" fmla="*/ 1144793 h 1759175"/>
                <a:gd name="connsiteX0" fmla="*/ 98413 w 1654351"/>
                <a:gd name="connsiteY0" fmla="*/ 0 h 1759175"/>
                <a:gd name="connsiteX1" fmla="*/ 1681 w 1654351"/>
                <a:gd name="connsiteY1" fmla="*/ 61065 h 1759175"/>
                <a:gd name="connsiteX2" fmla="*/ 0 w 1654351"/>
                <a:gd name="connsiteY2" fmla="*/ 284969 h 1759175"/>
                <a:gd name="connsiteX3" fmla="*/ 393591 w 1654351"/>
                <a:gd name="connsiteY3" fmla="*/ 1423979 h 1759175"/>
                <a:gd name="connsiteX4" fmla="*/ 393591 w 1654351"/>
                <a:gd name="connsiteY4" fmla="*/ 1647690 h 1759175"/>
                <a:gd name="connsiteX5" fmla="*/ 588674 w 1654351"/>
                <a:gd name="connsiteY5" fmla="*/ 1759176 h 1759175"/>
                <a:gd name="connsiteX6" fmla="*/ 1654351 w 1654351"/>
                <a:gd name="connsiteY6" fmla="*/ 1144793 h 1759175"/>
                <a:gd name="connsiteX0" fmla="*/ 502246 w 2058184"/>
                <a:gd name="connsiteY0" fmla="*/ 0 h 1759175"/>
                <a:gd name="connsiteX1" fmla="*/ 405514 w 2058184"/>
                <a:gd name="connsiteY1" fmla="*/ 61065 h 1759175"/>
                <a:gd name="connsiteX2" fmla="*/ 0 w 2058184"/>
                <a:gd name="connsiteY2" fmla="*/ 976379 h 1759175"/>
                <a:gd name="connsiteX3" fmla="*/ 797424 w 2058184"/>
                <a:gd name="connsiteY3" fmla="*/ 1423979 h 1759175"/>
                <a:gd name="connsiteX4" fmla="*/ 797424 w 2058184"/>
                <a:gd name="connsiteY4" fmla="*/ 1647690 h 1759175"/>
                <a:gd name="connsiteX5" fmla="*/ 992507 w 2058184"/>
                <a:gd name="connsiteY5" fmla="*/ 1759176 h 1759175"/>
                <a:gd name="connsiteX6" fmla="*/ 2058184 w 2058184"/>
                <a:gd name="connsiteY6" fmla="*/ 1144793 h 1759175"/>
                <a:gd name="connsiteX0" fmla="*/ 502246 w 2058184"/>
                <a:gd name="connsiteY0" fmla="*/ 0 h 1759175"/>
                <a:gd name="connsiteX1" fmla="*/ 0 w 2058184"/>
                <a:gd name="connsiteY1" fmla="*/ 976379 h 1759175"/>
                <a:gd name="connsiteX2" fmla="*/ 797424 w 2058184"/>
                <a:gd name="connsiteY2" fmla="*/ 1423979 h 1759175"/>
                <a:gd name="connsiteX3" fmla="*/ 797424 w 2058184"/>
                <a:gd name="connsiteY3" fmla="*/ 1647690 h 1759175"/>
                <a:gd name="connsiteX4" fmla="*/ 992507 w 2058184"/>
                <a:gd name="connsiteY4" fmla="*/ 1759176 h 1759175"/>
                <a:gd name="connsiteX5" fmla="*/ 2058184 w 2058184"/>
                <a:gd name="connsiteY5" fmla="*/ 1144793 h 1759175"/>
                <a:gd name="connsiteX0" fmla="*/ 0 w 2058184"/>
                <a:gd name="connsiteY0" fmla="*/ 0 h 782796"/>
                <a:gd name="connsiteX1" fmla="*/ 797424 w 2058184"/>
                <a:gd name="connsiteY1" fmla="*/ 447600 h 782796"/>
                <a:gd name="connsiteX2" fmla="*/ 797424 w 2058184"/>
                <a:gd name="connsiteY2" fmla="*/ 671311 h 782796"/>
                <a:gd name="connsiteX3" fmla="*/ 992507 w 2058184"/>
                <a:gd name="connsiteY3" fmla="*/ 782797 h 782796"/>
                <a:gd name="connsiteX4" fmla="*/ 2058184 w 2058184"/>
                <a:gd name="connsiteY4" fmla="*/ 168414 h 782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8184" h="782796">
                  <a:moveTo>
                    <a:pt x="0" y="0"/>
                  </a:moveTo>
                  <a:lnTo>
                    <a:pt x="797424" y="447600"/>
                  </a:lnTo>
                  <a:lnTo>
                    <a:pt x="797424" y="671311"/>
                  </a:lnTo>
                  <a:lnTo>
                    <a:pt x="992507" y="782797"/>
                  </a:lnTo>
                  <a:lnTo>
                    <a:pt x="2058184" y="168414"/>
                  </a:lnTo>
                </a:path>
              </a:pathLst>
            </a:custGeom>
            <a:noFill/>
            <a:ln w="12700" cap="flat">
              <a:solidFill>
                <a:srgbClr val="B4A8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32" name="Freihandform: Form 4531">
              <a:extLst>
                <a:ext uri="{FF2B5EF4-FFF2-40B4-BE49-F238E27FC236}">
                  <a16:creationId xmlns:a16="http://schemas.microsoft.com/office/drawing/2014/main" id="{E5057104-096A-3CA5-7276-3ADE64EB7D37}"/>
                </a:ext>
              </a:extLst>
            </p:cNvPr>
            <p:cNvSpPr/>
            <p:nvPr/>
          </p:nvSpPr>
          <p:spPr>
            <a:xfrm>
              <a:off x="7702061" y="3670669"/>
              <a:ext cx="78785" cy="391117"/>
            </a:xfrm>
            <a:custGeom>
              <a:avLst/>
              <a:gdLst>
                <a:gd name="connsiteX0" fmla="*/ 144414 w 291815"/>
                <a:gd name="connsiteY0" fmla="*/ 3550408 h 3550408"/>
                <a:gd name="connsiteX1" fmla="*/ 0 w 291815"/>
                <a:gd name="connsiteY1" fmla="*/ 3459527 h 3550408"/>
                <a:gd name="connsiteX2" fmla="*/ 0 w 291815"/>
                <a:gd name="connsiteY2" fmla="*/ 2558682 h 3550408"/>
                <a:gd name="connsiteX3" fmla="*/ 291816 w 291815"/>
                <a:gd name="connsiteY3" fmla="*/ 2387315 h 3550408"/>
                <a:gd name="connsiteX4" fmla="*/ 291816 w 291815"/>
                <a:gd name="connsiteY4" fmla="*/ 234548 h 3550408"/>
                <a:gd name="connsiteX5" fmla="*/ 191722 w 291815"/>
                <a:gd name="connsiteY5" fmla="*/ 178588 h 3550408"/>
                <a:gd name="connsiteX6" fmla="*/ 95052 w 291815"/>
                <a:gd name="connsiteY6" fmla="*/ 119204 h 3550408"/>
                <a:gd name="connsiteX7" fmla="*/ 95052 w 291815"/>
                <a:gd name="connsiteY7" fmla="*/ 0 h 3550408"/>
                <a:gd name="connsiteX0" fmla="*/ 0 w 291815"/>
                <a:gd name="connsiteY0" fmla="*/ 3459527 h 3459526"/>
                <a:gd name="connsiteX1" fmla="*/ 0 w 291815"/>
                <a:gd name="connsiteY1" fmla="*/ 2558682 h 3459526"/>
                <a:gd name="connsiteX2" fmla="*/ 291816 w 291815"/>
                <a:gd name="connsiteY2" fmla="*/ 2387315 h 3459526"/>
                <a:gd name="connsiteX3" fmla="*/ 291816 w 291815"/>
                <a:gd name="connsiteY3" fmla="*/ 234548 h 3459526"/>
                <a:gd name="connsiteX4" fmla="*/ 191722 w 291815"/>
                <a:gd name="connsiteY4" fmla="*/ 178588 h 3459526"/>
                <a:gd name="connsiteX5" fmla="*/ 95052 w 291815"/>
                <a:gd name="connsiteY5" fmla="*/ 119204 h 3459526"/>
                <a:gd name="connsiteX6" fmla="*/ 95052 w 291815"/>
                <a:gd name="connsiteY6" fmla="*/ 0 h 3459526"/>
                <a:gd name="connsiteX0" fmla="*/ 0 w 291815"/>
                <a:gd name="connsiteY0" fmla="*/ 3058435 h 3058435"/>
                <a:gd name="connsiteX1" fmla="*/ 0 w 291815"/>
                <a:gd name="connsiteY1" fmla="*/ 2558682 h 3058435"/>
                <a:gd name="connsiteX2" fmla="*/ 291816 w 291815"/>
                <a:gd name="connsiteY2" fmla="*/ 2387315 h 3058435"/>
                <a:gd name="connsiteX3" fmla="*/ 291816 w 291815"/>
                <a:gd name="connsiteY3" fmla="*/ 234548 h 3058435"/>
                <a:gd name="connsiteX4" fmla="*/ 191722 w 291815"/>
                <a:gd name="connsiteY4" fmla="*/ 178588 h 3058435"/>
                <a:gd name="connsiteX5" fmla="*/ 95052 w 291815"/>
                <a:gd name="connsiteY5" fmla="*/ 119204 h 3058435"/>
                <a:gd name="connsiteX6" fmla="*/ 95052 w 291815"/>
                <a:gd name="connsiteY6" fmla="*/ 0 h 3058435"/>
                <a:gd name="connsiteX0" fmla="*/ 0 w 291815"/>
                <a:gd name="connsiteY0" fmla="*/ 2558682 h 2558684"/>
                <a:gd name="connsiteX1" fmla="*/ 291816 w 291815"/>
                <a:gd name="connsiteY1" fmla="*/ 2387315 h 2558684"/>
                <a:gd name="connsiteX2" fmla="*/ 291816 w 291815"/>
                <a:gd name="connsiteY2" fmla="*/ 234548 h 2558684"/>
                <a:gd name="connsiteX3" fmla="*/ 191722 w 291815"/>
                <a:gd name="connsiteY3" fmla="*/ 178588 h 2558684"/>
                <a:gd name="connsiteX4" fmla="*/ 95052 w 291815"/>
                <a:gd name="connsiteY4" fmla="*/ 119204 h 2558684"/>
                <a:gd name="connsiteX5" fmla="*/ 95052 w 291815"/>
                <a:gd name="connsiteY5" fmla="*/ 0 h 2558684"/>
                <a:gd name="connsiteX0" fmla="*/ 0 w 303611"/>
                <a:gd name="connsiteY0" fmla="*/ 2558682 h 2558684"/>
                <a:gd name="connsiteX1" fmla="*/ 303611 w 303611"/>
                <a:gd name="connsiteY1" fmla="*/ 2210359 h 2558684"/>
                <a:gd name="connsiteX2" fmla="*/ 291816 w 303611"/>
                <a:gd name="connsiteY2" fmla="*/ 234548 h 2558684"/>
                <a:gd name="connsiteX3" fmla="*/ 191722 w 303611"/>
                <a:gd name="connsiteY3" fmla="*/ 178588 h 2558684"/>
                <a:gd name="connsiteX4" fmla="*/ 95052 w 303611"/>
                <a:gd name="connsiteY4" fmla="*/ 119204 h 2558684"/>
                <a:gd name="connsiteX5" fmla="*/ 95052 w 303611"/>
                <a:gd name="connsiteY5" fmla="*/ 0 h 2558684"/>
                <a:gd name="connsiteX0" fmla="*/ 0 w 303611"/>
                <a:gd name="connsiteY0" fmla="*/ 2393525 h 2393525"/>
                <a:gd name="connsiteX1" fmla="*/ 303611 w 303611"/>
                <a:gd name="connsiteY1" fmla="*/ 2210359 h 2393525"/>
                <a:gd name="connsiteX2" fmla="*/ 291816 w 303611"/>
                <a:gd name="connsiteY2" fmla="*/ 234548 h 2393525"/>
                <a:gd name="connsiteX3" fmla="*/ 191722 w 303611"/>
                <a:gd name="connsiteY3" fmla="*/ 178588 h 2393525"/>
                <a:gd name="connsiteX4" fmla="*/ 95052 w 303611"/>
                <a:gd name="connsiteY4" fmla="*/ 119204 h 2393525"/>
                <a:gd name="connsiteX5" fmla="*/ 95052 w 303611"/>
                <a:gd name="connsiteY5" fmla="*/ 0 h 2393525"/>
                <a:gd name="connsiteX0" fmla="*/ 208559 w 208559"/>
                <a:gd name="connsiteY0" fmla="*/ 2210359 h 2210360"/>
                <a:gd name="connsiteX1" fmla="*/ 196764 w 208559"/>
                <a:gd name="connsiteY1" fmla="*/ 234548 h 2210360"/>
                <a:gd name="connsiteX2" fmla="*/ 96670 w 208559"/>
                <a:gd name="connsiteY2" fmla="*/ 178588 h 2210360"/>
                <a:gd name="connsiteX3" fmla="*/ 0 w 208559"/>
                <a:gd name="connsiteY3" fmla="*/ 119204 h 2210360"/>
                <a:gd name="connsiteX4" fmla="*/ 0 w 208559"/>
                <a:gd name="connsiteY4" fmla="*/ 0 h 2210360"/>
                <a:gd name="connsiteX0" fmla="*/ 202441 w 202441"/>
                <a:gd name="connsiteY0" fmla="*/ 1004982 h 1004982"/>
                <a:gd name="connsiteX1" fmla="*/ 196764 w 202441"/>
                <a:gd name="connsiteY1" fmla="*/ 234548 h 1004982"/>
                <a:gd name="connsiteX2" fmla="*/ 96670 w 202441"/>
                <a:gd name="connsiteY2" fmla="*/ 178588 h 1004982"/>
                <a:gd name="connsiteX3" fmla="*/ 0 w 202441"/>
                <a:gd name="connsiteY3" fmla="*/ 119204 h 1004982"/>
                <a:gd name="connsiteX4" fmla="*/ 0 w 202441"/>
                <a:gd name="connsiteY4" fmla="*/ 0 h 100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441" h="1004982">
                  <a:moveTo>
                    <a:pt x="202441" y="1004982"/>
                  </a:moveTo>
                  <a:cubicBezTo>
                    <a:pt x="198509" y="346378"/>
                    <a:pt x="200696" y="893152"/>
                    <a:pt x="196764" y="234548"/>
                  </a:cubicBezTo>
                  <a:lnTo>
                    <a:pt x="96670" y="178588"/>
                  </a:lnTo>
                  <a:lnTo>
                    <a:pt x="0" y="119204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00E6DC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33" name="Freihandform: Form 4532">
              <a:extLst>
                <a:ext uri="{FF2B5EF4-FFF2-40B4-BE49-F238E27FC236}">
                  <a16:creationId xmlns:a16="http://schemas.microsoft.com/office/drawing/2014/main" id="{811A04FB-D710-15CC-F1EB-28A432AC4B01}"/>
                </a:ext>
              </a:extLst>
            </p:cNvPr>
            <p:cNvSpPr/>
            <p:nvPr/>
          </p:nvSpPr>
          <p:spPr>
            <a:xfrm>
              <a:off x="7381363" y="3644682"/>
              <a:ext cx="469373" cy="442758"/>
            </a:xfrm>
            <a:custGeom>
              <a:avLst/>
              <a:gdLst>
                <a:gd name="connsiteX0" fmla="*/ 0 w 1469164"/>
                <a:gd name="connsiteY0" fmla="*/ 0 h 4456918"/>
                <a:gd name="connsiteX1" fmla="*/ 0 w 1469164"/>
                <a:gd name="connsiteY1" fmla="*/ 450796 h 4456918"/>
                <a:gd name="connsiteX2" fmla="*/ 980584 w 1469164"/>
                <a:gd name="connsiteY2" fmla="*/ 1012144 h 4456918"/>
                <a:gd name="connsiteX3" fmla="*/ 980584 w 1469164"/>
                <a:gd name="connsiteY3" fmla="*/ 1906640 h 4456918"/>
                <a:gd name="connsiteX4" fmla="*/ 1469165 w 1469164"/>
                <a:gd name="connsiteY4" fmla="*/ 1629390 h 4456918"/>
                <a:gd name="connsiteX5" fmla="*/ 1469165 w 1469164"/>
                <a:gd name="connsiteY5" fmla="*/ 2300231 h 4456918"/>
                <a:gd name="connsiteX6" fmla="*/ 688768 w 1469164"/>
                <a:gd name="connsiteY6" fmla="*/ 2749782 h 4456918"/>
                <a:gd name="connsiteX7" fmla="*/ 688768 w 1469164"/>
                <a:gd name="connsiteY7" fmla="*/ 4456918 h 4456918"/>
                <a:gd name="connsiteX0" fmla="*/ 0 w 1469164"/>
                <a:gd name="connsiteY0" fmla="*/ 0 h 3808089"/>
                <a:gd name="connsiteX1" fmla="*/ 0 w 1469164"/>
                <a:gd name="connsiteY1" fmla="*/ 450796 h 3808089"/>
                <a:gd name="connsiteX2" fmla="*/ 980584 w 1469164"/>
                <a:gd name="connsiteY2" fmla="*/ 1012144 h 3808089"/>
                <a:gd name="connsiteX3" fmla="*/ 980584 w 1469164"/>
                <a:gd name="connsiteY3" fmla="*/ 1906640 h 3808089"/>
                <a:gd name="connsiteX4" fmla="*/ 1469165 w 1469164"/>
                <a:gd name="connsiteY4" fmla="*/ 1629390 h 3808089"/>
                <a:gd name="connsiteX5" fmla="*/ 1469165 w 1469164"/>
                <a:gd name="connsiteY5" fmla="*/ 2300231 h 3808089"/>
                <a:gd name="connsiteX6" fmla="*/ 688768 w 1469164"/>
                <a:gd name="connsiteY6" fmla="*/ 2749782 h 3808089"/>
                <a:gd name="connsiteX7" fmla="*/ 688769 w 1469164"/>
                <a:gd name="connsiteY7" fmla="*/ 3808089 h 3808089"/>
                <a:gd name="connsiteX0" fmla="*/ 0 w 1469164"/>
                <a:gd name="connsiteY0" fmla="*/ 0 h 3182857"/>
                <a:gd name="connsiteX1" fmla="*/ 0 w 1469164"/>
                <a:gd name="connsiteY1" fmla="*/ 450796 h 3182857"/>
                <a:gd name="connsiteX2" fmla="*/ 980584 w 1469164"/>
                <a:gd name="connsiteY2" fmla="*/ 1012144 h 3182857"/>
                <a:gd name="connsiteX3" fmla="*/ 980584 w 1469164"/>
                <a:gd name="connsiteY3" fmla="*/ 1906640 h 3182857"/>
                <a:gd name="connsiteX4" fmla="*/ 1469165 w 1469164"/>
                <a:gd name="connsiteY4" fmla="*/ 1629390 h 3182857"/>
                <a:gd name="connsiteX5" fmla="*/ 1469165 w 1469164"/>
                <a:gd name="connsiteY5" fmla="*/ 2300231 h 3182857"/>
                <a:gd name="connsiteX6" fmla="*/ 688768 w 1469164"/>
                <a:gd name="connsiteY6" fmla="*/ 2749782 h 3182857"/>
                <a:gd name="connsiteX7" fmla="*/ 688769 w 1469164"/>
                <a:gd name="connsiteY7" fmla="*/ 3182857 h 3182857"/>
                <a:gd name="connsiteX0" fmla="*/ 0 w 1469164"/>
                <a:gd name="connsiteY0" fmla="*/ 0 h 3182857"/>
                <a:gd name="connsiteX1" fmla="*/ 85660 w 1469164"/>
                <a:gd name="connsiteY1" fmla="*/ 542576 h 3182857"/>
                <a:gd name="connsiteX2" fmla="*/ 980584 w 1469164"/>
                <a:gd name="connsiteY2" fmla="*/ 1012144 h 3182857"/>
                <a:gd name="connsiteX3" fmla="*/ 980584 w 1469164"/>
                <a:gd name="connsiteY3" fmla="*/ 1906640 h 3182857"/>
                <a:gd name="connsiteX4" fmla="*/ 1469165 w 1469164"/>
                <a:gd name="connsiteY4" fmla="*/ 1629390 h 3182857"/>
                <a:gd name="connsiteX5" fmla="*/ 1469165 w 1469164"/>
                <a:gd name="connsiteY5" fmla="*/ 2300231 h 3182857"/>
                <a:gd name="connsiteX6" fmla="*/ 688768 w 1469164"/>
                <a:gd name="connsiteY6" fmla="*/ 2749782 h 3182857"/>
                <a:gd name="connsiteX7" fmla="*/ 688769 w 1469164"/>
                <a:gd name="connsiteY7" fmla="*/ 3182857 h 3182857"/>
                <a:gd name="connsiteX0" fmla="*/ 0 w 1389622"/>
                <a:gd name="connsiteY0" fmla="*/ 0 h 2950349"/>
                <a:gd name="connsiteX1" fmla="*/ 6118 w 1389622"/>
                <a:gd name="connsiteY1" fmla="*/ 310068 h 2950349"/>
                <a:gd name="connsiteX2" fmla="*/ 901042 w 1389622"/>
                <a:gd name="connsiteY2" fmla="*/ 779636 h 2950349"/>
                <a:gd name="connsiteX3" fmla="*/ 901042 w 1389622"/>
                <a:gd name="connsiteY3" fmla="*/ 1674132 h 2950349"/>
                <a:gd name="connsiteX4" fmla="*/ 1389623 w 1389622"/>
                <a:gd name="connsiteY4" fmla="*/ 1396882 h 2950349"/>
                <a:gd name="connsiteX5" fmla="*/ 1389623 w 1389622"/>
                <a:gd name="connsiteY5" fmla="*/ 2067723 h 2950349"/>
                <a:gd name="connsiteX6" fmla="*/ 609226 w 1389622"/>
                <a:gd name="connsiteY6" fmla="*/ 2517274 h 2950349"/>
                <a:gd name="connsiteX7" fmla="*/ 609227 w 1389622"/>
                <a:gd name="connsiteY7" fmla="*/ 2950349 h 2950349"/>
                <a:gd name="connsiteX0" fmla="*/ 0 w 1383504"/>
                <a:gd name="connsiteY0" fmla="*/ -1 h 2640280"/>
                <a:gd name="connsiteX1" fmla="*/ 894924 w 1383504"/>
                <a:gd name="connsiteY1" fmla="*/ 469567 h 2640280"/>
                <a:gd name="connsiteX2" fmla="*/ 894924 w 1383504"/>
                <a:gd name="connsiteY2" fmla="*/ 1364063 h 2640280"/>
                <a:gd name="connsiteX3" fmla="*/ 1383505 w 1383504"/>
                <a:gd name="connsiteY3" fmla="*/ 1086813 h 2640280"/>
                <a:gd name="connsiteX4" fmla="*/ 1383505 w 1383504"/>
                <a:gd name="connsiteY4" fmla="*/ 1757654 h 2640280"/>
                <a:gd name="connsiteX5" fmla="*/ 603108 w 1383504"/>
                <a:gd name="connsiteY5" fmla="*/ 2207205 h 2640280"/>
                <a:gd name="connsiteX6" fmla="*/ 603109 w 1383504"/>
                <a:gd name="connsiteY6" fmla="*/ 2640280 h 2640280"/>
                <a:gd name="connsiteX0" fmla="*/ 0 w 1383504"/>
                <a:gd name="connsiteY0" fmla="*/ -1 h 2640280"/>
                <a:gd name="connsiteX1" fmla="*/ 894924 w 1383504"/>
                <a:gd name="connsiteY1" fmla="*/ 469567 h 2640280"/>
                <a:gd name="connsiteX2" fmla="*/ 894924 w 1383504"/>
                <a:gd name="connsiteY2" fmla="*/ 1364063 h 2640280"/>
                <a:gd name="connsiteX3" fmla="*/ 1383505 w 1383504"/>
                <a:gd name="connsiteY3" fmla="*/ 1086813 h 2640280"/>
                <a:gd name="connsiteX4" fmla="*/ 1383505 w 1383504"/>
                <a:gd name="connsiteY4" fmla="*/ 1757654 h 2640280"/>
                <a:gd name="connsiteX5" fmla="*/ 603109 w 1383504"/>
                <a:gd name="connsiteY5" fmla="*/ 2640280 h 2640280"/>
                <a:gd name="connsiteX0" fmla="*/ 0 w 1383504"/>
                <a:gd name="connsiteY0" fmla="*/ -1 h 1757654"/>
                <a:gd name="connsiteX1" fmla="*/ 894924 w 1383504"/>
                <a:gd name="connsiteY1" fmla="*/ 469567 h 1757654"/>
                <a:gd name="connsiteX2" fmla="*/ 894924 w 1383504"/>
                <a:gd name="connsiteY2" fmla="*/ 1364063 h 1757654"/>
                <a:gd name="connsiteX3" fmla="*/ 1383505 w 1383504"/>
                <a:gd name="connsiteY3" fmla="*/ 1086813 h 1757654"/>
                <a:gd name="connsiteX4" fmla="*/ 1383505 w 1383504"/>
                <a:gd name="connsiteY4" fmla="*/ 1757654 h 1757654"/>
                <a:gd name="connsiteX0" fmla="*/ 0 w 1383504"/>
                <a:gd name="connsiteY0" fmla="*/ -1 h 1364063"/>
                <a:gd name="connsiteX1" fmla="*/ 894924 w 1383504"/>
                <a:gd name="connsiteY1" fmla="*/ 469567 h 1364063"/>
                <a:gd name="connsiteX2" fmla="*/ 894924 w 1383504"/>
                <a:gd name="connsiteY2" fmla="*/ 1364063 h 1364063"/>
                <a:gd name="connsiteX3" fmla="*/ 1383505 w 1383504"/>
                <a:gd name="connsiteY3" fmla="*/ 1086813 h 1364063"/>
                <a:gd name="connsiteX0" fmla="*/ 0 w 1383504"/>
                <a:gd name="connsiteY0" fmla="*/ -1 h 1137673"/>
                <a:gd name="connsiteX1" fmla="*/ 894924 w 1383504"/>
                <a:gd name="connsiteY1" fmla="*/ 469567 h 1137673"/>
                <a:gd name="connsiteX2" fmla="*/ 888807 w 1383504"/>
                <a:gd name="connsiteY2" fmla="*/ 1137673 h 1137673"/>
                <a:gd name="connsiteX3" fmla="*/ 1383505 w 1383504"/>
                <a:gd name="connsiteY3" fmla="*/ 1086813 h 1137673"/>
                <a:gd name="connsiteX0" fmla="*/ 0 w 1206063"/>
                <a:gd name="connsiteY0" fmla="*/ -1 h 1137673"/>
                <a:gd name="connsiteX1" fmla="*/ 894924 w 1206063"/>
                <a:gd name="connsiteY1" fmla="*/ 469567 h 1137673"/>
                <a:gd name="connsiteX2" fmla="*/ 888807 w 1206063"/>
                <a:gd name="connsiteY2" fmla="*/ 1137673 h 1137673"/>
                <a:gd name="connsiteX3" fmla="*/ 1206063 w 1206063"/>
                <a:gd name="connsiteY3" fmla="*/ 952203 h 113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6063" h="1137673">
                  <a:moveTo>
                    <a:pt x="0" y="-1"/>
                  </a:moveTo>
                  <a:lnTo>
                    <a:pt x="894924" y="469567"/>
                  </a:lnTo>
                  <a:lnTo>
                    <a:pt x="888807" y="1137673"/>
                  </a:lnTo>
                  <a:lnTo>
                    <a:pt x="1206063" y="952203"/>
                  </a:lnTo>
                </a:path>
              </a:pathLst>
            </a:custGeom>
            <a:noFill/>
            <a:ln w="12700" cap="flat">
              <a:solidFill>
                <a:srgbClr val="00FFB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34" name="Freihandform: Form 4533">
              <a:extLst>
                <a:ext uri="{FF2B5EF4-FFF2-40B4-BE49-F238E27FC236}">
                  <a16:creationId xmlns:a16="http://schemas.microsoft.com/office/drawing/2014/main" id="{47E27E62-3059-B97D-A613-EDB4DA2F9B27}"/>
                </a:ext>
              </a:extLst>
            </p:cNvPr>
            <p:cNvSpPr/>
            <p:nvPr/>
          </p:nvSpPr>
          <p:spPr>
            <a:xfrm>
              <a:off x="7247999" y="3710557"/>
              <a:ext cx="35975" cy="358183"/>
            </a:xfrm>
            <a:custGeom>
              <a:avLst/>
              <a:gdLst>
                <a:gd name="connsiteX0" fmla="*/ 369750 w 369749"/>
                <a:gd name="connsiteY0" fmla="*/ 0 h 3682870"/>
                <a:gd name="connsiteX1" fmla="*/ 369750 w 369749"/>
                <a:gd name="connsiteY1" fmla="*/ 387491 h 3682870"/>
                <a:gd name="connsiteX2" fmla="*/ 277312 w 369749"/>
                <a:gd name="connsiteY2" fmla="*/ 448555 h 3682870"/>
                <a:gd name="connsiteX3" fmla="*/ 277312 w 369749"/>
                <a:gd name="connsiteY3" fmla="*/ 2823607 h 3682870"/>
                <a:gd name="connsiteX4" fmla="*/ 0 w 369749"/>
                <a:gd name="connsiteY4" fmla="*/ 2995472 h 3682870"/>
                <a:gd name="connsiteX5" fmla="*/ 0 w 369749"/>
                <a:gd name="connsiteY5" fmla="*/ 3682871 h 3682870"/>
                <a:gd name="connsiteX6" fmla="*/ 300967 w 369749"/>
                <a:gd name="connsiteY6" fmla="*/ 3501606 h 3682870"/>
                <a:gd name="connsiteX0" fmla="*/ 369750 w 369749"/>
                <a:gd name="connsiteY0" fmla="*/ 0 h 3682870"/>
                <a:gd name="connsiteX1" fmla="*/ 369750 w 369749"/>
                <a:gd name="connsiteY1" fmla="*/ 387491 h 3682870"/>
                <a:gd name="connsiteX2" fmla="*/ 277312 w 369749"/>
                <a:gd name="connsiteY2" fmla="*/ 448555 h 3682870"/>
                <a:gd name="connsiteX3" fmla="*/ 277312 w 369749"/>
                <a:gd name="connsiteY3" fmla="*/ 2823607 h 3682870"/>
                <a:gd name="connsiteX4" fmla="*/ 0 w 369749"/>
                <a:gd name="connsiteY4" fmla="*/ 2995472 h 3682870"/>
                <a:gd name="connsiteX5" fmla="*/ 0 w 369749"/>
                <a:gd name="connsiteY5" fmla="*/ 3682871 h 3682870"/>
                <a:gd name="connsiteX0" fmla="*/ 369750 w 369749"/>
                <a:gd name="connsiteY0" fmla="*/ 0 h 2995474"/>
                <a:gd name="connsiteX1" fmla="*/ 369750 w 369749"/>
                <a:gd name="connsiteY1" fmla="*/ 387491 h 2995474"/>
                <a:gd name="connsiteX2" fmla="*/ 277312 w 369749"/>
                <a:gd name="connsiteY2" fmla="*/ 448555 h 2995474"/>
                <a:gd name="connsiteX3" fmla="*/ 277312 w 369749"/>
                <a:gd name="connsiteY3" fmla="*/ 2823607 h 2995474"/>
                <a:gd name="connsiteX4" fmla="*/ 0 w 369749"/>
                <a:gd name="connsiteY4" fmla="*/ 2995472 h 2995474"/>
                <a:gd name="connsiteX0" fmla="*/ 92439 w 92438"/>
                <a:gd name="connsiteY0" fmla="*/ 0 h 2823608"/>
                <a:gd name="connsiteX1" fmla="*/ 92439 w 92438"/>
                <a:gd name="connsiteY1" fmla="*/ 387491 h 2823608"/>
                <a:gd name="connsiteX2" fmla="*/ 1 w 92438"/>
                <a:gd name="connsiteY2" fmla="*/ 448555 h 2823608"/>
                <a:gd name="connsiteX3" fmla="*/ 1 w 92438"/>
                <a:gd name="connsiteY3" fmla="*/ 2823607 h 2823608"/>
                <a:gd name="connsiteX0" fmla="*/ 92439 w 92438"/>
                <a:gd name="connsiteY0" fmla="*/ 0 h 2505091"/>
                <a:gd name="connsiteX1" fmla="*/ 92439 w 92438"/>
                <a:gd name="connsiteY1" fmla="*/ 387491 h 2505091"/>
                <a:gd name="connsiteX2" fmla="*/ 1 w 92438"/>
                <a:gd name="connsiteY2" fmla="*/ 448555 h 2505091"/>
                <a:gd name="connsiteX3" fmla="*/ 0 w 92438"/>
                <a:gd name="connsiteY3" fmla="*/ 2505091 h 2505091"/>
                <a:gd name="connsiteX0" fmla="*/ 92439 w 92438"/>
                <a:gd name="connsiteY0" fmla="*/ 0 h 920357"/>
                <a:gd name="connsiteX1" fmla="*/ 92439 w 92438"/>
                <a:gd name="connsiteY1" fmla="*/ 387491 h 920357"/>
                <a:gd name="connsiteX2" fmla="*/ 1 w 92438"/>
                <a:gd name="connsiteY2" fmla="*/ 448555 h 920357"/>
                <a:gd name="connsiteX3" fmla="*/ 0 w 92438"/>
                <a:gd name="connsiteY3" fmla="*/ 920357 h 92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38" h="920357">
                  <a:moveTo>
                    <a:pt x="92439" y="0"/>
                  </a:moveTo>
                  <a:lnTo>
                    <a:pt x="92439" y="387491"/>
                  </a:lnTo>
                  <a:lnTo>
                    <a:pt x="1" y="448555"/>
                  </a:lnTo>
                  <a:cubicBezTo>
                    <a:pt x="1" y="1134067"/>
                    <a:pt x="0" y="234845"/>
                    <a:pt x="0" y="920357"/>
                  </a:cubicBezTo>
                </a:path>
              </a:pathLst>
            </a:custGeom>
            <a:noFill/>
            <a:ln w="12700" cap="flat">
              <a:solidFill>
                <a:srgbClr val="00FFB9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14774EF5-B808-F8A7-6CB2-5A708392E07D}"/>
              </a:ext>
            </a:extLst>
          </p:cNvPr>
          <p:cNvSpPr>
            <a:spLocks/>
          </p:cNvSpPr>
          <p:nvPr/>
        </p:nvSpPr>
        <p:spPr>
          <a:xfrm>
            <a:off x="9279196" y="2859504"/>
            <a:ext cx="2069185" cy="1194655"/>
          </a:xfrm>
          <a:custGeom>
            <a:avLst/>
            <a:gdLst>
              <a:gd name="connsiteX0" fmla="*/ 1034616 w 2069185"/>
              <a:gd name="connsiteY0" fmla="*/ 0 h 1194655"/>
              <a:gd name="connsiteX1" fmla="*/ 0 w 2069185"/>
              <a:gd name="connsiteY1" fmla="*/ 597328 h 1194655"/>
              <a:gd name="connsiteX2" fmla="*/ 1034570 w 2069185"/>
              <a:gd name="connsiteY2" fmla="*/ 1194656 h 1194655"/>
              <a:gd name="connsiteX3" fmla="*/ 2069185 w 2069185"/>
              <a:gd name="connsiteY3" fmla="*/ 597328 h 1194655"/>
              <a:gd name="connsiteX4" fmla="*/ 1034616 w 2069185"/>
              <a:gd name="connsiteY4" fmla="*/ 0 h 119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9185" h="1194655">
                <a:moveTo>
                  <a:pt x="1034616" y="0"/>
                </a:moveTo>
                <a:lnTo>
                  <a:pt x="0" y="597328"/>
                </a:lnTo>
                <a:lnTo>
                  <a:pt x="1034570" y="1194656"/>
                </a:lnTo>
                <a:lnTo>
                  <a:pt x="2069185" y="597328"/>
                </a:lnTo>
                <a:lnTo>
                  <a:pt x="1034616" y="0"/>
                </a:lnTo>
                <a:close/>
              </a:path>
            </a:pathLst>
          </a:custGeom>
          <a:solidFill>
            <a:schemeClr val="tx1"/>
          </a:solidFill>
          <a:ln w="22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E888701-0720-1C70-EAA9-753D14E6AE36}"/>
              </a:ext>
            </a:extLst>
          </p:cNvPr>
          <p:cNvGrpSpPr/>
          <p:nvPr/>
        </p:nvGrpSpPr>
        <p:grpSpPr>
          <a:xfrm>
            <a:off x="9160881" y="1789254"/>
            <a:ext cx="1269694" cy="1096602"/>
            <a:chOff x="9160881" y="2357870"/>
            <a:chExt cx="1269694" cy="1096602"/>
          </a:xfrm>
        </p:grpSpPr>
        <p:sp>
          <p:nvSpPr>
            <p:cNvPr id="2" name="Freihandform: Form 1">
              <a:extLst>
                <a:ext uri="{FF2B5EF4-FFF2-40B4-BE49-F238E27FC236}">
                  <a16:creationId xmlns:a16="http://schemas.microsoft.com/office/drawing/2014/main" id="{259658CC-C0A7-5B8D-5368-96E244D1541B}"/>
                </a:ext>
              </a:extLst>
            </p:cNvPr>
            <p:cNvSpPr/>
            <p:nvPr/>
          </p:nvSpPr>
          <p:spPr>
            <a:xfrm>
              <a:off x="9160881" y="2357870"/>
              <a:ext cx="1269694" cy="1096602"/>
            </a:xfrm>
            <a:custGeom>
              <a:avLst/>
              <a:gdLst>
                <a:gd name="connsiteX0" fmla="*/ 710057 w 794589"/>
                <a:gd name="connsiteY0" fmla="*/ 133298 h 686267"/>
                <a:gd name="connsiteX1" fmla="*/ 681734 w 794589"/>
                <a:gd name="connsiteY1" fmla="*/ 149669 h 686267"/>
                <a:gd name="connsiteX2" fmla="*/ 693126 w 794589"/>
                <a:gd name="connsiteY2" fmla="*/ 84496 h 686267"/>
                <a:gd name="connsiteX3" fmla="*/ 574793 w 794589"/>
                <a:gd name="connsiteY3" fmla="*/ 16148 h 686267"/>
                <a:gd name="connsiteX4" fmla="*/ 528855 w 794589"/>
                <a:gd name="connsiteY4" fmla="*/ 53310 h 686267"/>
                <a:gd name="connsiteX5" fmla="*/ 338066 w 794589"/>
                <a:gd name="connsiteY5" fmla="*/ 35631 h 686267"/>
                <a:gd name="connsiteX6" fmla="*/ 119017 w 794589"/>
                <a:gd name="connsiteY6" fmla="*/ 396418 h 686267"/>
                <a:gd name="connsiteX7" fmla="*/ 118333 w 794589"/>
                <a:gd name="connsiteY7" fmla="*/ 396791 h 686267"/>
                <a:gd name="connsiteX8" fmla="*/ 0 w 794589"/>
                <a:gd name="connsiteY8" fmla="*/ 601772 h 686267"/>
                <a:gd name="connsiteX9" fmla="*/ 118333 w 794589"/>
                <a:gd name="connsiteY9" fmla="*/ 670120 h 686267"/>
                <a:gd name="connsiteX10" fmla="*/ 710057 w 794589"/>
                <a:gd name="connsiteY10" fmla="*/ 328506 h 686267"/>
                <a:gd name="connsiteX11" fmla="*/ 794589 w 794589"/>
                <a:gd name="connsiteY11" fmla="*/ 182100 h 686267"/>
                <a:gd name="connsiteX12" fmla="*/ 710057 w 794589"/>
                <a:gd name="connsiteY12" fmla="*/ 133298 h 68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4589" h="686267">
                  <a:moveTo>
                    <a:pt x="710057" y="133298"/>
                  </a:moveTo>
                  <a:lnTo>
                    <a:pt x="681734" y="149669"/>
                  </a:lnTo>
                  <a:cubicBezTo>
                    <a:pt x="689017" y="127695"/>
                    <a:pt x="693126" y="105473"/>
                    <a:pt x="693126" y="84496"/>
                  </a:cubicBezTo>
                  <a:cubicBezTo>
                    <a:pt x="693126" y="9052"/>
                    <a:pt x="640153" y="-21574"/>
                    <a:pt x="574793" y="16148"/>
                  </a:cubicBezTo>
                  <a:cubicBezTo>
                    <a:pt x="558484" y="25547"/>
                    <a:pt x="542985" y="38308"/>
                    <a:pt x="528855" y="53310"/>
                  </a:cubicBezTo>
                  <a:cubicBezTo>
                    <a:pt x="490946" y="-1157"/>
                    <a:pt x="419735" y="-11490"/>
                    <a:pt x="338066" y="35631"/>
                  </a:cubicBezTo>
                  <a:cubicBezTo>
                    <a:pt x="222348" y="102423"/>
                    <a:pt x="127607" y="260345"/>
                    <a:pt x="119017" y="396418"/>
                  </a:cubicBezTo>
                  <a:cubicBezTo>
                    <a:pt x="118768" y="396542"/>
                    <a:pt x="118519" y="396667"/>
                    <a:pt x="118333" y="396791"/>
                  </a:cubicBezTo>
                  <a:cubicBezTo>
                    <a:pt x="52973" y="434513"/>
                    <a:pt x="0" y="526266"/>
                    <a:pt x="0" y="601772"/>
                  </a:cubicBezTo>
                  <a:cubicBezTo>
                    <a:pt x="0" y="677216"/>
                    <a:pt x="52973" y="707842"/>
                    <a:pt x="118333" y="670120"/>
                  </a:cubicBezTo>
                  <a:lnTo>
                    <a:pt x="710057" y="328506"/>
                  </a:lnTo>
                  <a:cubicBezTo>
                    <a:pt x="756743" y="301552"/>
                    <a:pt x="794589" y="236006"/>
                    <a:pt x="794589" y="182100"/>
                  </a:cubicBezTo>
                  <a:cubicBezTo>
                    <a:pt x="794589" y="128193"/>
                    <a:pt x="756743" y="106344"/>
                    <a:pt x="710057" y="133298"/>
                  </a:cubicBezTo>
                  <a:close/>
                </a:path>
              </a:pathLst>
            </a:custGeom>
            <a:gradFill>
              <a:gsLst>
                <a:gs pos="12000">
                  <a:srgbClr val="805CFF"/>
                </a:gs>
                <a:gs pos="19000">
                  <a:srgbClr val="694BD8">
                    <a:alpha val="81961"/>
                  </a:srgbClr>
                </a:gs>
                <a:gs pos="27000">
                  <a:srgbClr val="5039AF">
                    <a:alpha val="62745"/>
                  </a:srgbClr>
                </a:gs>
                <a:gs pos="35000">
                  <a:srgbClr val="3A2A8B">
                    <a:alpha val="45882"/>
                  </a:srgbClr>
                </a:gs>
                <a:gs pos="44000">
                  <a:srgbClr val="281D6C">
                    <a:alpha val="31765"/>
                  </a:srgbClr>
                </a:gs>
                <a:gs pos="53000">
                  <a:srgbClr val="191253">
                    <a:alpha val="20000"/>
                  </a:srgbClr>
                </a:gs>
                <a:gs pos="63000">
                  <a:srgbClr val="0E0A40">
                    <a:alpha val="10980"/>
                  </a:srgbClr>
                </a:gs>
                <a:gs pos="73000">
                  <a:srgbClr val="060432">
                    <a:alpha val="4706"/>
                  </a:srgbClr>
                </a:gs>
                <a:gs pos="85000">
                  <a:srgbClr val="01012A">
                    <a:alpha val="784"/>
                  </a:srgbClr>
                </a:gs>
                <a:gs pos="100000">
                  <a:srgbClr val="000028">
                    <a:alpha val="0"/>
                  </a:srgbClr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75E63A25-E7D9-46AA-E682-5D30F64012FD}"/>
                </a:ext>
              </a:extLst>
            </p:cNvPr>
            <p:cNvGrpSpPr/>
            <p:nvPr/>
          </p:nvGrpSpPr>
          <p:grpSpPr>
            <a:xfrm>
              <a:off x="9603348" y="2638538"/>
              <a:ext cx="355692" cy="582284"/>
              <a:chOff x="4822182" y="924175"/>
              <a:chExt cx="260131" cy="425834"/>
            </a:xfrm>
          </p:grpSpPr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9B960976-2D7F-8C4B-7F53-09130D0DD294}"/>
                  </a:ext>
                </a:extLst>
              </p:cNvPr>
              <p:cNvSpPr/>
              <p:nvPr/>
            </p:nvSpPr>
            <p:spPr>
              <a:xfrm>
                <a:off x="4889534" y="1223025"/>
                <a:ext cx="6224" cy="30999"/>
              </a:xfrm>
              <a:custGeom>
                <a:avLst/>
                <a:gdLst>
                  <a:gd name="connsiteX0" fmla="*/ 0 w 6224"/>
                  <a:gd name="connsiteY0" fmla="*/ 30999 h 30999"/>
                  <a:gd name="connsiteX1" fmla="*/ 0 w 6224"/>
                  <a:gd name="connsiteY1" fmla="*/ 0 h 30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0999">
                    <a:moveTo>
                      <a:pt x="0" y="3099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72A5E4F8-D608-D4B7-CB0A-2A426D80C43E}"/>
                  </a:ext>
                </a:extLst>
              </p:cNvPr>
              <p:cNvSpPr/>
              <p:nvPr/>
            </p:nvSpPr>
            <p:spPr>
              <a:xfrm>
                <a:off x="4822182" y="1051720"/>
                <a:ext cx="6224" cy="81295"/>
              </a:xfrm>
              <a:custGeom>
                <a:avLst/>
                <a:gdLst>
                  <a:gd name="connsiteX0" fmla="*/ 0 w 6224"/>
                  <a:gd name="connsiteY0" fmla="*/ 81295 h 81295"/>
                  <a:gd name="connsiteX1" fmla="*/ 0 w 6224"/>
                  <a:gd name="connsiteY1" fmla="*/ 0 h 81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81295">
                    <a:moveTo>
                      <a:pt x="0" y="81295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EBD537C3-5C42-5BC1-3193-22EA28F9283A}"/>
                  </a:ext>
                </a:extLst>
              </p:cNvPr>
              <p:cNvSpPr/>
              <p:nvPr/>
            </p:nvSpPr>
            <p:spPr>
              <a:xfrm>
                <a:off x="4889534" y="1264481"/>
                <a:ext cx="6224" cy="53159"/>
              </a:xfrm>
              <a:custGeom>
                <a:avLst/>
                <a:gdLst>
                  <a:gd name="connsiteX0" fmla="*/ 0 w 6224"/>
                  <a:gd name="connsiteY0" fmla="*/ 53159 h 53159"/>
                  <a:gd name="connsiteX1" fmla="*/ 0 w 6224"/>
                  <a:gd name="connsiteY1" fmla="*/ 0 h 53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53159">
                    <a:moveTo>
                      <a:pt x="0" y="5315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CE530A7-E43F-4E49-0129-9C31E788FEE1}"/>
                  </a:ext>
                </a:extLst>
              </p:cNvPr>
              <p:cNvSpPr/>
              <p:nvPr/>
            </p:nvSpPr>
            <p:spPr>
              <a:xfrm>
                <a:off x="4889534" y="1163143"/>
                <a:ext cx="6224" cy="49548"/>
              </a:xfrm>
              <a:custGeom>
                <a:avLst/>
                <a:gdLst>
                  <a:gd name="connsiteX0" fmla="*/ 0 w 6224"/>
                  <a:gd name="connsiteY0" fmla="*/ 49549 h 49548"/>
                  <a:gd name="connsiteX1" fmla="*/ 0 w 6224"/>
                  <a:gd name="connsiteY1" fmla="*/ 0 h 49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49548">
                    <a:moveTo>
                      <a:pt x="0" y="4954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3BF1D1C1-D0C9-4C70-9423-1045D655649B}"/>
                  </a:ext>
                </a:extLst>
              </p:cNvPr>
              <p:cNvSpPr/>
              <p:nvPr/>
            </p:nvSpPr>
            <p:spPr>
              <a:xfrm>
                <a:off x="4859904" y="1117204"/>
                <a:ext cx="6224" cy="30999"/>
              </a:xfrm>
              <a:custGeom>
                <a:avLst/>
                <a:gdLst>
                  <a:gd name="connsiteX0" fmla="*/ 0 w 6224"/>
                  <a:gd name="connsiteY0" fmla="*/ 30999 h 30999"/>
                  <a:gd name="connsiteX1" fmla="*/ 0 w 6224"/>
                  <a:gd name="connsiteY1" fmla="*/ 0 h 30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0999">
                    <a:moveTo>
                      <a:pt x="0" y="3099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C89BD10D-C071-A25C-006F-D84F2A06D798}"/>
                  </a:ext>
                </a:extLst>
              </p:cNvPr>
              <p:cNvSpPr/>
              <p:nvPr/>
            </p:nvSpPr>
            <p:spPr>
              <a:xfrm>
                <a:off x="4859904" y="1158599"/>
                <a:ext cx="6224" cy="53221"/>
              </a:xfrm>
              <a:custGeom>
                <a:avLst/>
                <a:gdLst>
                  <a:gd name="connsiteX0" fmla="*/ 0 w 6224"/>
                  <a:gd name="connsiteY0" fmla="*/ 53222 h 53221"/>
                  <a:gd name="connsiteX1" fmla="*/ 0 w 6224"/>
                  <a:gd name="connsiteY1" fmla="*/ 0 h 5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53221">
                    <a:moveTo>
                      <a:pt x="0" y="53222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1669F434-CE44-59FD-554F-C388E1B5779A}"/>
                  </a:ext>
                </a:extLst>
              </p:cNvPr>
              <p:cNvSpPr/>
              <p:nvPr/>
            </p:nvSpPr>
            <p:spPr>
              <a:xfrm>
                <a:off x="4859904" y="1054210"/>
                <a:ext cx="6224" cy="49548"/>
              </a:xfrm>
              <a:custGeom>
                <a:avLst/>
                <a:gdLst>
                  <a:gd name="connsiteX0" fmla="*/ 0 w 6224"/>
                  <a:gd name="connsiteY0" fmla="*/ 49549 h 49548"/>
                  <a:gd name="connsiteX1" fmla="*/ 0 w 6224"/>
                  <a:gd name="connsiteY1" fmla="*/ 0 h 49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49548">
                    <a:moveTo>
                      <a:pt x="0" y="4954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A84B384C-1152-030B-6E19-020AA9F4A698}"/>
                  </a:ext>
                </a:extLst>
              </p:cNvPr>
              <p:cNvSpPr/>
              <p:nvPr/>
            </p:nvSpPr>
            <p:spPr>
              <a:xfrm>
                <a:off x="4827286" y="1255393"/>
                <a:ext cx="6224" cy="30999"/>
              </a:xfrm>
              <a:custGeom>
                <a:avLst/>
                <a:gdLst>
                  <a:gd name="connsiteX0" fmla="*/ 0 w 6224"/>
                  <a:gd name="connsiteY0" fmla="*/ 30999 h 30999"/>
                  <a:gd name="connsiteX1" fmla="*/ 0 w 6224"/>
                  <a:gd name="connsiteY1" fmla="*/ 0 h 30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0999">
                    <a:moveTo>
                      <a:pt x="0" y="3099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E9CE9336-66FB-74A5-606D-C696D9426AA4}"/>
                  </a:ext>
                </a:extLst>
              </p:cNvPr>
              <p:cNvSpPr/>
              <p:nvPr/>
            </p:nvSpPr>
            <p:spPr>
              <a:xfrm>
                <a:off x="4827286" y="1296850"/>
                <a:ext cx="6224" cy="53159"/>
              </a:xfrm>
              <a:custGeom>
                <a:avLst/>
                <a:gdLst>
                  <a:gd name="connsiteX0" fmla="*/ 0 w 6224"/>
                  <a:gd name="connsiteY0" fmla="*/ 53159 h 53159"/>
                  <a:gd name="connsiteX1" fmla="*/ 0 w 6224"/>
                  <a:gd name="connsiteY1" fmla="*/ 0 h 53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53159">
                    <a:moveTo>
                      <a:pt x="0" y="5315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AE0D08E7-BC48-330A-E22B-EEB03F9E3065}"/>
                  </a:ext>
                </a:extLst>
              </p:cNvPr>
              <p:cNvSpPr/>
              <p:nvPr/>
            </p:nvSpPr>
            <p:spPr>
              <a:xfrm>
                <a:off x="4827286" y="1195511"/>
                <a:ext cx="6224" cy="49548"/>
              </a:xfrm>
              <a:custGeom>
                <a:avLst/>
                <a:gdLst>
                  <a:gd name="connsiteX0" fmla="*/ 0 w 6224"/>
                  <a:gd name="connsiteY0" fmla="*/ 49549 h 49548"/>
                  <a:gd name="connsiteX1" fmla="*/ 0 w 6224"/>
                  <a:gd name="connsiteY1" fmla="*/ 0 h 49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49548">
                    <a:moveTo>
                      <a:pt x="0" y="4954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20FD2BB8-5BFD-1E19-0C04-2D6AD69840CA}"/>
                  </a:ext>
                </a:extLst>
              </p:cNvPr>
              <p:cNvSpPr/>
              <p:nvPr/>
            </p:nvSpPr>
            <p:spPr>
              <a:xfrm>
                <a:off x="4915740" y="1145091"/>
                <a:ext cx="6224" cy="30999"/>
              </a:xfrm>
              <a:custGeom>
                <a:avLst/>
                <a:gdLst>
                  <a:gd name="connsiteX0" fmla="*/ 0 w 6224"/>
                  <a:gd name="connsiteY0" fmla="*/ 30999 h 30999"/>
                  <a:gd name="connsiteX1" fmla="*/ 0 w 6224"/>
                  <a:gd name="connsiteY1" fmla="*/ 0 h 30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0999">
                    <a:moveTo>
                      <a:pt x="0" y="3099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58F7D6C9-B184-E214-4D15-5BB7645201F0}"/>
                  </a:ext>
                </a:extLst>
              </p:cNvPr>
              <p:cNvSpPr/>
              <p:nvPr/>
            </p:nvSpPr>
            <p:spPr>
              <a:xfrm>
                <a:off x="5049945" y="1095480"/>
                <a:ext cx="6224" cy="31061"/>
              </a:xfrm>
              <a:custGeom>
                <a:avLst/>
                <a:gdLst>
                  <a:gd name="connsiteX0" fmla="*/ 0 w 6224"/>
                  <a:gd name="connsiteY0" fmla="*/ 31061 h 31061"/>
                  <a:gd name="connsiteX1" fmla="*/ 0 w 6224"/>
                  <a:gd name="connsiteY1" fmla="*/ 0 h 3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1061">
                    <a:moveTo>
                      <a:pt x="0" y="31061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52EA9BAB-FB23-F04E-846F-08301EEEA8C5}"/>
                  </a:ext>
                </a:extLst>
              </p:cNvPr>
              <p:cNvSpPr/>
              <p:nvPr/>
            </p:nvSpPr>
            <p:spPr>
              <a:xfrm>
                <a:off x="4982531" y="924175"/>
                <a:ext cx="6224" cy="81357"/>
              </a:xfrm>
              <a:custGeom>
                <a:avLst/>
                <a:gdLst>
                  <a:gd name="connsiteX0" fmla="*/ 0 w 6224"/>
                  <a:gd name="connsiteY0" fmla="*/ 81357 h 81357"/>
                  <a:gd name="connsiteX1" fmla="*/ 0 w 6224"/>
                  <a:gd name="connsiteY1" fmla="*/ 0 h 81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81357">
                    <a:moveTo>
                      <a:pt x="0" y="81357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41A2C14C-7396-156D-5D20-989C844A70AA}"/>
                  </a:ext>
                </a:extLst>
              </p:cNvPr>
              <p:cNvSpPr/>
              <p:nvPr/>
            </p:nvSpPr>
            <p:spPr>
              <a:xfrm>
                <a:off x="5049945" y="1136936"/>
                <a:ext cx="6224" cy="53221"/>
              </a:xfrm>
              <a:custGeom>
                <a:avLst/>
                <a:gdLst>
                  <a:gd name="connsiteX0" fmla="*/ 0 w 6224"/>
                  <a:gd name="connsiteY0" fmla="*/ 53222 h 53221"/>
                  <a:gd name="connsiteX1" fmla="*/ 0 w 6224"/>
                  <a:gd name="connsiteY1" fmla="*/ 0 h 5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53221">
                    <a:moveTo>
                      <a:pt x="0" y="53222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D3287F7C-2A20-B584-AC5C-8D704AFFBBAC}"/>
                  </a:ext>
                </a:extLst>
              </p:cNvPr>
              <p:cNvSpPr/>
              <p:nvPr/>
            </p:nvSpPr>
            <p:spPr>
              <a:xfrm>
                <a:off x="5049945" y="1035660"/>
                <a:ext cx="6224" cy="49486"/>
              </a:xfrm>
              <a:custGeom>
                <a:avLst/>
                <a:gdLst>
                  <a:gd name="connsiteX0" fmla="*/ 0 w 6224"/>
                  <a:gd name="connsiteY0" fmla="*/ 49487 h 49486"/>
                  <a:gd name="connsiteX1" fmla="*/ 0 w 6224"/>
                  <a:gd name="connsiteY1" fmla="*/ 0 h 49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49486">
                    <a:moveTo>
                      <a:pt x="0" y="49487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9F6BEDF6-4B29-EAFB-D91C-9A4F12D52F2A}"/>
                  </a:ext>
                </a:extLst>
              </p:cNvPr>
              <p:cNvSpPr/>
              <p:nvPr/>
            </p:nvSpPr>
            <p:spPr>
              <a:xfrm>
                <a:off x="5018759" y="999930"/>
                <a:ext cx="6224" cy="31061"/>
              </a:xfrm>
              <a:custGeom>
                <a:avLst/>
                <a:gdLst>
                  <a:gd name="connsiteX0" fmla="*/ 0 w 6224"/>
                  <a:gd name="connsiteY0" fmla="*/ 31061 h 31061"/>
                  <a:gd name="connsiteX1" fmla="*/ 0 w 6224"/>
                  <a:gd name="connsiteY1" fmla="*/ 0 h 3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1061">
                    <a:moveTo>
                      <a:pt x="0" y="31061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43B3986D-278D-785E-291F-FA74E5CEE672}"/>
                  </a:ext>
                </a:extLst>
              </p:cNvPr>
              <p:cNvSpPr/>
              <p:nvPr/>
            </p:nvSpPr>
            <p:spPr>
              <a:xfrm>
                <a:off x="5018759" y="1041387"/>
                <a:ext cx="6224" cy="53221"/>
              </a:xfrm>
              <a:custGeom>
                <a:avLst/>
                <a:gdLst>
                  <a:gd name="connsiteX0" fmla="*/ 0 w 6224"/>
                  <a:gd name="connsiteY0" fmla="*/ 53222 h 53221"/>
                  <a:gd name="connsiteX1" fmla="*/ 0 w 6224"/>
                  <a:gd name="connsiteY1" fmla="*/ 0 h 5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53221">
                    <a:moveTo>
                      <a:pt x="0" y="53222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B3EB9E83-5BAF-2300-7146-63FCA6A091D6}"/>
                  </a:ext>
                </a:extLst>
              </p:cNvPr>
              <p:cNvSpPr/>
              <p:nvPr/>
            </p:nvSpPr>
            <p:spPr>
              <a:xfrm>
                <a:off x="5018759" y="940110"/>
                <a:ext cx="6224" cy="49486"/>
              </a:xfrm>
              <a:custGeom>
                <a:avLst/>
                <a:gdLst>
                  <a:gd name="connsiteX0" fmla="*/ 0 w 6224"/>
                  <a:gd name="connsiteY0" fmla="*/ 49487 h 49486"/>
                  <a:gd name="connsiteX1" fmla="*/ 0 w 6224"/>
                  <a:gd name="connsiteY1" fmla="*/ 0 h 49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49486">
                    <a:moveTo>
                      <a:pt x="0" y="49487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DF965333-B3F4-9A70-7BC4-17ED9E1045A1}"/>
                  </a:ext>
                </a:extLst>
              </p:cNvPr>
              <p:cNvSpPr/>
              <p:nvPr/>
            </p:nvSpPr>
            <p:spPr>
              <a:xfrm>
                <a:off x="4987698" y="1127848"/>
                <a:ext cx="6224" cy="31061"/>
              </a:xfrm>
              <a:custGeom>
                <a:avLst/>
                <a:gdLst>
                  <a:gd name="connsiteX0" fmla="*/ 0 w 6224"/>
                  <a:gd name="connsiteY0" fmla="*/ 31061 h 31061"/>
                  <a:gd name="connsiteX1" fmla="*/ 0 w 6224"/>
                  <a:gd name="connsiteY1" fmla="*/ 0 h 3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1061">
                    <a:moveTo>
                      <a:pt x="0" y="31061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233A2EEA-4341-23B1-759F-2C792FF4A56A}"/>
                  </a:ext>
                </a:extLst>
              </p:cNvPr>
              <p:cNvSpPr/>
              <p:nvPr/>
            </p:nvSpPr>
            <p:spPr>
              <a:xfrm>
                <a:off x="4987698" y="1169305"/>
                <a:ext cx="6224" cy="53221"/>
              </a:xfrm>
              <a:custGeom>
                <a:avLst/>
                <a:gdLst>
                  <a:gd name="connsiteX0" fmla="*/ 0 w 6224"/>
                  <a:gd name="connsiteY0" fmla="*/ 53222 h 53221"/>
                  <a:gd name="connsiteX1" fmla="*/ 0 w 6224"/>
                  <a:gd name="connsiteY1" fmla="*/ 0 h 5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53221">
                    <a:moveTo>
                      <a:pt x="0" y="53222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2B7DEAAD-27FE-C61F-2FAC-9E21FE7DC6C0}"/>
                  </a:ext>
                </a:extLst>
              </p:cNvPr>
              <p:cNvSpPr/>
              <p:nvPr/>
            </p:nvSpPr>
            <p:spPr>
              <a:xfrm>
                <a:off x="4987698" y="1068028"/>
                <a:ext cx="6224" cy="49486"/>
              </a:xfrm>
              <a:custGeom>
                <a:avLst/>
                <a:gdLst>
                  <a:gd name="connsiteX0" fmla="*/ 0 w 6224"/>
                  <a:gd name="connsiteY0" fmla="*/ 49487 h 49486"/>
                  <a:gd name="connsiteX1" fmla="*/ 0 w 6224"/>
                  <a:gd name="connsiteY1" fmla="*/ 0 h 49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49486">
                    <a:moveTo>
                      <a:pt x="0" y="49487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ihandform: Form 124">
                <a:extLst>
                  <a:ext uri="{FF2B5EF4-FFF2-40B4-BE49-F238E27FC236}">
                    <a16:creationId xmlns:a16="http://schemas.microsoft.com/office/drawing/2014/main" id="{2C04CD0D-813A-397F-F5C6-EE7E563763AA}"/>
                  </a:ext>
                </a:extLst>
              </p:cNvPr>
              <p:cNvSpPr/>
              <p:nvPr/>
            </p:nvSpPr>
            <p:spPr>
              <a:xfrm>
                <a:off x="5076089" y="1017546"/>
                <a:ext cx="6224" cy="31061"/>
              </a:xfrm>
              <a:custGeom>
                <a:avLst/>
                <a:gdLst>
                  <a:gd name="connsiteX0" fmla="*/ 0 w 6224"/>
                  <a:gd name="connsiteY0" fmla="*/ 31061 h 31061"/>
                  <a:gd name="connsiteX1" fmla="*/ 0 w 6224"/>
                  <a:gd name="connsiteY1" fmla="*/ 0 h 3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1061">
                    <a:moveTo>
                      <a:pt x="0" y="31061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238" name="Freihandform: Form 3237">
            <a:extLst>
              <a:ext uri="{FF2B5EF4-FFF2-40B4-BE49-F238E27FC236}">
                <a16:creationId xmlns:a16="http://schemas.microsoft.com/office/drawing/2014/main" id="{C37C5533-1E09-DF96-B62D-67DBC09BA722}"/>
              </a:ext>
            </a:extLst>
          </p:cNvPr>
          <p:cNvSpPr/>
          <p:nvPr/>
        </p:nvSpPr>
        <p:spPr>
          <a:xfrm>
            <a:off x="9279196" y="2859504"/>
            <a:ext cx="2069185" cy="1194655"/>
          </a:xfrm>
          <a:custGeom>
            <a:avLst/>
            <a:gdLst>
              <a:gd name="connsiteX0" fmla="*/ 1034616 w 2069185"/>
              <a:gd name="connsiteY0" fmla="*/ 0 h 1194655"/>
              <a:gd name="connsiteX1" fmla="*/ 0 w 2069185"/>
              <a:gd name="connsiteY1" fmla="*/ 597328 h 1194655"/>
              <a:gd name="connsiteX2" fmla="*/ 1034570 w 2069185"/>
              <a:gd name="connsiteY2" fmla="*/ 1194656 h 1194655"/>
              <a:gd name="connsiteX3" fmla="*/ 2069185 w 2069185"/>
              <a:gd name="connsiteY3" fmla="*/ 597328 h 1194655"/>
              <a:gd name="connsiteX4" fmla="*/ 1034616 w 2069185"/>
              <a:gd name="connsiteY4" fmla="*/ 0 h 119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9185" h="1194655">
                <a:moveTo>
                  <a:pt x="1034616" y="0"/>
                </a:moveTo>
                <a:lnTo>
                  <a:pt x="0" y="597328"/>
                </a:lnTo>
                <a:lnTo>
                  <a:pt x="1034570" y="1194656"/>
                </a:lnTo>
                <a:lnTo>
                  <a:pt x="2069185" y="597328"/>
                </a:lnTo>
                <a:lnTo>
                  <a:pt x="1034616" y="0"/>
                </a:lnTo>
                <a:close/>
              </a:path>
            </a:pathLst>
          </a:custGeom>
          <a:solidFill>
            <a:schemeClr val="tx1"/>
          </a:solidFill>
          <a:ln w="22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62D18BA-D77B-3F0A-A3B7-79D19598BA29}"/>
              </a:ext>
            </a:extLst>
          </p:cNvPr>
          <p:cNvGrpSpPr/>
          <p:nvPr/>
        </p:nvGrpSpPr>
        <p:grpSpPr>
          <a:xfrm>
            <a:off x="10663499" y="3343411"/>
            <a:ext cx="584797" cy="396876"/>
            <a:chOff x="10663499" y="3912027"/>
            <a:chExt cx="584797" cy="396876"/>
          </a:xfrm>
        </p:grpSpPr>
        <p:sp>
          <p:nvSpPr>
            <p:cNvPr id="3239" name="Freihandform: Form 3238">
              <a:extLst>
                <a:ext uri="{FF2B5EF4-FFF2-40B4-BE49-F238E27FC236}">
                  <a16:creationId xmlns:a16="http://schemas.microsoft.com/office/drawing/2014/main" id="{F28A9C5A-9211-FF21-B4A4-DCD4B8B41F78}"/>
                </a:ext>
              </a:extLst>
            </p:cNvPr>
            <p:cNvSpPr/>
            <p:nvPr/>
          </p:nvSpPr>
          <p:spPr>
            <a:xfrm>
              <a:off x="10663499" y="3972546"/>
              <a:ext cx="584797" cy="336357"/>
            </a:xfrm>
            <a:custGeom>
              <a:avLst/>
              <a:gdLst>
                <a:gd name="connsiteX0" fmla="*/ 189261 w 584797"/>
                <a:gd name="connsiteY0" fmla="*/ 336358 h 336357"/>
                <a:gd name="connsiteX1" fmla="*/ 584798 w 584797"/>
                <a:gd name="connsiteY1" fmla="*/ 107988 h 336357"/>
                <a:gd name="connsiteX2" fmla="*/ 395536 w 584797"/>
                <a:gd name="connsiteY2" fmla="*/ 0 h 336357"/>
                <a:gd name="connsiteX3" fmla="*/ 0 w 584797"/>
                <a:gd name="connsiteY3" fmla="*/ 228369 h 336357"/>
                <a:gd name="connsiteX4" fmla="*/ 189261 w 584797"/>
                <a:gd name="connsiteY4" fmla="*/ 336358 h 336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797" h="336357">
                  <a:moveTo>
                    <a:pt x="189261" y="336358"/>
                  </a:moveTo>
                  <a:lnTo>
                    <a:pt x="584798" y="107988"/>
                  </a:lnTo>
                  <a:lnTo>
                    <a:pt x="395536" y="0"/>
                  </a:lnTo>
                  <a:lnTo>
                    <a:pt x="0" y="228369"/>
                  </a:lnTo>
                  <a:lnTo>
                    <a:pt x="189261" y="336358"/>
                  </a:lnTo>
                  <a:close/>
                </a:path>
              </a:pathLst>
            </a:custGeom>
            <a:solidFill>
              <a:srgbClr val="E5E5E9"/>
            </a:solidFill>
            <a:ln w="22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3240" name="Grafik 20">
              <a:extLst>
                <a:ext uri="{FF2B5EF4-FFF2-40B4-BE49-F238E27FC236}">
                  <a16:creationId xmlns:a16="http://schemas.microsoft.com/office/drawing/2014/main" id="{0E090B47-E36B-7303-173A-0730915B230F}"/>
                </a:ext>
              </a:extLst>
            </p:cNvPr>
            <p:cNvGrpSpPr/>
            <p:nvPr/>
          </p:nvGrpSpPr>
          <p:grpSpPr>
            <a:xfrm>
              <a:off x="10858212" y="3968700"/>
              <a:ext cx="91646" cy="155495"/>
              <a:chOff x="8759755" y="3525360"/>
              <a:chExt cx="91646" cy="155495"/>
            </a:xfrm>
          </p:grpSpPr>
          <p:grpSp>
            <p:nvGrpSpPr>
              <p:cNvPr id="3458" name="Grafik 20">
                <a:extLst>
                  <a:ext uri="{FF2B5EF4-FFF2-40B4-BE49-F238E27FC236}">
                    <a16:creationId xmlns:a16="http://schemas.microsoft.com/office/drawing/2014/main" id="{799574A9-305E-82CE-8A6E-D6ED6785DABB}"/>
                  </a:ext>
                </a:extLst>
              </p:cNvPr>
              <p:cNvGrpSpPr/>
              <p:nvPr/>
            </p:nvGrpSpPr>
            <p:grpSpPr>
              <a:xfrm>
                <a:off x="8799258" y="3611712"/>
                <a:ext cx="12818" cy="69143"/>
                <a:chOff x="8799258" y="3611712"/>
                <a:chExt cx="12818" cy="69143"/>
              </a:xfrm>
              <a:solidFill>
                <a:srgbClr val="AAAA96"/>
              </a:solidFill>
            </p:grpSpPr>
            <p:sp>
              <p:nvSpPr>
                <p:cNvPr id="3460" name="Freihandform: Form 3459">
                  <a:extLst>
                    <a:ext uri="{FF2B5EF4-FFF2-40B4-BE49-F238E27FC236}">
                      <a16:creationId xmlns:a16="http://schemas.microsoft.com/office/drawing/2014/main" id="{9686276F-9509-D8B3-0B33-D88FC8F93540}"/>
                    </a:ext>
                  </a:extLst>
                </p:cNvPr>
                <p:cNvSpPr/>
                <p:nvPr/>
              </p:nvSpPr>
              <p:spPr>
                <a:xfrm>
                  <a:off x="8799258" y="3615355"/>
                  <a:ext cx="12817" cy="65500"/>
                </a:xfrm>
                <a:custGeom>
                  <a:avLst/>
                  <a:gdLst>
                    <a:gd name="connsiteX0" fmla="*/ 13400 w 12817"/>
                    <a:gd name="connsiteY0" fmla="*/ 395 h 65500"/>
                    <a:gd name="connsiteX1" fmla="*/ 13226 w 12817"/>
                    <a:gd name="connsiteY1" fmla="*/ 62216 h 65500"/>
                    <a:gd name="connsiteX2" fmla="*/ 11386 w 12817"/>
                    <a:gd name="connsiteY2" fmla="*/ 64786 h 65500"/>
                    <a:gd name="connsiteX3" fmla="*/ 2449 w 12817"/>
                    <a:gd name="connsiteY3" fmla="*/ 64786 h 65500"/>
                    <a:gd name="connsiteX4" fmla="*/ 582 w 12817"/>
                    <a:gd name="connsiteY4" fmla="*/ 62179 h 65500"/>
                    <a:gd name="connsiteX5" fmla="*/ 757 w 12817"/>
                    <a:gd name="connsiteY5" fmla="*/ 358 h 65500"/>
                    <a:gd name="connsiteX6" fmla="*/ 2623 w 12817"/>
                    <a:gd name="connsiteY6" fmla="*/ 2965 h 65500"/>
                    <a:gd name="connsiteX7" fmla="*/ 11560 w 12817"/>
                    <a:gd name="connsiteY7" fmla="*/ 2965 h 65500"/>
                    <a:gd name="connsiteX8" fmla="*/ 13400 w 12817"/>
                    <a:gd name="connsiteY8" fmla="*/ 395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00" y="395"/>
                      </a:moveTo>
                      <a:lnTo>
                        <a:pt x="13226" y="62216"/>
                      </a:lnTo>
                      <a:cubicBezTo>
                        <a:pt x="13226" y="63147"/>
                        <a:pt x="12612" y="64078"/>
                        <a:pt x="11386" y="64786"/>
                      </a:cubicBezTo>
                      <a:cubicBezTo>
                        <a:pt x="8927" y="66214"/>
                        <a:pt x="4924" y="66219"/>
                        <a:pt x="2449" y="64786"/>
                      </a:cubicBezTo>
                      <a:cubicBezTo>
                        <a:pt x="1206" y="64067"/>
                        <a:pt x="582" y="63121"/>
                        <a:pt x="582" y="62179"/>
                      </a:cubicBezTo>
                      <a:lnTo>
                        <a:pt x="757" y="358"/>
                      </a:lnTo>
                      <a:cubicBezTo>
                        <a:pt x="757" y="1300"/>
                        <a:pt x="1376" y="2246"/>
                        <a:pt x="2623" y="2965"/>
                      </a:cubicBezTo>
                      <a:cubicBezTo>
                        <a:pt x="5104" y="4398"/>
                        <a:pt x="9101" y="4393"/>
                        <a:pt x="11560" y="2965"/>
                      </a:cubicBezTo>
                      <a:cubicBezTo>
                        <a:pt x="12782" y="2257"/>
                        <a:pt x="13395" y="1326"/>
                        <a:pt x="13400" y="395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61" name="Freihandform: Form 3460">
                  <a:extLst>
                    <a:ext uri="{FF2B5EF4-FFF2-40B4-BE49-F238E27FC236}">
                      <a16:creationId xmlns:a16="http://schemas.microsoft.com/office/drawing/2014/main" id="{7B8EF370-7F8B-05F8-4F19-A568C618DA0D}"/>
                    </a:ext>
                  </a:extLst>
                </p:cNvPr>
                <p:cNvSpPr/>
                <p:nvPr/>
              </p:nvSpPr>
              <p:spPr>
                <a:xfrm>
                  <a:off x="8799440" y="3611712"/>
                  <a:ext cx="12636" cy="7322"/>
                </a:xfrm>
                <a:custGeom>
                  <a:avLst/>
                  <a:gdLst>
                    <a:gd name="connsiteX0" fmla="*/ 11351 w 12636"/>
                    <a:gd name="connsiteY0" fmla="*/ 1479 h 7322"/>
                    <a:gd name="connsiteX1" fmla="*/ 11383 w 12636"/>
                    <a:gd name="connsiteY1" fmla="*/ 6656 h 7322"/>
                    <a:gd name="connsiteX2" fmla="*/ 2446 w 12636"/>
                    <a:gd name="connsiteY2" fmla="*/ 6656 h 7322"/>
                    <a:gd name="connsiteX3" fmla="*/ 2415 w 12636"/>
                    <a:gd name="connsiteY3" fmla="*/ 1479 h 7322"/>
                    <a:gd name="connsiteX4" fmla="*/ 11351 w 12636"/>
                    <a:gd name="connsiteY4" fmla="*/ 1479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351" y="1479"/>
                      </a:moveTo>
                      <a:cubicBezTo>
                        <a:pt x="13831" y="2912"/>
                        <a:pt x="13842" y="5223"/>
                        <a:pt x="11383" y="6656"/>
                      </a:cubicBezTo>
                      <a:cubicBezTo>
                        <a:pt x="8924" y="8083"/>
                        <a:pt x="4921" y="8089"/>
                        <a:pt x="2446" y="6656"/>
                      </a:cubicBezTo>
                      <a:cubicBezTo>
                        <a:pt x="-29" y="5228"/>
                        <a:pt x="-39" y="2907"/>
                        <a:pt x="2415" y="1479"/>
                      </a:cubicBezTo>
                      <a:cubicBezTo>
                        <a:pt x="4879" y="46"/>
                        <a:pt x="8876" y="51"/>
                        <a:pt x="11351" y="147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459" name="Freihandform: Form 3458">
                <a:extLst>
                  <a:ext uri="{FF2B5EF4-FFF2-40B4-BE49-F238E27FC236}">
                    <a16:creationId xmlns:a16="http://schemas.microsoft.com/office/drawing/2014/main" id="{62A4933B-2403-1C29-BC42-2D9B78487EB7}"/>
                  </a:ext>
                </a:extLst>
              </p:cNvPr>
              <p:cNvSpPr/>
              <p:nvPr/>
            </p:nvSpPr>
            <p:spPr>
              <a:xfrm>
                <a:off x="8759755" y="3525360"/>
                <a:ext cx="91646" cy="111740"/>
              </a:xfrm>
              <a:custGeom>
                <a:avLst/>
                <a:gdLst>
                  <a:gd name="connsiteX0" fmla="*/ 92023 w 91646"/>
                  <a:gd name="connsiteY0" fmla="*/ 53065 h 111740"/>
                  <a:gd name="connsiteX1" fmla="*/ 48044 w 91646"/>
                  <a:gd name="connsiteY1" fmla="*/ 482 h 111740"/>
                  <a:gd name="connsiteX2" fmla="*/ 11879 w 91646"/>
                  <a:gd name="connsiteY2" fmla="*/ 20602 h 111740"/>
                  <a:gd name="connsiteX3" fmla="*/ 9553 w 91646"/>
                  <a:gd name="connsiteY3" fmla="*/ 90625 h 111740"/>
                  <a:gd name="connsiteX4" fmla="*/ 52914 w 91646"/>
                  <a:gd name="connsiteY4" fmla="*/ 111607 h 111740"/>
                  <a:gd name="connsiteX5" fmla="*/ 92028 w 91646"/>
                  <a:gd name="connsiteY5" fmla="*/ 53186 h 111740"/>
                  <a:gd name="connsiteX6" fmla="*/ 92028 w 91646"/>
                  <a:gd name="connsiteY6" fmla="*/ 53065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023" y="53065"/>
                    </a:moveTo>
                    <a:cubicBezTo>
                      <a:pt x="90638" y="28196"/>
                      <a:pt x="74314" y="1286"/>
                      <a:pt x="48044" y="482"/>
                    </a:cubicBezTo>
                    <a:cubicBezTo>
                      <a:pt x="33444" y="-84"/>
                      <a:pt x="19827" y="8620"/>
                      <a:pt x="11879" y="20602"/>
                    </a:cubicBezTo>
                    <a:cubicBezTo>
                      <a:pt x="-1726" y="40432"/>
                      <a:pt x="-3693" y="69843"/>
                      <a:pt x="9553" y="90625"/>
                    </a:cubicBezTo>
                    <a:cubicBezTo>
                      <a:pt x="18553" y="105198"/>
                      <a:pt x="35850" y="114717"/>
                      <a:pt x="52914" y="111607"/>
                    </a:cubicBezTo>
                    <a:cubicBezTo>
                      <a:pt x="78978" y="107255"/>
                      <a:pt x="94175" y="78806"/>
                      <a:pt x="92028" y="53186"/>
                    </a:cubicBezTo>
                    <a:lnTo>
                      <a:pt x="92028" y="53065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41" name="Grafik 20">
              <a:extLst>
                <a:ext uri="{FF2B5EF4-FFF2-40B4-BE49-F238E27FC236}">
                  <a16:creationId xmlns:a16="http://schemas.microsoft.com/office/drawing/2014/main" id="{0ED0763A-C0E0-444E-3945-6E3F0F47EE6A}"/>
                </a:ext>
              </a:extLst>
            </p:cNvPr>
            <p:cNvGrpSpPr/>
            <p:nvPr/>
          </p:nvGrpSpPr>
          <p:grpSpPr>
            <a:xfrm>
              <a:off x="10989514" y="4022338"/>
              <a:ext cx="91646" cy="155494"/>
              <a:chOff x="8891057" y="3578998"/>
              <a:chExt cx="91646" cy="155494"/>
            </a:xfrm>
          </p:grpSpPr>
          <p:grpSp>
            <p:nvGrpSpPr>
              <p:cNvPr id="3454" name="Grafik 20">
                <a:extLst>
                  <a:ext uri="{FF2B5EF4-FFF2-40B4-BE49-F238E27FC236}">
                    <a16:creationId xmlns:a16="http://schemas.microsoft.com/office/drawing/2014/main" id="{59100104-E435-DF4A-4889-A8677C2B1DA7}"/>
                  </a:ext>
                </a:extLst>
              </p:cNvPr>
              <p:cNvGrpSpPr/>
              <p:nvPr/>
            </p:nvGrpSpPr>
            <p:grpSpPr>
              <a:xfrm>
                <a:off x="8930559" y="3665350"/>
                <a:ext cx="12819" cy="69142"/>
                <a:chOff x="8930559" y="3665350"/>
                <a:chExt cx="12819" cy="69142"/>
              </a:xfrm>
              <a:solidFill>
                <a:srgbClr val="AAAA96"/>
              </a:solidFill>
            </p:grpSpPr>
            <p:sp>
              <p:nvSpPr>
                <p:cNvPr id="3456" name="Freihandform: Form 3455">
                  <a:extLst>
                    <a:ext uri="{FF2B5EF4-FFF2-40B4-BE49-F238E27FC236}">
                      <a16:creationId xmlns:a16="http://schemas.microsoft.com/office/drawing/2014/main" id="{EB5882AE-09D2-7B37-A61F-7A56CA86368D}"/>
                    </a:ext>
                  </a:extLst>
                </p:cNvPr>
                <p:cNvSpPr/>
                <p:nvPr/>
              </p:nvSpPr>
              <p:spPr>
                <a:xfrm>
                  <a:off x="8930559" y="3668992"/>
                  <a:ext cx="12817" cy="65500"/>
                </a:xfrm>
                <a:custGeom>
                  <a:avLst/>
                  <a:gdLst>
                    <a:gd name="connsiteX0" fmla="*/ 13457 w 12817"/>
                    <a:gd name="connsiteY0" fmla="*/ 419 h 65500"/>
                    <a:gd name="connsiteX1" fmla="*/ 13283 w 12817"/>
                    <a:gd name="connsiteY1" fmla="*/ 62240 h 65500"/>
                    <a:gd name="connsiteX2" fmla="*/ 11443 w 12817"/>
                    <a:gd name="connsiteY2" fmla="*/ 64810 h 65500"/>
                    <a:gd name="connsiteX3" fmla="*/ 2506 w 12817"/>
                    <a:gd name="connsiteY3" fmla="*/ 64810 h 65500"/>
                    <a:gd name="connsiteX4" fmla="*/ 639 w 12817"/>
                    <a:gd name="connsiteY4" fmla="*/ 62203 h 65500"/>
                    <a:gd name="connsiteX5" fmla="*/ 814 w 12817"/>
                    <a:gd name="connsiteY5" fmla="*/ 382 h 65500"/>
                    <a:gd name="connsiteX6" fmla="*/ 2681 w 12817"/>
                    <a:gd name="connsiteY6" fmla="*/ 2989 h 65500"/>
                    <a:gd name="connsiteX7" fmla="*/ 11617 w 12817"/>
                    <a:gd name="connsiteY7" fmla="*/ 2989 h 65500"/>
                    <a:gd name="connsiteX8" fmla="*/ 13457 w 12817"/>
                    <a:gd name="connsiteY8" fmla="*/ 419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57" y="419"/>
                      </a:moveTo>
                      <a:lnTo>
                        <a:pt x="13283" y="62240"/>
                      </a:lnTo>
                      <a:cubicBezTo>
                        <a:pt x="13283" y="63170"/>
                        <a:pt x="12669" y="64101"/>
                        <a:pt x="11443" y="64810"/>
                      </a:cubicBezTo>
                      <a:cubicBezTo>
                        <a:pt x="8984" y="66237"/>
                        <a:pt x="4981" y="66243"/>
                        <a:pt x="2506" y="64810"/>
                      </a:cubicBezTo>
                      <a:cubicBezTo>
                        <a:pt x="1263" y="64090"/>
                        <a:pt x="639" y="63144"/>
                        <a:pt x="639" y="62203"/>
                      </a:cubicBezTo>
                      <a:lnTo>
                        <a:pt x="814" y="382"/>
                      </a:lnTo>
                      <a:cubicBezTo>
                        <a:pt x="814" y="1323"/>
                        <a:pt x="1433" y="2269"/>
                        <a:pt x="2681" y="2989"/>
                      </a:cubicBezTo>
                      <a:cubicBezTo>
                        <a:pt x="5161" y="4422"/>
                        <a:pt x="9158" y="4416"/>
                        <a:pt x="11617" y="2989"/>
                      </a:cubicBezTo>
                      <a:cubicBezTo>
                        <a:pt x="12839" y="2280"/>
                        <a:pt x="13452" y="1349"/>
                        <a:pt x="13457" y="41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57" name="Freihandform: Form 3456">
                  <a:extLst>
                    <a:ext uri="{FF2B5EF4-FFF2-40B4-BE49-F238E27FC236}">
                      <a16:creationId xmlns:a16="http://schemas.microsoft.com/office/drawing/2014/main" id="{B86FD251-8761-4CAE-351B-6EF798A37AB2}"/>
                    </a:ext>
                  </a:extLst>
                </p:cNvPr>
                <p:cNvSpPr/>
                <p:nvPr/>
              </p:nvSpPr>
              <p:spPr>
                <a:xfrm>
                  <a:off x="8930742" y="3665350"/>
                  <a:ext cx="12636" cy="7322"/>
                </a:xfrm>
                <a:custGeom>
                  <a:avLst/>
                  <a:gdLst>
                    <a:gd name="connsiteX0" fmla="*/ 11408 w 12636"/>
                    <a:gd name="connsiteY0" fmla="*/ 1502 h 7322"/>
                    <a:gd name="connsiteX1" fmla="*/ 11440 w 12636"/>
                    <a:gd name="connsiteY1" fmla="*/ 6679 h 7322"/>
                    <a:gd name="connsiteX2" fmla="*/ 2503 w 12636"/>
                    <a:gd name="connsiteY2" fmla="*/ 6679 h 7322"/>
                    <a:gd name="connsiteX3" fmla="*/ 2472 w 12636"/>
                    <a:gd name="connsiteY3" fmla="*/ 1502 h 7322"/>
                    <a:gd name="connsiteX4" fmla="*/ 11408 w 12636"/>
                    <a:gd name="connsiteY4" fmla="*/ 1502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408" y="1502"/>
                      </a:moveTo>
                      <a:cubicBezTo>
                        <a:pt x="13888" y="2935"/>
                        <a:pt x="13899" y="5246"/>
                        <a:pt x="11440" y="6679"/>
                      </a:cubicBezTo>
                      <a:cubicBezTo>
                        <a:pt x="8981" y="8107"/>
                        <a:pt x="4978" y="8112"/>
                        <a:pt x="2503" y="6679"/>
                      </a:cubicBezTo>
                      <a:cubicBezTo>
                        <a:pt x="29" y="5251"/>
                        <a:pt x="18" y="2930"/>
                        <a:pt x="2472" y="1502"/>
                      </a:cubicBezTo>
                      <a:cubicBezTo>
                        <a:pt x="4936" y="69"/>
                        <a:pt x="8933" y="74"/>
                        <a:pt x="11408" y="1502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455" name="Freihandform: Form 3454">
                <a:extLst>
                  <a:ext uri="{FF2B5EF4-FFF2-40B4-BE49-F238E27FC236}">
                    <a16:creationId xmlns:a16="http://schemas.microsoft.com/office/drawing/2014/main" id="{FA4EAA14-E673-212D-61A4-4311C711AB21}"/>
                  </a:ext>
                </a:extLst>
              </p:cNvPr>
              <p:cNvSpPr/>
              <p:nvPr/>
            </p:nvSpPr>
            <p:spPr>
              <a:xfrm>
                <a:off x="8891057" y="3578998"/>
                <a:ext cx="91646" cy="111740"/>
              </a:xfrm>
              <a:custGeom>
                <a:avLst/>
                <a:gdLst>
                  <a:gd name="connsiteX0" fmla="*/ 92080 w 91646"/>
                  <a:gd name="connsiteY0" fmla="*/ 53088 h 111740"/>
                  <a:gd name="connsiteX1" fmla="*/ 48101 w 91646"/>
                  <a:gd name="connsiteY1" fmla="*/ 505 h 111740"/>
                  <a:gd name="connsiteX2" fmla="*/ 11937 w 91646"/>
                  <a:gd name="connsiteY2" fmla="*/ 20626 h 111740"/>
                  <a:gd name="connsiteX3" fmla="*/ 9610 w 91646"/>
                  <a:gd name="connsiteY3" fmla="*/ 90648 h 111740"/>
                  <a:gd name="connsiteX4" fmla="*/ 52971 w 91646"/>
                  <a:gd name="connsiteY4" fmla="*/ 111631 h 111740"/>
                  <a:gd name="connsiteX5" fmla="*/ 92086 w 91646"/>
                  <a:gd name="connsiteY5" fmla="*/ 53210 h 111740"/>
                  <a:gd name="connsiteX6" fmla="*/ 92086 w 91646"/>
                  <a:gd name="connsiteY6" fmla="*/ 53088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080" y="53088"/>
                    </a:moveTo>
                    <a:cubicBezTo>
                      <a:pt x="90695" y="28219"/>
                      <a:pt x="74371" y="1309"/>
                      <a:pt x="48101" y="505"/>
                    </a:cubicBezTo>
                    <a:cubicBezTo>
                      <a:pt x="33501" y="-61"/>
                      <a:pt x="19884" y="8643"/>
                      <a:pt x="11937" y="20626"/>
                    </a:cubicBezTo>
                    <a:cubicBezTo>
                      <a:pt x="-1669" y="40455"/>
                      <a:pt x="-3636" y="69867"/>
                      <a:pt x="9610" y="90648"/>
                    </a:cubicBezTo>
                    <a:cubicBezTo>
                      <a:pt x="18610" y="105222"/>
                      <a:pt x="35907" y="114740"/>
                      <a:pt x="52971" y="111631"/>
                    </a:cubicBezTo>
                    <a:cubicBezTo>
                      <a:pt x="79035" y="107279"/>
                      <a:pt x="94232" y="78830"/>
                      <a:pt x="92086" y="53210"/>
                    </a:cubicBezTo>
                    <a:lnTo>
                      <a:pt x="92086" y="53088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42" name="Grafik 20">
              <a:extLst>
                <a:ext uri="{FF2B5EF4-FFF2-40B4-BE49-F238E27FC236}">
                  <a16:creationId xmlns:a16="http://schemas.microsoft.com/office/drawing/2014/main" id="{2EF69B65-E2FC-57F4-6323-B6A2C16AE1D1}"/>
                </a:ext>
              </a:extLst>
            </p:cNvPr>
            <p:cNvGrpSpPr/>
            <p:nvPr/>
          </p:nvGrpSpPr>
          <p:grpSpPr>
            <a:xfrm>
              <a:off x="10783515" y="4071331"/>
              <a:ext cx="91646" cy="155495"/>
              <a:chOff x="8685058" y="3627991"/>
              <a:chExt cx="91646" cy="155495"/>
            </a:xfrm>
          </p:grpSpPr>
          <p:grpSp>
            <p:nvGrpSpPr>
              <p:cNvPr id="3450" name="Grafik 20">
                <a:extLst>
                  <a:ext uri="{FF2B5EF4-FFF2-40B4-BE49-F238E27FC236}">
                    <a16:creationId xmlns:a16="http://schemas.microsoft.com/office/drawing/2014/main" id="{90D021BC-CEAA-A63A-2C69-BA52AB22A1BE}"/>
                  </a:ext>
                </a:extLst>
              </p:cNvPr>
              <p:cNvGrpSpPr/>
              <p:nvPr/>
            </p:nvGrpSpPr>
            <p:grpSpPr>
              <a:xfrm>
                <a:off x="8724560" y="3714343"/>
                <a:ext cx="12819" cy="69143"/>
                <a:chOff x="8724560" y="3714343"/>
                <a:chExt cx="12819" cy="69143"/>
              </a:xfrm>
              <a:solidFill>
                <a:srgbClr val="AAAA96"/>
              </a:solidFill>
            </p:grpSpPr>
            <p:sp>
              <p:nvSpPr>
                <p:cNvPr id="3452" name="Freihandform: Form 3451">
                  <a:extLst>
                    <a:ext uri="{FF2B5EF4-FFF2-40B4-BE49-F238E27FC236}">
                      <a16:creationId xmlns:a16="http://schemas.microsoft.com/office/drawing/2014/main" id="{2E294F77-6C8D-813F-3A58-241900B14BF9}"/>
                    </a:ext>
                  </a:extLst>
                </p:cNvPr>
                <p:cNvSpPr/>
                <p:nvPr/>
              </p:nvSpPr>
              <p:spPr>
                <a:xfrm>
                  <a:off x="8724560" y="3717986"/>
                  <a:ext cx="12817" cy="65500"/>
                </a:xfrm>
                <a:custGeom>
                  <a:avLst/>
                  <a:gdLst>
                    <a:gd name="connsiteX0" fmla="*/ 13368 w 12817"/>
                    <a:gd name="connsiteY0" fmla="*/ 440 h 65500"/>
                    <a:gd name="connsiteX1" fmla="*/ 13193 w 12817"/>
                    <a:gd name="connsiteY1" fmla="*/ 62261 h 65500"/>
                    <a:gd name="connsiteX2" fmla="*/ 11353 w 12817"/>
                    <a:gd name="connsiteY2" fmla="*/ 64831 h 65500"/>
                    <a:gd name="connsiteX3" fmla="*/ 2416 w 12817"/>
                    <a:gd name="connsiteY3" fmla="*/ 64831 h 65500"/>
                    <a:gd name="connsiteX4" fmla="*/ 550 w 12817"/>
                    <a:gd name="connsiteY4" fmla="*/ 62224 h 65500"/>
                    <a:gd name="connsiteX5" fmla="*/ 724 w 12817"/>
                    <a:gd name="connsiteY5" fmla="*/ 403 h 65500"/>
                    <a:gd name="connsiteX6" fmla="*/ 2591 w 12817"/>
                    <a:gd name="connsiteY6" fmla="*/ 3010 h 65500"/>
                    <a:gd name="connsiteX7" fmla="*/ 11528 w 12817"/>
                    <a:gd name="connsiteY7" fmla="*/ 3010 h 65500"/>
                    <a:gd name="connsiteX8" fmla="*/ 13368 w 12817"/>
                    <a:gd name="connsiteY8" fmla="*/ 440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368" y="440"/>
                      </a:moveTo>
                      <a:lnTo>
                        <a:pt x="13193" y="62261"/>
                      </a:lnTo>
                      <a:cubicBezTo>
                        <a:pt x="13193" y="63192"/>
                        <a:pt x="12580" y="64122"/>
                        <a:pt x="11353" y="64831"/>
                      </a:cubicBezTo>
                      <a:cubicBezTo>
                        <a:pt x="8894" y="66259"/>
                        <a:pt x="4891" y="66264"/>
                        <a:pt x="2416" y="64831"/>
                      </a:cubicBezTo>
                      <a:cubicBezTo>
                        <a:pt x="1174" y="64112"/>
                        <a:pt x="550" y="63165"/>
                        <a:pt x="550" y="62224"/>
                      </a:cubicBezTo>
                      <a:lnTo>
                        <a:pt x="724" y="403"/>
                      </a:lnTo>
                      <a:cubicBezTo>
                        <a:pt x="724" y="1344"/>
                        <a:pt x="1343" y="2291"/>
                        <a:pt x="2591" y="3010"/>
                      </a:cubicBezTo>
                      <a:cubicBezTo>
                        <a:pt x="5071" y="4443"/>
                        <a:pt x="9069" y="4438"/>
                        <a:pt x="11528" y="3010"/>
                      </a:cubicBezTo>
                      <a:cubicBezTo>
                        <a:pt x="12749" y="2301"/>
                        <a:pt x="13362" y="1371"/>
                        <a:pt x="13368" y="440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53" name="Freihandform: Form 3452">
                  <a:extLst>
                    <a:ext uri="{FF2B5EF4-FFF2-40B4-BE49-F238E27FC236}">
                      <a16:creationId xmlns:a16="http://schemas.microsoft.com/office/drawing/2014/main" id="{C649A547-43F2-CFB2-4813-4B113E1742E7}"/>
                    </a:ext>
                  </a:extLst>
                </p:cNvPr>
                <p:cNvSpPr/>
                <p:nvPr/>
              </p:nvSpPr>
              <p:spPr>
                <a:xfrm>
                  <a:off x="8724743" y="3714343"/>
                  <a:ext cx="12636" cy="7322"/>
                </a:xfrm>
                <a:custGeom>
                  <a:avLst/>
                  <a:gdLst>
                    <a:gd name="connsiteX0" fmla="*/ 11319 w 12636"/>
                    <a:gd name="connsiteY0" fmla="*/ 1523 h 7322"/>
                    <a:gd name="connsiteX1" fmla="*/ 11350 w 12636"/>
                    <a:gd name="connsiteY1" fmla="*/ 6700 h 7322"/>
                    <a:gd name="connsiteX2" fmla="*/ 2414 w 12636"/>
                    <a:gd name="connsiteY2" fmla="*/ 6700 h 7322"/>
                    <a:gd name="connsiteX3" fmla="*/ 2382 w 12636"/>
                    <a:gd name="connsiteY3" fmla="*/ 1523 h 7322"/>
                    <a:gd name="connsiteX4" fmla="*/ 11319 w 12636"/>
                    <a:gd name="connsiteY4" fmla="*/ 1523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319" y="1523"/>
                      </a:moveTo>
                      <a:cubicBezTo>
                        <a:pt x="13799" y="2956"/>
                        <a:pt x="13809" y="5267"/>
                        <a:pt x="11350" y="6700"/>
                      </a:cubicBezTo>
                      <a:cubicBezTo>
                        <a:pt x="8891" y="8128"/>
                        <a:pt x="4888" y="8133"/>
                        <a:pt x="2414" y="6700"/>
                      </a:cubicBezTo>
                      <a:cubicBezTo>
                        <a:pt x="-61" y="5273"/>
                        <a:pt x="-72" y="2951"/>
                        <a:pt x="2382" y="1523"/>
                      </a:cubicBezTo>
                      <a:cubicBezTo>
                        <a:pt x="4846" y="90"/>
                        <a:pt x="8844" y="96"/>
                        <a:pt x="11319" y="1523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451" name="Freihandform: Form 3450">
                <a:extLst>
                  <a:ext uri="{FF2B5EF4-FFF2-40B4-BE49-F238E27FC236}">
                    <a16:creationId xmlns:a16="http://schemas.microsoft.com/office/drawing/2014/main" id="{AB950665-8350-63D4-8AA0-A5B255C8DD2C}"/>
                  </a:ext>
                </a:extLst>
              </p:cNvPr>
              <p:cNvSpPr/>
              <p:nvPr/>
            </p:nvSpPr>
            <p:spPr>
              <a:xfrm>
                <a:off x="8685058" y="3627991"/>
                <a:ext cx="91646" cy="111740"/>
              </a:xfrm>
              <a:custGeom>
                <a:avLst/>
                <a:gdLst>
                  <a:gd name="connsiteX0" fmla="*/ 91991 w 91646"/>
                  <a:gd name="connsiteY0" fmla="*/ 53109 h 111740"/>
                  <a:gd name="connsiteX1" fmla="*/ 48011 w 91646"/>
                  <a:gd name="connsiteY1" fmla="*/ 526 h 111740"/>
                  <a:gd name="connsiteX2" fmla="*/ 11847 w 91646"/>
                  <a:gd name="connsiteY2" fmla="*/ 20647 h 111740"/>
                  <a:gd name="connsiteX3" fmla="*/ 9520 w 91646"/>
                  <a:gd name="connsiteY3" fmla="*/ 90670 h 111740"/>
                  <a:gd name="connsiteX4" fmla="*/ 52881 w 91646"/>
                  <a:gd name="connsiteY4" fmla="*/ 111652 h 111740"/>
                  <a:gd name="connsiteX5" fmla="*/ 91996 w 91646"/>
                  <a:gd name="connsiteY5" fmla="*/ 53231 h 111740"/>
                  <a:gd name="connsiteX6" fmla="*/ 91996 w 91646"/>
                  <a:gd name="connsiteY6" fmla="*/ 53109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1991" y="53109"/>
                    </a:moveTo>
                    <a:cubicBezTo>
                      <a:pt x="90605" y="28240"/>
                      <a:pt x="74281" y="1330"/>
                      <a:pt x="48011" y="526"/>
                    </a:cubicBezTo>
                    <a:cubicBezTo>
                      <a:pt x="33411" y="-39"/>
                      <a:pt x="19795" y="8665"/>
                      <a:pt x="11847" y="20647"/>
                    </a:cubicBezTo>
                    <a:cubicBezTo>
                      <a:pt x="-1759" y="40477"/>
                      <a:pt x="-3726" y="69888"/>
                      <a:pt x="9520" y="90670"/>
                    </a:cubicBezTo>
                    <a:cubicBezTo>
                      <a:pt x="18520" y="105243"/>
                      <a:pt x="35817" y="114761"/>
                      <a:pt x="52881" y="111652"/>
                    </a:cubicBezTo>
                    <a:cubicBezTo>
                      <a:pt x="78945" y="107300"/>
                      <a:pt x="94143" y="78851"/>
                      <a:pt x="91996" y="53231"/>
                    </a:cubicBezTo>
                    <a:lnTo>
                      <a:pt x="91996" y="53109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43" name="Grafik 20">
              <a:extLst>
                <a:ext uri="{FF2B5EF4-FFF2-40B4-BE49-F238E27FC236}">
                  <a16:creationId xmlns:a16="http://schemas.microsoft.com/office/drawing/2014/main" id="{AFAC225B-FF86-A2A9-C65D-CC1E289DD939}"/>
                </a:ext>
              </a:extLst>
            </p:cNvPr>
            <p:cNvGrpSpPr/>
            <p:nvPr/>
          </p:nvGrpSpPr>
          <p:grpSpPr>
            <a:xfrm>
              <a:off x="11069200" y="3912027"/>
              <a:ext cx="91646" cy="155495"/>
              <a:chOff x="8970743" y="3468687"/>
              <a:chExt cx="91646" cy="155495"/>
            </a:xfrm>
          </p:grpSpPr>
          <p:grpSp>
            <p:nvGrpSpPr>
              <p:cNvPr id="3446" name="Grafik 20">
                <a:extLst>
                  <a:ext uri="{FF2B5EF4-FFF2-40B4-BE49-F238E27FC236}">
                    <a16:creationId xmlns:a16="http://schemas.microsoft.com/office/drawing/2014/main" id="{B4E8133D-A66A-2853-6DA0-3AA48D30429D}"/>
                  </a:ext>
                </a:extLst>
              </p:cNvPr>
              <p:cNvGrpSpPr/>
              <p:nvPr/>
            </p:nvGrpSpPr>
            <p:grpSpPr>
              <a:xfrm>
                <a:off x="9010246" y="3555039"/>
                <a:ext cx="12818" cy="69143"/>
                <a:chOff x="9010246" y="3555039"/>
                <a:chExt cx="12818" cy="69143"/>
              </a:xfrm>
              <a:solidFill>
                <a:srgbClr val="AAAA96"/>
              </a:solidFill>
            </p:grpSpPr>
            <p:sp>
              <p:nvSpPr>
                <p:cNvPr id="3448" name="Freihandform: Form 3447">
                  <a:extLst>
                    <a:ext uri="{FF2B5EF4-FFF2-40B4-BE49-F238E27FC236}">
                      <a16:creationId xmlns:a16="http://schemas.microsoft.com/office/drawing/2014/main" id="{66B0123C-A8B2-498E-7E01-F18F136E8D69}"/>
                    </a:ext>
                  </a:extLst>
                </p:cNvPr>
                <p:cNvSpPr/>
                <p:nvPr/>
              </p:nvSpPr>
              <p:spPr>
                <a:xfrm>
                  <a:off x="9010246" y="3558682"/>
                  <a:ext cx="12817" cy="65500"/>
                </a:xfrm>
                <a:custGeom>
                  <a:avLst/>
                  <a:gdLst>
                    <a:gd name="connsiteX0" fmla="*/ 13492 w 12817"/>
                    <a:gd name="connsiteY0" fmla="*/ 371 h 65500"/>
                    <a:gd name="connsiteX1" fmla="*/ 13318 w 12817"/>
                    <a:gd name="connsiteY1" fmla="*/ 62192 h 65500"/>
                    <a:gd name="connsiteX2" fmla="*/ 11477 w 12817"/>
                    <a:gd name="connsiteY2" fmla="*/ 64762 h 65500"/>
                    <a:gd name="connsiteX3" fmla="*/ 2541 w 12817"/>
                    <a:gd name="connsiteY3" fmla="*/ 64762 h 65500"/>
                    <a:gd name="connsiteX4" fmla="*/ 674 w 12817"/>
                    <a:gd name="connsiteY4" fmla="*/ 62155 h 65500"/>
                    <a:gd name="connsiteX5" fmla="*/ 849 w 12817"/>
                    <a:gd name="connsiteY5" fmla="*/ 334 h 65500"/>
                    <a:gd name="connsiteX6" fmla="*/ 2715 w 12817"/>
                    <a:gd name="connsiteY6" fmla="*/ 2941 h 65500"/>
                    <a:gd name="connsiteX7" fmla="*/ 11652 w 12817"/>
                    <a:gd name="connsiteY7" fmla="*/ 2941 h 65500"/>
                    <a:gd name="connsiteX8" fmla="*/ 13492 w 12817"/>
                    <a:gd name="connsiteY8" fmla="*/ 371 h 6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17" h="65500">
                      <a:moveTo>
                        <a:pt x="13492" y="371"/>
                      </a:moveTo>
                      <a:lnTo>
                        <a:pt x="13318" y="62192"/>
                      </a:lnTo>
                      <a:cubicBezTo>
                        <a:pt x="13318" y="63122"/>
                        <a:pt x="12704" y="64053"/>
                        <a:pt x="11477" y="64762"/>
                      </a:cubicBezTo>
                      <a:cubicBezTo>
                        <a:pt x="9018" y="66189"/>
                        <a:pt x="5015" y="66195"/>
                        <a:pt x="2541" y="64762"/>
                      </a:cubicBezTo>
                      <a:cubicBezTo>
                        <a:pt x="1298" y="64043"/>
                        <a:pt x="674" y="63096"/>
                        <a:pt x="674" y="62155"/>
                      </a:cubicBezTo>
                      <a:lnTo>
                        <a:pt x="849" y="334"/>
                      </a:lnTo>
                      <a:cubicBezTo>
                        <a:pt x="849" y="1275"/>
                        <a:pt x="1467" y="2221"/>
                        <a:pt x="2715" y="2941"/>
                      </a:cubicBezTo>
                      <a:cubicBezTo>
                        <a:pt x="5195" y="4374"/>
                        <a:pt x="9193" y="4368"/>
                        <a:pt x="11652" y="2941"/>
                      </a:cubicBezTo>
                      <a:cubicBezTo>
                        <a:pt x="12873" y="2232"/>
                        <a:pt x="13487" y="1301"/>
                        <a:pt x="13492" y="371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49" name="Freihandform: Form 3448">
                  <a:extLst>
                    <a:ext uri="{FF2B5EF4-FFF2-40B4-BE49-F238E27FC236}">
                      <a16:creationId xmlns:a16="http://schemas.microsoft.com/office/drawing/2014/main" id="{77AB1063-1217-8FF4-EB4C-ECB8CDABBCBA}"/>
                    </a:ext>
                  </a:extLst>
                </p:cNvPr>
                <p:cNvSpPr/>
                <p:nvPr/>
              </p:nvSpPr>
              <p:spPr>
                <a:xfrm>
                  <a:off x="9010428" y="3555039"/>
                  <a:ext cx="12636" cy="7322"/>
                </a:xfrm>
                <a:custGeom>
                  <a:avLst/>
                  <a:gdLst>
                    <a:gd name="connsiteX0" fmla="*/ 11443 w 12636"/>
                    <a:gd name="connsiteY0" fmla="*/ 1454 h 7322"/>
                    <a:gd name="connsiteX1" fmla="*/ 11475 w 12636"/>
                    <a:gd name="connsiteY1" fmla="*/ 6631 h 7322"/>
                    <a:gd name="connsiteX2" fmla="*/ 2538 w 12636"/>
                    <a:gd name="connsiteY2" fmla="*/ 6631 h 7322"/>
                    <a:gd name="connsiteX3" fmla="*/ 2506 w 12636"/>
                    <a:gd name="connsiteY3" fmla="*/ 1454 h 7322"/>
                    <a:gd name="connsiteX4" fmla="*/ 11443 w 12636"/>
                    <a:gd name="connsiteY4" fmla="*/ 1454 h 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36" h="7322">
                      <a:moveTo>
                        <a:pt x="11443" y="1454"/>
                      </a:moveTo>
                      <a:cubicBezTo>
                        <a:pt x="13923" y="2887"/>
                        <a:pt x="13933" y="5198"/>
                        <a:pt x="11475" y="6631"/>
                      </a:cubicBezTo>
                      <a:cubicBezTo>
                        <a:pt x="9016" y="8059"/>
                        <a:pt x="5013" y="8064"/>
                        <a:pt x="2538" y="6631"/>
                      </a:cubicBezTo>
                      <a:cubicBezTo>
                        <a:pt x="63" y="5203"/>
                        <a:pt x="53" y="2882"/>
                        <a:pt x="2506" y="1454"/>
                      </a:cubicBezTo>
                      <a:cubicBezTo>
                        <a:pt x="4970" y="21"/>
                        <a:pt x="8968" y="26"/>
                        <a:pt x="11443" y="1454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5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9999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447" name="Freihandform: Form 3446">
                <a:extLst>
                  <a:ext uri="{FF2B5EF4-FFF2-40B4-BE49-F238E27FC236}">
                    <a16:creationId xmlns:a16="http://schemas.microsoft.com/office/drawing/2014/main" id="{58FAF9AB-EC56-47F3-C298-6AB53BDB4DD1}"/>
                  </a:ext>
                </a:extLst>
              </p:cNvPr>
              <p:cNvSpPr/>
              <p:nvPr/>
            </p:nvSpPr>
            <p:spPr>
              <a:xfrm>
                <a:off x="8970743" y="3468687"/>
                <a:ext cx="91646" cy="111740"/>
              </a:xfrm>
              <a:custGeom>
                <a:avLst/>
                <a:gdLst>
                  <a:gd name="connsiteX0" fmla="*/ 92115 w 91646"/>
                  <a:gd name="connsiteY0" fmla="*/ 53040 h 111740"/>
                  <a:gd name="connsiteX1" fmla="*/ 48135 w 91646"/>
                  <a:gd name="connsiteY1" fmla="*/ 457 h 111740"/>
                  <a:gd name="connsiteX2" fmla="*/ 11971 w 91646"/>
                  <a:gd name="connsiteY2" fmla="*/ 20578 h 111740"/>
                  <a:gd name="connsiteX3" fmla="*/ 9645 w 91646"/>
                  <a:gd name="connsiteY3" fmla="*/ 90600 h 111740"/>
                  <a:gd name="connsiteX4" fmla="*/ 53005 w 91646"/>
                  <a:gd name="connsiteY4" fmla="*/ 111583 h 111740"/>
                  <a:gd name="connsiteX5" fmla="*/ 92120 w 91646"/>
                  <a:gd name="connsiteY5" fmla="*/ 53162 h 111740"/>
                  <a:gd name="connsiteX6" fmla="*/ 92120 w 91646"/>
                  <a:gd name="connsiteY6" fmla="*/ 53040 h 11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46" h="111740">
                    <a:moveTo>
                      <a:pt x="92115" y="53040"/>
                    </a:moveTo>
                    <a:cubicBezTo>
                      <a:pt x="90729" y="28171"/>
                      <a:pt x="74406" y="1261"/>
                      <a:pt x="48135" y="457"/>
                    </a:cubicBezTo>
                    <a:cubicBezTo>
                      <a:pt x="33535" y="-109"/>
                      <a:pt x="19919" y="8595"/>
                      <a:pt x="11971" y="20578"/>
                    </a:cubicBezTo>
                    <a:cubicBezTo>
                      <a:pt x="-1635" y="40407"/>
                      <a:pt x="-3602" y="69819"/>
                      <a:pt x="9645" y="90600"/>
                    </a:cubicBezTo>
                    <a:cubicBezTo>
                      <a:pt x="18645" y="105174"/>
                      <a:pt x="35941" y="114692"/>
                      <a:pt x="53005" y="111583"/>
                    </a:cubicBezTo>
                    <a:cubicBezTo>
                      <a:pt x="79070" y="107231"/>
                      <a:pt x="94267" y="78782"/>
                      <a:pt x="92120" y="53162"/>
                    </a:cubicBezTo>
                    <a:lnTo>
                      <a:pt x="92120" y="53040"/>
                    </a:lnTo>
                    <a:close/>
                  </a:path>
                </a:pathLst>
              </a:custGeom>
              <a:solidFill>
                <a:srgbClr val="00646E"/>
              </a:solidFill>
              <a:ln w="5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244" name="Gruppieren 3243">
            <a:extLst>
              <a:ext uri="{FF2B5EF4-FFF2-40B4-BE49-F238E27FC236}">
                <a16:creationId xmlns:a16="http://schemas.microsoft.com/office/drawing/2014/main" id="{D7D4BE86-EFC6-4F4B-2A3D-C9BFAFDCF7FE}"/>
              </a:ext>
            </a:extLst>
          </p:cNvPr>
          <p:cNvGrpSpPr/>
          <p:nvPr/>
        </p:nvGrpSpPr>
        <p:grpSpPr>
          <a:xfrm>
            <a:off x="10065561" y="2166104"/>
            <a:ext cx="474276" cy="1046296"/>
            <a:chOff x="14694656" y="1634215"/>
            <a:chExt cx="474276" cy="1046296"/>
          </a:xfrm>
        </p:grpSpPr>
        <p:sp>
          <p:nvSpPr>
            <p:cNvPr id="3385" name="Freihandform: Form 3384">
              <a:extLst>
                <a:ext uri="{FF2B5EF4-FFF2-40B4-BE49-F238E27FC236}">
                  <a16:creationId xmlns:a16="http://schemas.microsoft.com/office/drawing/2014/main" id="{3A39728F-C99F-AB61-D3FF-6F55ED2CF38A}"/>
                </a:ext>
              </a:extLst>
            </p:cNvPr>
            <p:cNvSpPr/>
            <p:nvPr/>
          </p:nvSpPr>
          <p:spPr>
            <a:xfrm>
              <a:off x="14715227" y="2030964"/>
              <a:ext cx="224805" cy="647209"/>
            </a:xfrm>
            <a:custGeom>
              <a:avLst/>
              <a:gdLst>
                <a:gd name="connsiteX0" fmla="*/ 225134 w 224805"/>
                <a:gd name="connsiteY0" fmla="*/ 647068 h 647209"/>
                <a:gd name="connsiteX1" fmla="*/ 329 w 224805"/>
                <a:gd name="connsiteY1" fmla="*/ 517112 h 647209"/>
                <a:gd name="connsiteX2" fmla="*/ 329 w 224805"/>
                <a:gd name="connsiteY2" fmla="*/ -142 h 647209"/>
                <a:gd name="connsiteX3" fmla="*/ 225134 w 224805"/>
                <a:gd name="connsiteY3" fmla="*/ 129798 h 647209"/>
                <a:gd name="connsiteX4" fmla="*/ 225134 w 224805"/>
                <a:gd name="connsiteY4" fmla="*/ 647068 h 64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805" h="647209">
                  <a:moveTo>
                    <a:pt x="225134" y="647068"/>
                  </a:moveTo>
                  <a:lnTo>
                    <a:pt x="329" y="517112"/>
                  </a:lnTo>
                  <a:lnTo>
                    <a:pt x="329" y="-142"/>
                  </a:lnTo>
                  <a:lnTo>
                    <a:pt x="225134" y="129798"/>
                  </a:lnTo>
                  <a:lnTo>
                    <a:pt x="225134" y="647068"/>
                  </a:lnTo>
                  <a:close/>
                </a:path>
              </a:pathLst>
            </a:custGeom>
            <a:solidFill>
              <a:srgbClr val="000028"/>
            </a:solidFill>
            <a:ln w="1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6" name="Freihandform: Form 3385">
              <a:extLst>
                <a:ext uri="{FF2B5EF4-FFF2-40B4-BE49-F238E27FC236}">
                  <a16:creationId xmlns:a16="http://schemas.microsoft.com/office/drawing/2014/main" id="{59479011-B1B0-EE6A-9A96-D627B8A05E62}"/>
                </a:ext>
              </a:extLst>
            </p:cNvPr>
            <p:cNvSpPr/>
            <p:nvPr/>
          </p:nvSpPr>
          <p:spPr>
            <a:xfrm>
              <a:off x="14715227" y="1963398"/>
              <a:ext cx="224805" cy="543746"/>
            </a:xfrm>
            <a:custGeom>
              <a:avLst/>
              <a:gdLst>
                <a:gd name="connsiteX0" fmla="*/ 225134 w 224805"/>
                <a:gd name="connsiteY0" fmla="*/ 543604 h 543746"/>
                <a:gd name="connsiteX1" fmla="*/ 329 w 224805"/>
                <a:gd name="connsiteY1" fmla="*/ 413648 h 543746"/>
                <a:gd name="connsiteX2" fmla="*/ 329 w 224805"/>
                <a:gd name="connsiteY2" fmla="*/ 361933 h 543746"/>
                <a:gd name="connsiteX3" fmla="*/ 225134 w 224805"/>
                <a:gd name="connsiteY3" fmla="*/ 491889 h 543746"/>
                <a:gd name="connsiteX4" fmla="*/ 225134 w 224805"/>
                <a:gd name="connsiteY4" fmla="*/ 543604 h 543746"/>
                <a:gd name="connsiteX5" fmla="*/ 225134 w 224805"/>
                <a:gd name="connsiteY5" fmla="*/ 401354 h 543746"/>
                <a:gd name="connsiteX6" fmla="*/ 329 w 224805"/>
                <a:gd name="connsiteY6" fmla="*/ 271414 h 543746"/>
                <a:gd name="connsiteX7" fmla="*/ 329 w 224805"/>
                <a:gd name="connsiteY7" fmla="*/ 323130 h 543746"/>
                <a:gd name="connsiteX8" fmla="*/ 225134 w 224805"/>
                <a:gd name="connsiteY8" fmla="*/ 453086 h 543746"/>
                <a:gd name="connsiteX9" fmla="*/ 225134 w 224805"/>
                <a:gd name="connsiteY9" fmla="*/ 401370 h 543746"/>
                <a:gd name="connsiteX10" fmla="*/ 225134 w 224805"/>
                <a:gd name="connsiteY10" fmla="*/ 310835 h 543746"/>
                <a:gd name="connsiteX11" fmla="*/ 329 w 224805"/>
                <a:gd name="connsiteY11" fmla="*/ 180895 h 543746"/>
                <a:gd name="connsiteX12" fmla="*/ 329 w 224805"/>
                <a:gd name="connsiteY12" fmla="*/ 232627 h 543746"/>
                <a:gd name="connsiteX13" fmla="*/ 225134 w 224805"/>
                <a:gd name="connsiteY13" fmla="*/ 362583 h 543746"/>
                <a:gd name="connsiteX14" fmla="*/ 225134 w 224805"/>
                <a:gd name="connsiteY14" fmla="*/ 310851 h 543746"/>
                <a:gd name="connsiteX15" fmla="*/ 225134 w 224805"/>
                <a:gd name="connsiteY15" fmla="*/ 129798 h 543746"/>
                <a:gd name="connsiteX16" fmla="*/ 329 w 224805"/>
                <a:gd name="connsiteY16" fmla="*/ -142 h 543746"/>
                <a:gd name="connsiteX17" fmla="*/ 329 w 224805"/>
                <a:gd name="connsiteY17" fmla="*/ 51574 h 543746"/>
                <a:gd name="connsiteX18" fmla="*/ 225134 w 224805"/>
                <a:gd name="connsiteY18" fmla="*/ 181530 h 543746"/>
                <a:gd name="connsiteX19" fmla="*/ 225134 w 224805"/>
                <a:gd name="connsiteY19" fmla="*/ 129814 h 543746"/>
                <a:gd name="connsiteX20" fmla="*/ 225134 w 224805"/>
                <a:gd name="connsiteY20" fmla="*/ 220317 h 543746"/>
                <a:gd name="connsiteX21" fmla="*/ 329 w 224805"/>
                <a:gd name="connsiteY21" fmla="*/ 90361 h 543746"/>
                <a:gd name="connsiteX22" fmla="*/ 329 w 224805"/>
                <a:gd name="connsiteY22" fmla="*/ 142093 h 543746"/>
                <a:gd name="connsiteX23" fmla="*/ 225134 w 224805"/>
                <a:gd name="connsiteY23" fmla="*/ 272049 h 543746"/>
                <a:gd name="connsiteX24" fmla="*/ 225134 w 224805"/>
                <a:gd name="connsiteY24" fmla="*/ 220317 h 54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805" h="543746">
                  <a:moveTo>
                    <a:pt x="225134" y="543604"/>
                  </a:moveTo>
                  <a:lnTo>
                    <a:pt x="329" y="413648"/>
                  </a:lnTo>
                  <a:lnTo>
                    <a:pt x="329" y="361933"/>
                  </a:lnTo>
                  <a:lnTo>
                    <a:pt x="225134" y="491889"/>
                  </a:lnTo>
                  <a:lnTo>
                    <a:pt x="225134" y="543604"/>
                  </a:lnTo>
                  <a:close/>
                  <a:moveTo>
                    <a:pt x="225134" y="401354"/>
                  </a:moveTo>
                  <a:lnTo>
                    <a:pt x="329" y="271414"/>
                  </a:lnTo>
                  <a:lnTo>
                    <a:pt x="329" y="323130"/>
                  </a:lnTo>
                  <a:lnTo>
                    <a:pt x="225134" y="453086"/>
                  </a:lnTo>
                  <a:lnTo>
                    <a:pt x="225134" y="401370"/>
                  </a:lnTo>
                  <a:close/>
                  <a:moveTo>
                    <a:pt x="225134" y="310835"/>
                  </a:moveTo>
                  <a:lnTo>
                    <a:pt x="329" y="180895"/>
                  </a:lnTo>
                  <a:lnTo>
                    <a:pt x="329" y="232627"/>
                  </a:lnTo>
                  <a:lnTo>
                    <a:pt x="225134" y="362583"/>
                  </a:lnTo>
                  <a:lnTo>
                    <a:pt x="225134" y="310851"/>
                  </a:lnTo>
                  <a:close/>
                  <a:moveTo>
                    <a:pt x="225134" y="129798"/>
                  </a:moveTo>
                  <a:lnTo>
                    <a:pt x="329" y="-142"/>
                  </a:lnTo>
                  <a:lnTo>
                    <a:pt x="329" y="51574"/>
                  </a:lnTo>
                  <a:lnTo>
                    <a:pt x="225134" y="181530"/>
                  </a:lnTo>
                  <a:lnTo>
                    <a:pt x="225134" y="129814"/>
                  </a:lnTo>
                  <a:close/>
                  <a:moveTo>
                    <a:pt x="225134" y="220317"/>
                  </a:moveTo>
                  <a:lnTo>
                    <a:pt x="329" y="90361"/>
                  </a:lnTo>
                  <a:lnTo>
                    <a:pt x="329" y="142093"/>
                  </a:lnTo>
                  <a:lnTo>
                    <a:pt x="225134" y="272049"/>
                  </a:lnTo>
                  <a:lnTo>
                    <a:pt x="225134" y="220317"/>
                  </a:lnTo>
                  <a:close/>
                </a:path>
              </a:pathLst>
            </a:custGeom>
            <a:solidFill>
              <a:srgbClr val="000028"/>
            </a:solidFill>
            <a:ln w="1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7" name="Freihandform: Form 3386">
              <a:extLst>
                <a:ext uri="{FF2B5EF4-FFF2-40B4-BE49-F238E27FC236}">
                  <a16:creationId xmlns:a16="http://schemas.microsoft.com/office/drawing/2014/main" id="{92EEEC84-897C-1BB5-A976-4543F792629F}"/>
                </a:ext>
              </a:extLst>
            </p:cNvPr>
            <p:cNvSpPr/>
            <p:nvPr/>
          </p:nvSpPr>
          <p:spPr>
            <a:xfrm>
              <a:off x="14715227" y="1759393"/>
              <a:ext cx="224805" cy="595493"/>
            </a:xfrm>
            <a:custGeom>
              <a:avLst/>
              <a:gdLst>
                <a:gd name="connsiteX0" fmla="*/ 225134 w 224805"/>
                <a:gd name="connsiteY0" fmla="*/ 595410 h 595493"/>
                <a:gd name="connsiteX1" fmla="*/ 329 w 224805"/>
                <a:gd name="connsiteY1" fmla="*/ 465454 h 595493"/>
                <a:gd name="connsiteX2" fmla="*/ 329 w 224805"/>
                <a:gd name="connsiteY2" fmla="*/ -84 h 595493"/>
                <a:gd name="connsiteX3" fmla="*/ 225134 w 224805"/>
                <a:gd name="connsiteY3" fmla="*/ 129872 h 595493"/>
                <a:gd name="connsiteX4" fmla="*/ 225134 w 224805"/>
                <a:gd name="connsiteY4" fmla="*/ 595410 h 595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805" h="595493">
                  <a:moveTo>
                    <a:pt x="225134" y="595410"/>
                  </a:moveTo>
                  <a:lnTo>
                    <a:pt x="329" y="465454"/>
                  </a:lnTo>
                  <a:lnTo>
                    <a:pt x="329" y="-84"/>
                  </a:lnTo>
                  <a:lnTo>
                    <a:pt x="225134" y="129872"/>
                  </a:lnTo>
                  <a:lnTo>
                    <a:pt x="225134" y="595410"/>
                  </a:lnTo>
                  <a:close/>
                </a:path>
              </a:pathLst>
            </a:custGeom>
            <a:solidFill>
              <a:srgbClr val="000028"/>
            </a:solidFill>
            <a:ln w="1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8" name="Freihandform: Form 3387">
              <a:extLst>
                <a:ext uri="{FF2B5EF4-FFF2-40B4-BE49-F238E27FC236}">
                  <a16:creationId xmlns:a16="http://schemas.microsoft.com/office/drawing/2014/main" id="{2FA302F9-D6DE-B4CB-D0AD-182887F0C643}"/>
                </a:ext>
              </a:extLst>
            </p:cNvPr>
            <p:cNvSpPr>
              <a:spLocks/>
            </p:cNvSpPr>
            <p:nvPr/>
          </p:nvSpPr>
          <p:spPr>
            <a:xfrm>
              <a:off x="14715227" y="1634215"/>
              <a:ext cx="450530" cy="259895"/>
            </a:xfrm>
            <a:custGeom>
              <a:avLst/>
              <a:gdLst>
                <a:gd name="connsiteX0" fmla="*/ 225112 w 450530"/>
                <a:gd name="connsiteY0" fmla="*/ 259871 h 259895"/>
                <a:gd name="connsiteX1" fmla="*/ 307 w 450530"/>
                <a:gd name="connsiteY1" fmla="*/ 129915 h 259895"/>
                <a:gd name="connsiteX2" fmla="*/ 225112 w 450530"/>
                <a:gd name="connsiteY2" fmla="*/ -25 h 259895"/>
                <a:gd name="connsiteX3" fmla="*/ 450838 w 450530"/>
                <a:gd name="connsiteY3" fmla="*/ 129930 h 259895"/>
                <a:gd name="connsiteX4" fmla="*/ 225112 w 450530"/>
                <a:gd name="connsiteY4" fmla="*/ 259871 h 259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530" h="259895">
                  <a:moveTo>
                    <a:pt x="225112" y="259871"/>
                  </a:moveTo>
                  <a:lnTo>
                    <a:pt x="307" y="129915"/>
                  </a:lnTo>
                  <a:lnTo>
                    <a:pt x="225112" y="-25"/>
                  </a:lnTo>
                  <a:lnTo>
                    <a:pt x="450838" y="129930"/>
                  </a:lnTo>
                  <a:lnTo>
                    <a:pt x="225112" y="259871"/>
                  </a:lnTo>
                  <a:close/>
                </a:path>
              </a:pathLst>
            </a:custGeom>
            <a:solidFill>
              <a:srgbClr val="CCCCD4"/>
            </a:solidFill>
            <a:ln w="1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9" name="Freihandform: Form 3388">
              <a:extLst>
                <a:ext uri="{FF2B5EF4-FFF2-40B4-BE49-F238E27FC236}">
                  <a16:creationId xmlns:a16="http://schemas.microsoft.com/office/drawing/2014/main" id="{FBD5184E-8AA6-5CC4-6109-1751594CCDA1}"/>
                </a:ext>
              </a:extLst>
            </p:cNvPr>
            <p:cNvSpPr/>
            <p:nvPr/>
          </p:nvSpPr>
          <p:spPr>
            <a:xfrm>
              <a:off x="14715227" y="1811124"/>
              <a:ext cx="224805" cy="543761"/>
            </a:xfrm>
            <a:custGeom>
              <a:avLst/>
              <a:gdLst>
                <a:gd name="connsiteX0" fmla="*/ 225134 w 224805"/>
                <a:gd name="connsiteY0" fmla="*/ 543673 h 543761"/>
                <a:gd name="connsiteX1" fmla="*/ 329 w 224805"/>
                <a:gd name="connsiteY1" fmla="*/ 413717 h 543761"/>
                <a:gd name="connsiteX2" fmla="*/ 329 w 224805"/>
                <a:gd name="connsiteY2" fmla="*/ 362002 h 543761"/>
                <a:gd name="connsiteX3" fmla="*/ 225134 w 224805"/>
                <a:gd name="connsiteY3" fmla="*/ 491957 h 543761"/>
                <a:gd name="connsiteX4" fmla="*/ 225134 w 224805"/>
                <a:gd name="connsiteY4" fmla="*/ 543673 h 543761"/>
                <a:gd name="connsiteX5" fmla="*/ 225134 w 224805"/>
                <a:gd name="connsiteY5" fmla="*/ 401423 h 543761"/>
                <a:gd name="connsiteX6" fmla="*/ 329 w 224805"/>
                <a:gd name="connsiteY6" fmla="*/ 271483 h 543761"/>
                <a:gd name="connsiteX7" fmla="*/ 329 w 224805"/>
                <a:gd name="connsiteY7" fmla="*/ 323199 h 543761"/>
                <a:gd name="connsiteX8" fmla="*/ 225134 w 224805"/>
                <a:gd name="connsiteY8" fmla="*/ 453155 h 543761"/>
                <a:gd name="connsiteX9" fmla="*/ 225134 w 224805"/>
                <a:gd name="connsiteY9" fmla="*/ 401439 h 543761"/>
                <a:gd name="connsiteX10" fmla="*/ 225134 w 224805"/>
                <a:gd name="connsiteY10" fmla="*/ 310904 h 543761"/>
                <a:gd name="connsiteX11" fmla="*/ 329 w 224805"/>
                <a:gd name="connsiteY11" fmla="*/ 180949 h 543761"/>
                <a:gd name="connsiteX12" fmla="*/ 329 w 224805"/>
                <a:gd name="connsiteY12" fmla="*/ 232680 h 543761"/>
                <a:gd name="connsiteX13" fmla="*/ 225134 w 224805"/>
                <a:gd name="connsiteY13" fmla="*/ 362636 h 543761"/>
                <a:gd name="connsiteX14" fmla="*/ 225134 w 224805"/>
                <a:gd name="connsiteY14" fmla="*/ 310904 h 543761"/>
                <a:gd name="connsiteX15" fmla="*/ 225134 w 224805"/>
                <a:gd name="connsiteY15" fmla="*/ 129867 h 543761"/>
                <a:gd name="connsiteX16" fmla="*/ 329 w 224805"/>
                <a:gd name="connsiteY16" fmla="*/ -89 h 543761"/>
                <a:gd name="connsiteX17" fmla="*/ 329 w 224805"/>
                <a:gd name="connsiteY17" fmla="*/ 51627 h 543761"/>
                <a:gd name="connsiteX18" fmla="*/ 225134 w 224805"/>
                <a:gd name="connsiteY18" fmla="*/ 181583 h 543761"/>
                <a:gd name="connsiteX19" fmla="*/ 225134 w 224805"/>
                <a:gd name="connsiteY19" fmla="*/ 129867 h 543761"/>
                <a:gd name="connsiteX20" fmla="*/ 225134 w 224805"/>
                <a:gd name="connsiteY20" fmla="*/ 220386 h 543761"/>
                <a:gd name="connsiteX21" fmla="*/ 329 w 224805"/>
                <a:gd name="connsiteY21" fmla="*/ 90430 h 543761"/>
                <a:gd name="connsiteX22" fmla="*/ 329 w 224805"/>
                <a:gd name="connsiteY22" fmla="*/ 142162 h 543761"/>
                <a:gd name="connsiteX23" fmla="*/ 225134 w 224805"/>
                <a:gd name="connsiteY23" fmla="*/ 272118 h 543761"/>
                <a:gd name="connsiteX24" fmla="*/ 225134 w 224805"/>
                <a:gd name="connsiteY24" fmla="*/ 220386 h 543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805" h="543761">
                  <a:moveTo>
                    <a:pt x="225134" y="543673"/>
                  </a:moveTo>
                  <a:lnTo>
                    <a:pt x="329" y="413717"/>
                  </a:lnTo>
                  <a:lnTo>
                    <a:pt x="329" y="362002"/>
                  </a:lnTo>
                  <a:lnTo>
                    <a:pt x="225134" y="491957"/>
                  </a:lnTo>
                  <a:lnTo>
                    <a:pt x="225134" y="543673"/>
                  </a:lnTo>
                  <a:close/>
                  <a:moveTo>
                    <a:pt x="225134" y="401423"/>
                  </a:moveTo>
                  <a:lnTo>
                    <a:pt x="329" y="271483"/>
                  </a:lnTo>
                  <a:lnTo>
                    <a:pt x="329" y="323199"/>
                  </a:lnTo>
                  <a:lnTo>
                    <a:pt x="225134" y="453155"/>
                  </a:lnTo>
                  <a:lnTo>
                    <a:pt x="225134" y="401439"/>
                  </a:lnTo>
                  <a:close/>
                  <a:moveTo>
                    <a:pt x="225134" y="310904"/>
                  </a:moveTo>
                  <a:lnTo>
                    <a:pt x="329" y="180949"/>
                  </a:lnTo>
                  <a:lnTo>
                    <a:pt x="329" y="232680"/>
                  </a:lnTo>
                  <a:lnTo>
                    <a:pt x="225134" y="362636"/>
                  </a:lnTo>
                  <a:lnTo>
                    <a:pt x="225134" y="310904"/>
                  </a:lnTo>
                  <a:close/>
                  <a:moveTo>
                    <a:pt x="225134" y="129867"/>
                  </a:moveTo>
                  <a:lnTo>
                    <a:pt x="329" y="-89"/>
                  </a:lnTo>
                  <a:lnTo>
                    <a:pt x="329" y="51627"/>
                  </a:lnTo>
                  <a:lnTo>
                    <a:pt x="225134" y="181583"/>
                  </a:lnTo>
                  <a:lnTo>
                    <a:pt x="225134" y="129867"/>
                  </a:lnTo>
                  <a:close/>
                  <a:moveTo>
                    <a:pt x="225134" y="220386"/>
                  </a:moveTo>
                  <a:lnTo>
                    <a:pt x="329" y="90430"/>
                  </a:lnTo>
                  <a:lnTo>
                    <a:pt x="329" y="142162"/>
                  </a:lnTo>
                  <a:lnTo>
                    <a:pt x="225134" y="272118"/>
                  </a:lnTo>
                  <a:lnTo>
                    <a:pt x="225134" y="220386"/>
                  </a:lnTo>
                  <a:close/>
                </a:path>
              </a:pathLst>
            </a:custGeom>
            <a:solidFill>
              <a:srgbClr val="000028"/>
            </a:solidFill>
            <a:ln w="1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0" name="Freihandform: Form 3389">
              <a:extLst>
                <a:ext uri="{FF2B5EF4-FFF2-40B4-BE49-F238E27FC236}">
                  <a16:creationId xmlns:a16="http://schemas.microsoft.com/office/drawing/2014/main" id="{DBC78190-EABE-59AD-2F79-49795D050110}"/>
                </a:ext>
              </a:extLst>
            </p:cNvPr>
            <p:cNvSpPr/>
            <p:nvPr/>
          </p:nvSpPr>
          <p:spPr>
            <a:xfrm>
              <a:off x="14715390" y="1859817"/>
              <a:ext cx="92866" cy="125160"/>
            </a:xfrm>
            <a:custGeom>
              <a:avLst/>
              <a:gdLst>
                <a:gd name="connsiteX0" fmla="*/ 0 w 92866"/>
                <a:gd name="connsiteY0" fmla="*/ 0 h 125160"/>
                <a:gd name="connsiteX1" fmla="*/ 92867 w 92866"/>
                <a:gd name="connsiteY1" fmla="*/ 53624 h 125160"/>
                <a:gd name="connsiteX2" fmla="*/ 92867 w 92866"/>
                <a:gd name="connsiteY2" fmla="*/ 125160 h 125160"/>
                <a:gd name="connsiteX3" fmla="*/ 0 w 92866"/>
                <a:gd name="connsiteY3" fmla="*/ 71536 h 125160"/>
                <a:gd name="connsiteX4" fmla="*/ 0 w 92866"/>
                <a:gd name="connsiteY4" fmla="*/ 0 h 12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66" h="125160">
                  <a:moveTo>
                    <a:pt x="0" y="0"/>
                  </a:moveTo>
                  <a:lnTo>
                    <a:pt x="92867" y="53624"/>
                  </a:lnTo>
                  <a:lnTo>
                    <a:pt x="92867" y="125160"/>
                  </a:lnTo>
                  <a:lnTo>
                    <a:pt x="0" y="715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53"/>
            </a:solidFill>
            <a:ln w="12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1" name="Freihandform: Form 3390">
              <a:extLst>
                <a:ext uri="{FF2B5EF4-FFF2-40B4-BE49-F238E27FC236}">
                  <a16:creationId xmlns:a16="http://schemas.microsoft.com/office/drawing/2014/main" id="{D08B8F3D-9966-121F-7A71-C5EF761DAFA1}"/>
                </a:ext>
              </a:extLst>
            </p:cNvPr>
            <p:cNvSpPr/>
            <p:nvPr/>
          </p:nvSpPr>
          <p:spPr>
            <a:xfrm>
              <a:off x="14715390" y="1951971"/>
              <a:ext cx="92866" cy="125172"/>
            </a:xfrm>
            <a:custGeom>
              <a:avLst/>
              <a:gdLst>
                <a:gd name="connsiteX0" fmla="*/ 0 w 92866"/>
                <a:gd name="connsiteY0" fmla="*/ 0 h 125172"/>
                <a:gd name="connsiteX1" fmla="*/ 92867 w 92866"/>
                <a:gd name="connsiteY1" fmla="*/ 53624 h 125172"/>
                <a:gd name="connsiteX2" fmla="*/ 92867 w 92866"/>
                <a:gd name="connsiteY2" fmla="*/ 125173 h 125172"/>
                <a:gd name="connsiteX3" fmla="*/ 0 w 92866"/>
                <a:gd name="connsiteY3" fmla="*/ 71548 h 125172"/>
                <a:gd name="connsiteX4" fmla="*/ 0 w 92866"/>
                <a:gd name="connsiteY4" fmla="*/ 0 h 12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66" h="125172">
                  <a:moveTo>
                    <a:pt x="0" y="0"/>
                  </a:moveTo>
                  <a:lnTo>
                    <a:pt x="92867" y="53624"/>
                  </a:lnTo>
                  <a:lnTo>
                    <a:pt x="92867" y="125173"/>
                  </a:lnTo>
                  <a:lnTo>
                    <a:pt x="0" y="715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53"/>
            </a:solidFill>
            <a:ln w="12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3392" name="Gruppieren 3391">
              <a:extLst>
                <a:ext uri="{FF2B5EF4-FFF2-40B4-BE49-F238E27FC236}">
                  <a16:creationId xmlns:a16="http://schemas.microsoft.com/office/drawing/2014/main" id="{2C486E25-BC66-5C12-4AFF-93E549DFD9A8}"/>
                </a:ext>
              </a:extLst>
            </p:cNvPr>
            <p:cNvGrpSpPr/>
            <p:nvPr/>
          </p:nvGrpSpPr>
          <p:grpSpPr>
            <a:xfrm flipH="1">
              <a:off x="14941689" y="1761731"/>
              <a:ext cx="224805" cy="918780"/>
              <a:chOff x="14265058" y="1759393"/>
              <a:chExt cx="224805" cy="918780"/>
            </a:xfrm>
            <a:solidFill>
              <a:srgbClr val="66667E"/>
            </a:solidFill>
          </p:grpSpPr>
          <p:sp>
            <p:nvSpPr>
              <p:cNvPr id="3442" name="Freihandform: Form 3441">
                <a:extLst>
                  <a:ext uri="{FF2B5EF4-FFF2-40B4-BE49-F238E27FC236}">
                    <a16:creationId xmlns:a16="http://schemas.microsoft.com/office/drawing/2014/main" id="{4B796396-2204-3957-323A-C94A6C8285F0}"/>
                  </a:ext>
                </a:extLst>
              </p:cNvPr>
              <p:cNvSpPr/>
              <p:nvPr/>
            </p:nvSpPr>
            <p:spPr>
              <a:xfrm>
                <a:off x="14265058" y="2030964"/>
                <a:ext cx="224805" cy="647209"/>
              </a:xfrm>
              <a:custGeom>
                <a:avLst/>
                <a:gdLst>
                  <a:gd name="connsiteX0" fmla="*/ 225134 w 224805"/>
                  <a:gd name="connsiteY0" fmla="*/ 647068 h 647209"/>
                  <a:gd name="connsiteX1" fmla="*/ 329 w 224805"/>
                  <a:gd name="connsiteY1" fmla="*/ 517112 h 647209"/>
                  <a:gd name="connsiteX2" fmla="*/ 329 w 224805"/>
                  <a:gd name="connsiteY2" fmla="*/ -142 h 647209"/>
                  <a:gd name="connsiteX3" fmla="*/ 225134 w 224805"/>
                  <a:gd name="connsiteY3" fmla="*/ 129798 h 647209"/>
                  <a:gd name="connsiteX4" fmla="*/ 225134 w 224805"/>
                  <a:gd name="connsiteY4" fmla="*/ 647068 h 647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647209">
                    <a:moveTo>
                      <a:pt x="225134" y="647068"/>
                    </a:moveTo>
                    <a:lnTo>
                      <a:pt x="329" y="517112"/>
                    </a:lnTo>
                    <a:lnTo>
                      <a:pt x="329" y="-142"/>
                    </a:lnTo>
                    <a:lnTo>
                      <a:pt x="225134" y="129798"/>
                    </a:lnTo>
                    <a:lnTo>
                      <a:pt x="225134" y="647068"/>
                    </a:lnTo>
                    <a:close/>
                  </a:path>
                </a:pathLst>
              </a:custGeom>
              <a:grpFill/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3" name="Freihandform: Form 3442">
                <a:extLst>
                  <a:ext uri="{FF2B5EF4-FFF2-40B4-BE49-F238E27FC236}">
                    <a16:creationId xmlns:a16="http://schemas.microsoft.com/office/drawing/2014/main" id="{7C1777D5-A511-B80F-267F-81643C6E6A9B}"/>
                  </a:ext>
                </a:extLst>
              </p:cNvPr>
              <p:cNvSpPr/>
              <p:nvPr/>
            </p:nvSpPr>
            <p:spPr>
              <a:xfrm>
                <a:off x="14265058" y="1963398"/>
                <a:ext cx="224805" cy="543746"/>
              </a:xfrm>
              <a:custGeom>
                <a:avLst/>
                <a:gdLst>
                  <a:gd name="connsiteX0" fmla="*/ 225134 w 224805"/>
                  <a:gd name="connsiteY0" fmla="*/ 543604 h 543746"/>
                  <a:gd name="connsiteX1" fmla="*/ 329 w 224805"/>
                  <a:gd name="connsiteY1" fmla="*/ 413648 h 543746"/>
                  <a:gd name="connsiteX2" fmla="*/ 329 w 224805"/>
                  <a:gd name="connsiteY2" fmla="*/ 361933 h 543746"/>
                  <a:gd name="connsiteX3" fmla="*/ 225134 w 224805"/>
                  <a:gd name="connsiteY3" fmla="*/ 491889 h 543746"/>
                  <a:gd name="connsiteX4" fmla="*/ 225134 w 224805"/>
                  <a:gd name="connsiteY4" fmla="*/ 543604 h 543746"/>
                  <a:gd name="connsiteX5" fmla="*/ 225134 w 224805"/>
                  <a:gd name="connsiteY5" fmla="*/ 401354 h 543746"/>
                  <a:gd name="connsiteX6" fmla="*/ 329 w 224805"/>
                  <a:gd name="connsiteY6" fmla="*/ 271414 h 543746"/>
                  <a:gd name="connsiteX7" fmla="*/ 329 w 224805"/>
                  <a:gd name="connsiteY7" fmla="*/ 323130 h 543746"/>
                  <a:gd name="connsiteX8" fmla="*/ 225134 w 224805"/>
                  <a:gd name="connsiteY8" fmla="*/ 453086 h 543746"/>
                  <a:gd name="connsiteX9" fmla="*/ 225134 w 224805"/>
                  <a:gd name="connsiteY9" fmla="*/ 401370 h 543746"/>
                  <a:gd name="connsiteX10" fmla="*/ 225134 w 224805"/>
                  <a:gd name="connsiteY10" fmla="*/ 310835 h 543746"/>
                  <a:gd name="connsiteX11" fmla="*/ 329 w 224805"/>
                  <a:gd name="connsiteY11" fmla="*/ 180895 h 543746"/>
                  <a:gd name="connsiteX12" fmla="*/ 329 w 224805"/>
                  <a:gd name="connsiteY12" fmla="*/ 232627 h 543746"/>
                  <a:gd name="connsiteX13" fmla="*/ 225134 w 224805"/>
                  <a:gd name="connsiteY13" fmla="*/ 362583 h 543746"/>
                  <a:gd name="connsiteX14" fmla="*/ 225134 w 224805"/>
                  <a:gd name="connsiteY14" fmla="*/ 310851 h 543746"/>
                  <a:gd name="connsiteX15" fmla="*/ 225134 w 224805"/>
                  <a:gd name="connsiteY15" fmla="*/ 129798 h 543746"/>
                  <a:gd name="connsiteX16" fmla="*/ 329 w 224805"/>
                  <a:gd name="connsiteY16" fmla="*/ -142 h 543746"/>
                  <a:gd name="connsiteX17" fmla="*/ 329 w 224805"/>
                  <a:gd name="connsiteY17" fmla="*/ 51574 h 543746"/>
                  <a:gd name="connsiteX18" fmla="*/ 225134 w 224805"/>
                  <a:gd name="connsiteY18" fmla="*/ 181530 h 543746"/>
                  <a:gd name="connsiteX19" fmla="*/ 225134 w 224805"/>
                  <a:gd name="connsiteY19" fmla="*/ 129814 h 543746"/>
                  <a:gd name="connsiteX20" fmla="*/ 225134 w 224805"/>
                  <a:gd name="connsiteY20" fmla="*/ 220317 h 543746"/>
                  <a:gd name="connsiteX21" fmla="*/ 329 w 224805"/>
                  <a:gd name="connsiteY21" fmla="*/ 90361 h 543746"/>
                  <a:gd name="connsiteX22" fmla="*/ 329 w 224805"/>
                  <a:gd name="connsiteY22" fmla="*/ 142093 h 543746"/>
                  <a:gd name="connsiteX23" fmla="*/ 225134 w 224805"/>
                  <a:gd name="connsiteY23" fmla="*/ 272049 h 543746"/>
                  <a:gd name="connsiteX24" fmla="*/ 225134 w 224805"/>
                  <a:gd name="connsiteY24" fmla="*/ 220317 h 543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46">
                    <a:moveTo>
                      <a:pt x="225134" y="543604"/>
                    </a:moveTo>
                    <a:lnTo>
                      <a:pt x="329" y="413648"/>
                    </a:lnTo>
                    <a:lnTo>
                      <a:pt x="329" y="361933"/>
                    </a:lnTo>
                    <a:lnTo>
                      <a:pt x="225134" y="491889"/>
                    </a:lnTo>
                    <a:lnTo>
                      <a:pt x="225134" y="543604"/>
                    </a:lnTo>
                    <a:close/>
                    <a:moveTo>
                      <a:pt x="225134" y="401354"/>
                    </a:moveTo>
                    <a:lnTo>
                      <a:pt x="329" y="271414"/>
                    </a:lnTo>
                    <a:lnTo>
                      <a:pt x="329" y="323130"/>
                    </a:lnTo>
                    <a:lnTo>
                      <a:pt x="225134" y="453086"/>
                    </a:lnTo>
                    <a:lnTo>
                      <a:pt x="225134" y="401370"/>
                    </a:lnTo>
                    <a:close/>
                    <a:moveTo>
                      <a:pt x="225134" y="310835"/>
                    </a:moveTo>
                    <a:lnTo>
                      <a:pt x="329" y="180895"/>
                    </a:lnTo>
                    <a:lnTo>
                      <a:pt x="329" y="232627"/>
                    </a:lnTo>
                    <a:lnTo>
                      <a:pt x="225134" y="362583"/>
                    </a:lnTo>
                    <a:lnTo>
                      <a:pt x="225134" y="310851"/>
                    </a:lnTo>
                    <a:close/>
                    <a:moveTo>
                      <a:pt x="225134" y="129798"/>
                    </a:moveTo>
                    <a:lnTo>
                      <a:pt x="329" y="-142"/>
                    </a:lnTo>
                    <a:lnTo>
                      <a:pt x="329" y="51574"/>
                    </a:lnTo>
                    <a:lnTo>
                      <a:pt x="225134" y="181530"/>
                    </a:lnTo>
                    <a:lnTo>
                      <a:pt x="225134" y="129814"/>
                    </a:lnTo>
                    <a:close/>
                    <a:moveTo>
                      <a:pt x="225134" y="220317"/>
                    </a:moveTo>
                    <a:lnTo>
                      <a:pt x="329" y="90361"/>
                    </a:lnTo>
                    <a:lnTo>
                      <a:pt x="329" y="142093"/>
                    </a:lnTo>
                    <a:lnTo>
                      <a:pt x="225134" y="272049"/>
                    </a:lnTo>
                    <a:lnTo>
                      <a:pt x="225134" y="220317"/>
                    </a:lnTo>
                    <a:close/>
                  </a:path>
                </a:pathLst>
              </a:custGeom>
              <a:grpFill/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4" name="Freihandform: Form 3443">
                <a:extLst>
                  <a:ext uri="{FF2B5EF4-FFF2-40B4-BE49-F238E27FC236}">
                    <a16:creationId xmlns:a16="http://schemas.microsoft.com/office/drawing/2014/main" id="{9B32A54D-2FA9-78B4-0417-42492876E824}"/>
                  </a:ext>
                </a:extLst>
              </p:cNvPr>
              <p:cNvSpPr/>
              <p:nvPr/>
            </p:nvSpPr>
            <p:spPr>
              <a:xfrm>
                <a:off x="14265058" y="1759393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grpFill/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5" name="Freihandform: Form 3444">
                <a:extLst>
                  <a:ext uri="{FF2B5EF4-FFF2-40B4-BE49-F238E27FC236}">
                    <a16:creationId xmlns:a16="http://schemas.microsoft.com/office/drawing/2014/main" id="{3DA78593-B145-2482-3AFD-5A52440643AF}"/>
                  </a:ext>
                </a:extLst>
              </p:cNvPr>
              <p:cNvSpPr/>
              <p:nvPr/>
            </p:nvSpPr>
            <p:spPr>
              <a:xfrm>
                <a:off x="14265058" y="1811124"/>
                <a:ext cx="224805" cy="543761"/>
              </a:xfrm>
              <a:custGeom>
                <a:avLst/>
                <a:gdLst>
                  <a:gd name="connsiteX0" fmla="*/ 225134 w 224805"/>
                  <a:gd name="connsiteY0" fmla="*/ 543673 h 543761"/>
                  <a:gd name="connsiteX1" fmla="*/ 329 w 224805"/>
                  <a:gd name="connsiteY1" fmla="*/ 413717 h 543761"/>
                  <a:gd name="connsiteX2" fmla="*/ 329 w 224805"/>
                  <a:gd name="connsiteY2" fmla="*/ 362002 h 543761"/>
                  <a:gd name="connsiteX3" fmla="*/ 225134 w 224805"/>
                  <a:gd name="connsiteY3" fmla="*/ 491957 h 543761"/>
                  <a:gd name="connsiteX4" fmla="*/ 225134 w 224805"/>
                  <a:gd name="connsiteY4" fmla="*/ 543673 h 543761"/>
                  <a:gd name="connsiteX5" fmla="*/ 225134 w 224805"/>
                  <a:gd name="connsiteY5" fmla="*/ 401423 h 543761"/>
                  <a:gd name="connsiteX6" fmla="*/ 329 w 224805"/>
                  <a:gd name="connsiteY6" fmla="*/ 271483 h 543761"/>
                  <a:gd name="connsiteX7" fmla="*/ 329 w 224805"/>
                  <a:gd name="connsiteY7" fmla="*/ 323199 h 543761"/>
                  <a:gd name="connsiteX8" fmla="*/ 225134 w 224805"/>
                  <a:gd name="connsiteY8" fmla="*/ 453155 h 543761"/>
                  <a:gd name="connsiteX9" fmla="*/ 225134 w 224805"/>
                  <a:gd name="connsiteY9" fmla="*/ 401439 h 543761"/>
                  <a:gd name="connsiteX10" fmla="*/ 225134 w 224805"/>
                  <a:gd name="connsiteY10" fmla="*/ 310904 h 543761"/>
                  <a:gd name="connsiteX11" fmla="*/ 329 w 224805"/>
                  <a:gd name="connsiteY11" fmla="*/ 180949 h 543761"/>
                  <a:gd name="connsiteX12" fmla="*/ 329 w 224805"/>
                  <a:gd name="connsiteY12" fmla="*/ 232680 h 543761"/>
                  <a:gd name="connsiteX13" fmla="*/ 225134 w 224805"/>
                  <a:gd name="connsiteY13" fmla="*/ 362636 h 543761"/>
                  <a:gd name="connsiteX14" fmla="*/ 225134 w 224805"/>
                  <a:gd name="connsiteY14" fmla="*/ 310904 h 543761"/>
                  <a:gd name="connsiteX15" fmla="*/ 225134 w 224805"/>
                  <a:gd name="connsiteY15" fmla="*/ 129867 h 543761"/>
                  <a:gd name="connsiteX16" fmla="*/ 329 w 224805"/>
                  <a:gd name="connsiteY16" fmla="*/ -89 h 543761"/>
                  <a:gd name="connsiteX17" fmla="*/ 329 w 224805"/>
                  <a:gd name="connsiteY17" fmla="*/ 51627 h 543761"/>
                  <a:gd name="connsiteX18" fmla="*/ 225134 w 224805"/>
                  <a:gd name="connsiteY18" fmla="*/ 181583 h 543761"/>
                  <a:gd name="connsiteX19" fmla="*/ 225134 w 224805"/>
                  <a:gd name="connsiteY19" fmla="*/ 129867 h 543761"/>
                  <a:gd name="connsiteX20" fmla="*/ 225134 w 224805"/>
                  <a:gd name="connsiteY20" fmla="*/ 220386 h 543761"/>
                  <a:gd name="connsiteX21" fmla="*/ 329 w 224805"/>
                  <a:gd name="connsiteY21" fmla="*/ 90430 h 543761"/>
                  <a:gd name="connsiteX22" fmla="*/ 329 w 224805"/>
                  <a:gd name="connsiteY22" fmla="*/ 142162 h 543761"/>
                  <a:gd name="connsiteX23" fmla="*/ 225134 w 224805"/>
                  <a:gd name="connsiteY23" fmla="*/ 272118 h 543761"/>
                  <a:gd name="connsiteX24" fmla="*/ 225134 w 224805"/>
                  <a:gd name="connsiteY24" fmla="*/ 220386 h 54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61">
                    <a:moveTo>
                      <a:pt x="225134" y="543673"/>
                    </a:moveTo>
                    <a:lnTo>
                      <a:pt x="329" y="413717"/>
                    </a:lnTo>
                    <a:lnTo>
                      <a:pt x="329" y="362002"/>
                    </a:lnTo>
                    <a:lnTo>
                      <a:pt x="225134" y="491957"/>
                    </a:lnTo>
                    <a:lnTo>
                      <a:pt x="225134" y="543673"/>
                    </a:lnTo>
                    <a:close/>
                    <a:moveTo>
                      <a:pt x="225134" y="401423"/>
                    </a:moveTo>
                    <a:lnTo>
                      <a:pt x="329" y="271483"/>
                    </a:lnTo>
                    <a:lnTo>
                      <a:pt x="329" y="323199"/>
                    </a:lnTo>
                    <a:lnTo>
                      <a:pt x="225134" y="453155"/>
                    </a:lnTo>
                    <a:lnTo>
                      <a:pt x="225134" y="401439"/>
                    </a:lnTo>
                    <a:close/>
                    <a:moveTo>
                      <a:pt x="225134" y="310904"/>
                    </a:moveTo>
                    <a:lnTo>
                      <a:pt x="329" y="180949"/>
                    </a:lnTo>
                    <a:lnTo>
                      <a:pt x="329" y="232680"/>
                    </a:lnTo>
                    <a:lnTo>
                      <a:pt x="225134" y="362636"/>
                    </a:lnTo>
                    <a:lnTo>
                      <a:pt x="225134" y="310904"/>
                    </a:lnTo>
                    <a:close/>
                    <a:moveTo>
                      <a:pt x="225134" y="129867"/>
                    </a:moveTo>
                    <a:lnTo>
                      <a:pt x="329" y="-89"/>
                    </a:lnTo>
                    <a:lnTo>
                      <a:pt x="329" y="51627"/>
                    </a:lnTo>
                    <a:lnTo>
                      <a:pt x="225134" y="181583"/>
                    </a:lnTo>
                    <a:lnTo>
                      <a:pt x="225134" y="129867"/>
                    </a:lnTo>
                    <a:close/>
                    <a:moveTo>
                      <a:pt x="225134" y="220386"/>
                    </a:moveTo>
                    <a:lnTo>
                      <a:pt x="329" y="90430"/>
                    </a:lnTo>
                    <a:lnTo>
                      <a:pt x="329" y="142162"/>
                    </a:lnTo>
                    <a:lnTo>
                      <a:pt x="225134" y="272118"/>
                    </a:lnTo>
                    <a:lnTo>
                      <a:pt x="225134" y="220386"/>
                    </a:lnTo>
                    <a:close/>
                  </a:path>
                </a:pathLst>
              </a:custGeom>
              <a:grpFill/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3393" name="Grafik 3392">
              <a:extLst>
                <a:ext uri="{FF2B5EF4-FFF2-40B4-BE49-F238E27FC236}">
                  <a16:creationId xmlns:a16="http://schemas.microsoft.com/office/drawing/2014/main" id="{D9E33E81-AC3C-6045-03F3-0F218542C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968881" y="1905267"/>
              <a:ext cx="112478" cy="142655"/>
            </a:xfrm>
            <a:prstGeom prst="rect">
              <a:avLst/>
            </a:prstGeom>
            <a:scene3d>
              <a:camera prst="isometricRightUp"/>
              <a:lightRig rig="threePt" dir="t"/>
            </a:scene3d>
          </p:spPr>
        </p:pic>
        <p:sp>
          <p:nvSpPr>
            <p:cNvPr id="3394" name="Freihandform: Form 3393">
              <a:extLst>
                <a:ext uri="{FF2B5EF4-FFF2-40B4-BE49-F238E27FC236}">
                  <a16:creationId xmlns:a16="http://schemas.microsoft.com/office/drawing/2014/main" id="{AD72B0B4-FC43-83DA-715B-D36EA4268229}"/>
                </a:ext>
              </a:extLst>
            </p:cNvPr>
            <p:cNvSpPr/>
            <p:nvPr/>
          </p:nvSpPr>
          <p:spPr>
            <a:xfrm flipH="1">
              <a:off x="15072673" y="2031575"/>
              <a:ext cx="92866" cy="125160"/>
            </a:xfrm>
            <a:custGeom>
              <a:avLst/>
              <a:gdLst>
                <a:gd name="connsiteX0" fmla="*/ 0 w 92866"/>
                <a:gd name="connsiteY0" fmla="*/ 0 h 125160"/>
                <a:gd name="connsiteX1" fmla="*/ 92867 w 92866"/>
                <a:gd name="connsiteY1" fmla="*/ 53624 h 125160"/>
                <a:gd name="connsiteX2" fmla="*/ 92867 w 92866"/>
                <a:gd name="connsiteY2" fmla="*/ 125160 h 125160"/>
                <a:gd name="connsiteX3" fmla="*/ 0 w 92866"/>
                <a:gd name="connsiteY3" fmla="*/ 71536 h 125160"/>
                <a:gd name="connsiteX4" fmla="*/ 0 w 92866"/>
                <a:gd name="connsiteY4" fmla="*/ 0 h 12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66" h="125160">
                  <a:moveTo>
                    <a:pt x="0" y="0"/>
                  </a:moveTo>
                  <a:lnTo>
                    <a:pt x="92867" y="53624"/>
                  </a:lnTo>
                  <a:lnTo>
                    <a:pt x="92867" y="125160"/>
                  </a:lnTo>
                  <a:lnTo>
                    <a:pt x="0" y="715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7E"/>
            </a:solidFill>
            <a:ln w="12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5" name="Freihandform: Form 3394">
              <a:extLst>
                <a:ext uri="{FF2B5EF4-FFF2-40B4-BE49-F238E27FC236}">
                  <a16:creationId xmlns:a16="http://schemas.microsoft.com/office/drawing/2014/main" id="{2C3DE242-8F90-89CA-DCDA-D3ED47C98B8C}"/>
                </a:ext>
              </a:extLst>
            </p:cNvPr>
            <p:cNvSpPr/>
            <p:nvPr/>
          </p:nvSpPr>
          <p:spPr>
            <a:xfrm flipH="1">
              <a:off x="15072673" y="2123729"/>
              <a:ext cx="92866" cy="125172"/>
            </a:xfrm>
            <a:custGeom>
              <a:avLst/>
              <a:gdLst>
                <a:gd name="connsiteX0" fmla="*/ 0 w 92866"/>
                <a:gd name="connsiteY0" fmla="*/ 0 h 125172"/>
                <a:gd name="connsiteX1" fmla="*/ 92867 w 92866"/>
                <a:gd name="connsiteY1" fmla="*/ 53624 h 125172"/>
                <a:gd name="connsiteX2" fmla="*/ 92867 w 92866"/>
                <a:gd name="connsiteY2" fmla="*/ 125173 h 125172"/>
                <a:gd name="connsiteX3" fmla="*/ 0 w 92866"/>
                <a:gd name="connsiteY3" fmla="*/ 71548 h 125172"/>
                <a:gd name="connsiteX4" fmla="*/ 0 w 92866"/>
                <a:gd name="connsiteY4" fmla="*/ 0 h 12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66" h="125172">
                  <a:moveTo>
                    <a:pt x="0" y="0"/>
                  </a:moveTo>
                  <a:lnTo>
                    <a:pt x="92867" y="53624"/>
                  </a:lnTo>
                  <a:lnTo>
                    <a:pt x="92867" y="125173"/>
                  </a:lnTo>
                  <a:lnTo>
                    <a:pt x="0" y="715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A9"/>
            </a:solidFill>
            <a:ln w="12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6" name="Freihandform: Form 3395">
              <a:extLst>
                <a:ext uri="{FF2B5EF4-FFF2-40B4-BE49-F238E27FC236}">
                  <a16:creationId xmlns:a16="http://schemas.microsoft.com/office/drawing/2014/main" id="{C53C83C7-8681-5E4F-3D9F-B32175417302}"/>
                </a:ext>
              </a:extLst>
            </p:cNvPr>
            <p:cNvSpPr/>
            <p:nvPr/>
          </p:nvSpPr>
          <p:spPr>
            <a:xfrm flipH="1">
              <a:off x="15072673" y="2219772"/>
              <a:ext cx="92866" cy="125160"/>
            </a:xfrm>
            <a:custGeom>
              <a:avLst/>
              <a:gdLst>
                <a:gd name="connsiteX0" fmla="*/ 0 w 92866"/>
                <a:gd name="connsiteY0" fmla="*/ 0 h 125160"/>
                <a:gd name="connsiteX1" fmla="*/ 92867 w 92866"/>
                <a:gd name="connsiteY1" fmla="*/ 53624 h 125160"/>
                <a:gd name="connsiteX2" fmla="*/ 92867 w 92866"/>
                <a:gd name="connsiteY2" fmla="*/ 125160 h 125160"/>
                <a:gd name="connsiteX3" fmla="*/ 0 w 92866"/>
                <a:gd name="connsiteY3" fmla="*/ 71536 h 125160"/>
                <a:gd name="connsiteX4" fmla="*/ 0 w 92866"/>
                <a:gd name="connsiteY4" fmla="*/ 0 h 12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66" h="125160">
                  <a:moveTo>
                    <a:pt x="0" y="0"/>
                  </a:moveTo>
                  <a:lnTo>
                    <a:pt x="92867" y="53624"/>
                  </a:lnTo>
                  <a:lnTo>
                    <a:pt x="92867" y="125160"/>
                  </a:lnTo>
                  <a:lnTo>
                    <a:pt x="0" y="715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A9"/>
            </a:solidFill>
            <a:ln w="12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7" name="Freihandform: Form 3396">
              <a:extLst>
                <a:ext uri="{FF2B5EF4-FFF2-40B4-BE49-F238E27FC236}">
                  <a16:creationId xmlns:a16="http://schemas.microsoft.com/office/drawing/2014/main" id="{E104FB17-5F19-C011-D6FD-64183D6E6308}"/>
                </a:ext>
              </a:extLst>
            </p:cNvPr>
            <p:cNvSpPr/>
            <p:nvPr/>
          </p:nvSpPr>
          <p:spPr>
            <a:xfrm flipH="1">
              <a:off x="15072673" y="2311926"/>
              <a:ext cx="92866" cy="125172"/>
            </a:xfrm>
            <a:custGeom>
              <a:avLst/>
              <a:gdLst>
                <a:gd name="connsiteX0" fmla="*/ 0 w 92866"/>
                <a:gd name="connsiteY0" fmla="*/ 0 h 125172"/>
                <a:gd name="connsiteX1" fmla="*/ 92867 w 92866"/>
                <a:gd name="connsiteY1" fmla="*/ 53624 h 125172"/>
                <a:gd name="connsiteX2" fmla="*/ 92867 w 92866"/>
                <a:gd name="connsiteY2" fmla="*/ 125173 h 125172"/>
                <a:gd name="connsiteX3" fmla="*/ 0 w 92866"/>
                <a:gd name="connsiteY3" fmla="*/ 71548 h 125172"/>
                <a:gd name="connsiteX4" fmla="*/ 0 w 92866"/>
                <a:gd name="connsiteY4" fmla="*/ 0 h 12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66" h="125172">
                  <a:moveTo>
                    <a:pt x="0" y="0"/>
                  </a:moveTo>
                  <a:lnTo>
                    <a:pt x="92867" y="53624"/>
                  </a:lnTo>
                  <a:lnTo>
                    <a:pt x="92867" y="125173"/>
                  </a:lnTo>
                  <a:lnTo>
                    <a:pt x="0" y="715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A9"/>
            </a:solidFill>
            <a:ln w="12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3398" name="Gruppieren 3397">
              <a:extLst>
                <a:ext uri="{FF2B5EF4-FFF2-40B4-BE49-F238E27FC236}">
                  <a16:creationId xmlns:a16="http://schemas.microsoft.com/office/drawing/2014/main" id="{B4971610-5926-16C3-1760-1B762537D02E}"/>
                </a:ext>
              </a:extLst>
            </p:cNvPr>
            <p:cNvGrpSpPr>
              <a:grpSpLocks/>
            </p:cNvGrpSpPr>
            <p:nvPr/>
          </p:nvGrpSpPr>
          <p:grpSpPr>
            <a:xfrm>
              <a:off x="14694656" y="1636262"/>
              <a:ext cx="474276" cy="938423"/>
              <a:chOff x="13167667" y="2868059"/>
              <a:chExt cx="474276" cy="938423"/>
            </a:xfrm>
          </p:grpSpPr>
          <p:sp>
            <p:nvSpPr>
              <p:cNvPr id="3400" name="Freihandform: Form 3399">
                <a:extLst>
                  <a:ext uri="{FF2B5EF4-FFF2-40B4-BE49-F238E27FC236}">
                    <a16:creationId xmlns:a16="http://schemas.microsoft.com/office/drawing/2014/main" id="{F8B5FC7C-F3E9-ADCA-DBB5-E790588044D7}"/>
                  </a:ext>
                </a:extLst>
              </p:cNvPr>
              <p:cNvSpPr/>
              <p:nvPr/>
            </p:nvSpPr>
            <p:spPr>
              <a:xfrm>
                <a:off x="13185121" y="2868059"/>
                <a:ext cx="454900" cy="263137"/>
              </a:xfrm>
              <a:custGeom>
                <a:avLst/>
                <a:gdLst>
                  <a:gd name="connsiteX0" fmla="*/ 1126368 w 2253607"/>
                  <a:gd name="connsiteY0" fmla="*/ 0 h 1303586"/>
                  <a:gd name="connsiteX1" fmla="*/ 2253608 w 2253607"/>
                  <a:gd name="connsiteY1" fmla="*/ 642394 h 1303586"/>
                  <a:gd name="connsiteX2" fmla="*/ 1111117 w 2253607"/>
                  <a:gd name="connsiteY2" fmla="*/ 1303586 h 1303586"/>
                  <a:gd name="connsiteX3" fmla="*/ 0 w 2253607"/>
                  <a:gd name="connsiteY3" fmla="*/ 643079 h 1303586"/>
                  <a:gd name="connsiteX4" fmla="*/ 1126368 w 2253607"/>
                  <a:gd name="connsiteY4" fmla="*/ 0 h 1303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3607" h="1303586">
                    <a:moveTo>
                      <a:pt x="1126368" y="0"/>
                    </a:moveTo>
                    <a:lnTo>
                      <a:pt x="2253608" y="642394"/>
                    </a:lnTo>
                    <a:lnTo>
                      <a:pt x="1111117" y="1303586"/>
                    </a:lnTo>
                    <a:lnTo>
                      <a:pt x="0" y="643079"/>
                    </a:lnTo>
                    <a:lnTo>
                      <a:pt x="1126368" y="0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1" name="Freihandform: Form 3400">
                <a:extLst>
                  <a:ext uri="{FF2B5EF4-FFF2-40B4-BE49-F238E27FC236}">
                    <a16:creationId xmlns:a16="http://schemas.microsoft.com/office/drawing/2014/main" id="{0E2EC823-AB38-510A-54DB-4F65B30B8BD8}"/>
                  </a:ext>
                </a:extLst>
              </p:cNvPr>
              <p:cNvSpPr/>
              <p:nvPr/>
            </p:nvSpPr>
            <p:spPr>
              <a:xfrm>
                <a:off x="13187244" y="2868059"/>
                <a:ext cx="454699" cy="263550"/>
              </a:xfrm>
              <a:custGeom>
                <a:avLst/>
                <a:gdLst>
                  <a:gd name="connsiteX0" fmla="*/ 1116035 w 2252611"/>
                  <a:gd name="connsiteY0" fmla="*/ 0 h 1305640"/>
                  <a:gd name="connsiteX1" fmla="*/ 2252612 w 2252611"/>
                  <a:gd name="connsiteY1" fmla="*/ 644448 h 1305640"/>
                  <a:gd name="connsiteX2" fmla="*/ 1116035 w 2252611"/>
                  <a:gd name="connsiteY2" fmla="*/ 1305641 h 1305640"/>
                  <a:gd name="connsiteX3" fmla="*/ 0 w 2252611"/>
                  <a:gd name="connsiteY3" fmla="*/ 645133 h 1305640"/>
                  <a:gd name="connsiteX4" fmla="*/ 1116035 w 2252611"/>
                  <a:gd name="connsiteY4" fmla="*/ 0 h 1305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2611" h="1305640">
                    <a:moveTo>
                      <a:pt x="1116035" y="0"/>
                    </a:moveTo>
                    <a:lnTo>
                      <a:pt x="2252612" y="644448"/>
                    </a:lnTo>
                    <a:lnTo>
                      <a:pt x="1116035" y="1305641"/>
                    </a:lnTo>
                    <a:lnTo>
                      <a:pt x="0" y="645133"/>
                    </a:lnTo>
                    <a:lnTo>
                      <a:pt x="1116035" y="0"/>
                    </a:lnTo>
                    <a:close/>
                  </a:path>
                </a:pathLst>
              </a:custGeom>
              <a:gradFill>
                <a:gsLst>
                  <a:gs pos="1000">
                    <a:srgbClr val="00C1B6">
                      <a:alpha val="0"/>
                    </a:srgbClr>
                  </a:gs>
                  <a:gs pos="12000">
                    <a:srgbClr val="00C1B6">
                      <a:alpha val="10980"/>
                    </a:srgbClr>
                  </a:gs>
                  <a:gs pos="100000">
                    <a:srgbClr val="00C1B6"/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2" name="Freihandform: Form 3401">
                <a:extLst>
                  <a:ext uri="{FF2B5EF4-FFF2-40B4-BE49-F238E27FC236}">
                    <a16:creationId xmlns:a16="http://schemas.microsoft.com/office/drawing/2014/main" id="{12A12CDC-02CD-5D67-F55D-DC96ED503414}"/>
                  </a:ext>
                </a:extLst>
              </p:cNvPr>
              <p:cNvSpPr/>
              <p:nvPr/>
            </p:nvSpPr>
            <p:spPr>
              <a:xfrm>
                <a:off x="13242304" y="2901671"/>
                <a:ext cx="341364" cy="195913"/>
              </a:xfrm>
              <a:custGeom>
                <a:avLst/>
                <a:gdLst>
                  <a:gd name="connsiteX0" fmla="*/ 0 w 1691139"/>
                  <a:gd name="connsiteY0" fmla="*/ 485281 h 970562"/>
                  <a:gd name="connsiteX1" fmla="*/ 846192 w 1691139"/>
                  <a:gd name="connsiteY1" fmla="*/ 0 h 970562"/>
                  <a:gd name="connsiteX2" fmla="*/ 1691140 w 1691139"/>
                  <a:gd name="connsiteY2" fmla="*/ 483476 h 970562"/>
                  <a:gd name="connsiteX3" fmla="*/ 846192 w 1691139"/>
                  <a:gd name="connsiteY3" fmla="*/ 970562 h 970562"/>
                  <a:gd name="connsiteX4" fmla="*/ 0 w 1691139"/>
                  <a:gd name="connsiteY4" fmla="*/ 485281 h 970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1139" h="970562">
                    <a:moveTo>
                      <a:pt x="0" y="485281"/>
                    </a:moveTo>
                    <a:lnTo>
                      <a:pt x="846192" y="0"/>
                    </a:lnTo>
                    <a:lnTo>
                      <a:pt x="1691140" y="483476"/>
                    </a:lnTo>
                    <a:lnTo>
                      <a:pt x="846192" y="970562"/>
                    </a:lnTo>
                    <a:lnTo>
                      <a:pt x="0" y="485281"/>
                    </a:lnTo>
                    <a:close/>
                  </a:path>
                </a:pathLst>
              </a:custGeom>
              <a:gradFill>
                <a:gsLst>
                  <a:gs pos="12000">
                    <a:srgbClr val="805CFF"/>
                  </a:gs>
                  <a:gs pos="19000">
                    <a:srgbClr val="694BD8">
                      <a:alpha val="81961"/>
                    </a:srgbClr>
                  </a:gs>
                  <a:gs pos="27000">
                    <a:srgbClr val="5039AF">
                      <a:alpha val="62745"/>
                    </a:srgbClr>
                  </a:gs>
                  <a:gs pos="35000">
                    <a:srgbClr val="3A2A8B">
                      <a:alpha val="45882"/>
                    </a:srgbClr>
                  </a:gs>
                  <a:gs pos="44000">
                    <a:srgbClr val="281D6C">
                      <a:alpha val="31765"/>
                    </a:srgbClr>
                  </a:gs>
                  <a:gs pos="53000">
                    <a:srgbClr val="191253">
                      <a:alpha val="20000"/>
                    </a:srgbClr>
                  </a:gs>
                  <a:gs pos="63000">
                    <a:srgbClr val="0E0A40">
                      <a:alpha val="10980"/>
                    </a:srgbClr>
                  </a:gs>
                  <a:gs pos="73000">
                    <a:srgbClr val="060432">
                      <a:alpha val="4706"/>
                    </a:srgbClr>
                  </a:gs>
                  <a:gs pos="85000">
                    <a:srgbClr val="01012A">
                      <a:alpha val="784"/>
                    </a:srgbClr>
                  </a:gs>
                  <a:gs pos="100000">
                    <a:srgbClr val="000028">
                      <a:alpha val="0"/>
                    </a:srgbClr>
                  </a:gs>
                </a:gsLst>
                <a:lin ang="0" scaled="1"/>
              </a:gra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3" name="Freihandform: Form 3402">
                <a:extLst>
                  <a:ext uri="{FF2B5EF4-FFF2-40B4-BE49-F238E27FC236}">
                    <a16:creationId xmlns:a16="http://schemas.microsoft.com/office/drawing/2014/main" id="{DCD66B16-CD50-15E2-358C-64E06C27800E}"/>
                  </a:ext>
                </a:extLst>
              </p:cNvPr>
              <p:cNvSpPr/>
              <p:nvPr/>
            </p:nvSpPr>
            <p:spPr>
              <a:xfrm>
                <a:off x="13413224" y="2901671"/>
                <a:ext cx="171185" cy="106841"/>
              </a:xfrm>
              <a:custGeom>
                <a:avLst/>
                <a:gdLst>
                  <a:gd name="connsiteX0" fmla="*/ 773363 w 848059"/>
                  <a:gd name="connsiteY0" fmla="*/ 529290 h 529290"/>
                  <a:gd name="connsiteX1" fmla="*/ 436 w 848059"/>
                  <a:gd name="connsiteY1" fmla="*/ 85902 h 529290"/>
                  <a:gd name="connsiteX2" fmla="*/ 0 w 848059"/>
                  <a:gd name="connsiteY2" fmla="*/ 0 h 529290"/>
                  <a:gd name="connsiteX3" fmla="*/ 848060 w 848059"/>
                  <a:gd name="connsiteY3" fmla="*/ 487958 h 529290"/>
                  <a:gd name="connsiteX4" fmla="*/ 773363 w 848059"/>
                  <a:gd name="connsiteY4" fmla="*/ 529290 h 52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059" h="529290">
                    <a:moveTo>
                      <a:pt x="773363" y="529290"/>
                    </a:moveTo>
                    <a:lnTo>
                      <a:pt x="436" y="85902"/>
                    </a:lnTo>
                    <a:lnTo>
                      <a:pt x="0" y="0"/>
                    </a:lnTo>
                    <a:lnTo>
                      <a:pt x="848060" y="487958"/>
                    </a:lnTo>
                    <a:lnTo>
                      <a:pt x="773363" y="529290"/>
                    </a:lnTo>
                    <a:close/>
                  </a:path>
                </a:pathLst>
              </a:custGeom>
              <a:solidFill>
                <a:srgbClr val="009999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4" name="Freihandform: Form 3403">
                <a:extLst>
                  <a:ext uri="{FF2B5EF4-FFF2-40B4-BE49-F238E27FC236}">
                    <a16:creationId xmlns:a16="http://schemas.microsoft.com/office/drawing/2014/main" id="{385FE6D8-A044-D56F-D3AF-5A099025BEBA}"/>
                  </a:ext>
                </a:extLst>
              </p:cNvPr>
              <p:cNvSpPr/>
              <p:nvPr/>
            </p:nvSpPr>
            <p:spPr>
              <a:xfrm>
                <a:off x="13240958" y="2901671"/>
                <a:ext cx="172528" cy="106841"/>
              </a:xfrm>
              <a:custGeom>
                <a:avLst/>
                <a:gdLst>
                  <a:gd name="connsiteX0" fmla="*/ 81357 w 854720"/>
                  <a:gd name="connsiteY0" fmla="*/ 529290 h 529290"/>
                  <a:gd name="connsiteX1" fmla="*/ 854284 w 854720"/>
                  <a:gd name="connsiteY1" fmla="*/ 85902 h 529290"/>
                  <a:gd name="connsiteX2" fmla="*/ 854720 w 854720"/>
                  <a:gd name="connsiteY2" fmla="*/ 0 h 529290"/>
                  <a:gd name="connsiteX3" fmla="*/ 0 w 854720"/>
                  <a:gd name="connsiteY3" fmla="*/ 484285 h 529290"/>
                  <a:gd name="connsiteX4" fmla="*/ 81357 w 854720"/>
                  <a:gd name="connsiteY4" fmla="*/ 529290 h 52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4720" h="529290">
                    <a:moveTo>
                      <a:pt x="81357" y="529290"/>
                    </a:moveTo>
                    <a:lnTo>
                      <a:pt x="854284" y="85902"/>
                    </a:lnTo>
                    <a:lnTo>
                      <a:pt x="854720" y="0"/>
                    </a:lnTo>
                    <a:lnTo>
                      <a:pt x="0" y="484285"/>
                    </a:lnTo>
                    <a:lnTo>
                      <a:pt x="81357" y="529290"/>
                    </a:lnTo>
                    <a:close/>
                  </a:path>
                </a:pathLst>
              </a:custGeom>
              <a:solidFill>
                <a:srgbClr val="000028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0" name="Freihandform: Form 3409">
                <a:extLst>
                  <a:ext uri="{FF2B5EF4-FFF2-40B4-BE49-F238E27FC236}">
                    <a16:creationId xmlns:a16="http://schemas.microsoft.com/office/drawing/2014/main" id="{AFA82D3B-952C-0C6B-E94B-0AACD13C6C3D}"/>
                  </a:ext>
                </a:extLst>
              </p:cNvPr>
              <p:cNvSpPr/>
              <p:nvPr/>
            </p:nvSpPr>
            <p:spPr>
              <a:xfrm>
                <a:off x="13287059" y="3043263"/>
                <a:ext cx="353589" cy="391837"/>
              </a:xfrm>
              <a:custGeom>
                <a:avLst/>
                <a:gdLst>
                  <a:gd name="connsiteX0" fmla="*/ 1751706 w 1751706"/>
                  <a:gd name="connsiteY0" fmla="*/ 1291012 h 1941187"/>
                  <a:gd name="connsiteX1" fmla="*/ 683104 w 1751706"/>
                  <a:gd name="connsiteY1" fmla="*/ 1941187 h 1941187"/>
                  <a:gd name="connsiteX2" fmla="*/ 391350 w 1751706"/>
                  <a:gd name="connsiteY2" fmla="*/ 1773804 h 1941187"/>
                  <a:gd name="connsiteX3" fmla="*/ 391350 w 1751706"/>
                  <a:gd name="connsiteY3" fmla="*/ 638348 h 1941187"/>
                  <a:gd name="connsiteX4" fmla="*/ 0 w 1751706"/>
                  <a:gd name="connsiteY4" fmla="*/ 416685 h 1941187"/>
                  <a:gd name="connsiteX5" fmla="*/ 0 w 1751706"/>
                  <a:gd name="connsiteY5" fmla="*/ 72830 h 1941187"/>
                  <a:gd name="connsiteX6" fmla="*/ 149519 w 1751706"/>
                  <a:gd name="connsiteY6" fmla="*/ 0 h 194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1706" h="1941187">
                    <a:moveTo>
                      <a:pt x="1751706" y="1291012"/>
                    </a:moveTo>
                    <a:lnTo>
                      <a:pt x="683104" y="1941187"/>
                    </a:lnTo>
                    <a:lnTo>
                      <a:pt x="391350" y="1773804"/>
                    </a:lnTo>
                    <a:lnTo>
                      <a:pt x="391350" y="638348"/>
                    </a:lnTo>
                    <a:lnTo>
                      <a:pt x="0" y="416685"/>
                    </a:lnTo>
                    <a:lnTo>
                      <a:pt x="0" y="72830"/>
                    </a:lnTo>
                    <a:lnTo>
                      <a:pt x="149519" y="0"/>
                    </a:lnTo>
                  </a:path>
                </a:pathLst>
              </a:custGeom>
              <a:noFill/>
              <a:ln w="12700" cap="flat">
                <a:solidFill>
                  <a:srgbClr val="805C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1" name="Freihandform: Form 3410">
                <a:extLst>
                  <a:ext uri="{FF2B5EF4-FFF2-40B4-BE49-F238E27FC236}">
                    <a16:creationId xmlns:a16="http://schemas.microsoft.com/office/drawing/2014/main" id="{16BE9DED-82B5-778D-8AB9-69D819FE1750}"/>
                  </a:ext>
                </a:extLst>
              </p:cNvPr>
              <p:cNvSpPr/>
              <p:nvPr/>
            </p:nvSpPr>
            <p:spPr>
              <a:xfrm>
                <a:off x="13306698" y="3057059"/>
                <a:ext cx="333938" cy="355097"/>
              </a:xfrm>
              <a:custGeom>
                <a:avLst/>
                <a:gdLst>
                  <a:gd name="connsiteX0" fmla="*/ 98413 w 1654351"/>
                  <a:gd name="connsiteY0" fmla="*/ 0 h 1759175"/>
                  <a:gd name="connsiteX1" fmla="*/ 1681 w 1654351"/>
                  <a:gd name="connsiteY1" fmla="*/ 61065 h 1759175"/>
                  <a:gd name="connsiteX2" fmla="*/ 0 w 1654351"/>
                  <a:gd name="connsiteY2" fmla="*/ 284969 h 1759175"/>
                  <a:gd name="connsiteX3" fmla="*/ 393591 w 1654351"/>
                  <a:gd name="connsiteY3" fmla="*/ 512297 h 1759175"/>
                  <a:gd name="connsiteX4" fmla="*/ 393591 w 1654351"/>
                  <a:gd name="connsiteY4" fmla="*/ 1647690 h 1759175"/>
                  <a:gd name="connsiteX5" fmla="*/ 588674 w 1654351"/>
                  <a:gd name="connsiteY5" fmla="*/ 1759176 h 1759175"/>
                  <a:gd name="connsiteX6" fmla="*/ 1654351 w 1654351"/>
                  <a:gd name="connsiteY6" fmla="*/ 1144793 h 175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54351" h="1759175">
                    <a:moveTo>
                      <a:pt x="98413" y="0"/>
                    </a:moveTo>
                    <a:lnTo>
                      <a:pt x="1681" y="61065"/>
                    </a:lnTo>
                    <a:lnTo>
                      <a:pt x="0" y="284969"/>
                    </a:lnTo>
                    <a:lnTo>
                      <a:pt x="393591" y="512297"/>
                    </a:lnTo>
                    <a:lnTo>
                      <a:pt x="393591" y="1647690"/>
                    </a:lnTo>
                    <a:lnTo>
                      <a:pt x="588674" y="1759176"/>
                    </a:lnTo>
                    <a:lnTo>
                      <a:pt x="1654351" y="1144793"/>
                    </a:lnTo>
                  </a:path>
                </a:pathLst>
              </a:custGeom>
              <a:noFill/>
              <a:ln w="12700" cap="flat">
                <a:solidFill>
                  <a:srgbClr val="B4A8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2" name="Freihandform: Form 3411">
                <a:extLst>
                  <a:ext uri="{FF2B5EF4-FFF2-40B4-BE49-F238E27FC236}">
                    <a16:creationId xmlns:a16="http://schemas.microsoft.com/office/drawing/2014/main" id="{0F48ED03-0488-901F-6C2A-DCAAC3C032F3}"/>
                  </a:ext>
                </a:extLst>
              </p:cNvPr>
              <p:cNvSpPr/>
              <p:nvPr/>
            </p:nvSpPr>
            <p:spPr>
              <a:xfrm>
                <a:off x="13465581" y="3032997"/>
                <a:ext cx="58904" cy="716666"/>
              </a:xfrm>
              <a:custGeom>
                <a:avLst/>
                <a:gdLst>
                  <a:gd name="connsiteX0" fmla="*/ 144414 w 291815"/>
                  <a:gd name="connsiteY0" fmla="*/ 3550408 h 3550408"/>
                  <a:gd name="connsiteX1" fmla="*/ 0 w 291815"/>
                  <a:gd name="connsiteY1" fmla="*/ 3459527 h 3550408"/>
                  <a:gd name="connsiteX2" fmla="*/ 0 w 291815"/>
                  <a:gd name="connsiteY2" fmla="*/ 2558682 h 3550408"/>
                  <a:gd name="connsiteX3" fmla="*/ 291816 w 291815"/>
                  <a:gd name="connsiteY3" fmla="*/ 2387315 h 3550408"/>
                  <a:gd name="connsiteX4" fmla="*/ 291816 w 291815"/>
                  <a:gd name="connsiteY4" fmla="*/ 234548 h 3550408"/>
                  <a:gd name="connsiteX5" fmla="*/ 191722 w 291815"/>
                  <a:gd name="connsiteY5" fmla="*/ 178588 h 3550408"/>
                  <a:gd name="connsiteX6" fmla="*/ 95052 w 291815"/>
                  <a:gd name="connsiteY6" fmla="*/ 119204 h 3550408"/>
                  <a:gd name="connsiteX7" fmla="*/ 95052 w 291815"/>
                  <a:gd name="connsiteY7" fmla="*/ 0 h 3550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1815" h="3550408">
                    <a:moveTo>
                      <a:pt x="144414" y="3550408"/>
                    </a:moveTo>
                    <a:lnTo>
                      <a:pt x="0" y="3459527"/>
                    </a:lnTo>
                    <a:lnTo>
                      <a:pt x="0" y="2558682"/>
                    </a:lnTo>
                    <a:lnTo>
                      <a:pt x="291816" y="2387315"/>
                    </a:lnTo>
                    <a:lnTo>
                      <a:pt x="291816" y="234548"/>
                    </a:lnTo>
                    <a:lnTo>
                      <a:pt x="191722" y="178588"/>
                    </a:lnTo>
                    <a:lnTo>
                      <a:pt x="95052" y="119204"/>
                    </a:lnTo>
                    <a:lnTo>
                      <a:pt x="95052" y="0"/>
                    </a:lnTo>
                  </a:path>
                </a:pathLst>
              </a:custGeom>
              <a:noFill/>
              <a:ln w="12700" cap="flat">
                <a:solidFill>
                  <a:srgbClr val="00E6DC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3" name="Freihandform: Form 3412">
                <a:extLst>
                  <a:ext uri="{FF2B5EF4-FFF2-40B4-BE49-F238E27FC236}">
                    <a16:creationId xmlns:a16="http://schemas.microsoft.com/office/drawing/2014/main" id="{CABC89BA-0AE4-808A-1E17-A987C235CCCC}"/>
                  </a:ext>
                </a:extLst>
              </p:cNvPr>
              <p:cNvSpPr/>
              <p:nvPr/>
            </p:nvSpPr>
            <p:spPr>
              <a:xfrm>
                <a:off x="13327229" y="2966341"/>
                <a:ext cx="173584" cy="90606"/>
              </a:xfrm>
              <a:custGeom>
                <a:avLst/>
                <a:gdLst>
                  <a:gd name="connsiteX0" fmla="*/ 0 w 859948"/>
                  <a:gd name="connsiteY0" fmla="*/ 448866 h 448866"/>
                  <a:gd name="connsiteX1" fmla="*/ 781144 w 859948"/>
                  <a:gd name="connsiteY1" fmla="*/ 0 h 448866"/>
                  <a:gd name="connsiteX2" fmla="*/ 859949 w 859948"/>
                  <a:gd name="connsiteY2" fmla="*/ 45565 h 44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9948" h="448866">
                    <a:moveTo>
                      <a:pt x="0" y="448866"/>
                    </a:moveTo>
                    <a:lnTo>
                      <a:pt x="781144" y="0"/>
                    </a:lnTo>
                    <a:lnTo>
                      <a:pt x="859949" y="45565"/>
                    </a:lnTo>
                  </a:path>
                </a:pathLst>
              </a:custGeom>
              <a:noFill/>
              <a:ln w="12700" cap="flat">
                <a:solidFill>
                  <a:srgbClr val="805C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4" name="Freihandform: Form 3413">
                <a:extLst>
                  <a:ext uri="{FF2B5EF4-FFF2-40B4-BE49-F238E27FC236}">
                    <a16:creationId xmlns:a16="http://schemas.microsoft.com/office/drawing/2014/main" id="{3686F99E-1DC4-0859-E9F0-2622BEC0D5C4}"/>
                  </a:ext>
                </a:extLst>
              </p:cNvPr>
              <p:cNvSpPr/>
              <p:nvPr/>
            </p:nvSpPr>
            <p:spPr>
              <a:xfrm>
                <a:off x="13354872" y="3000643"/>
                <a:ext cx="123412" cy="63139"/>
              </a:xfrm>
              <a:custGeom>
                <a:avLst/>
                <a:gdLst>
                  <a:gd name="connsiteX0" fmla="*/ 0 w 611394"/>
                  <a:gd name="connsiteY0" fmla="*/ 312794 h 312793"/>
                  <a:gd name="connsiteX1" fmla="*/ 546097 w 611394"/>
                  <a:gd name="connsiteY1" fmla="*/ 0 h 312793"/>
                  <a:gd name="connsiteX2" fmla="*/ 611395 w 611394"/>
                  <a:gd name="connsiteY2" fmla="*/ 38967 h 312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1394" h="312793">
                    <a:moveTo>
                      <a:pt x="0" y="312794"/>
                    </a:moveTo>
                    <a:lnTo>
                      <a:pt x="546097" y="0"/>
                    </a:lnTo>
                    <a:lnTo>
                      <a:pt x="611395" y="38967"/>
                    </a:lnTo>
                  </a:path>
                </a:pathLst>
              </a:custGeom>
              <a:noFill/>
              <a:ln w="12700" cap="flat">
                <a:solidFill>
                  <a:srgbClr val="B4A8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5" name="Freihandform: Form 3414">
                <a:extLst>
                  <a:ext uri="{FF2B5EF4-FFF2-40B4-BE49-F238E27FC236}">
                    <a16:creationId xmlns:a16="http://schemas.microsoft.com/office/drawing/2014/main" id="{B89F646D-9B2E-1D4C-5505-7B56848FD575}"/>
                  </a:ext>
                </a:extLst>
              </p:cNvPr>
              <p:cNvSpPr/>
              <p:nvPr/>
            </p:nvSpPr>
            <p:spPr>
              <a:xfrm>
                <a:off x="13275524" y="2906833"/>
                <a:ext cx="296557" cy="899649"/>
              </a:xfrm>
              <a:custGeom>
                <a:avLst/>
                <a:gdLst>
                  <a:gd name="connsiteX0" fmla="*/ 0 w 1469164"/>
                  <a:gd name="connsiteY0" fmla="*/ 0 h 4456918"/>
                  <a:gd name="connsiteX1" fmla="*/ 0 w 1469164"/>
                  <a:gd name="connsiteY1" fmla="*/ 450796 h 4456918"/>
                  <a:gd name="connsiteX2" fmla="*/ 980584 w 1469164"/>
                  <a:gd name="connsiteY2" fmla="*/ 1012144 h 4456918"/>
                  <a:gd name="connsiteX3" fmla="*/ 980584 w 1469164"/>
                  <a:gd name="connsiteY3" fmla="*/ 1906640 h 4456918"/>
                  <a:gd name="connsiteX4" fmla="*/ 1469165 w 1469164"/>
                  <a:gd name="connsiteY4" fmla="*/ 1629390 h 4456918"/>
                  <a:gd name="connsiteX5" fmla="*/ 1469165 w 1469164"/>
                  <a:gd name="connsiteY5" fmla="*/ 2300231 h 4456918"/>
                  <a:gd name="connsiteX6" fmla="*/ 688768 w 1469164"/>
                  <a:gd name="connsiteY6" fmla="*/ 2749782 h 4456918"/>
                  <a:gd name="connsiteX7" fmla="*/ 688768 w 1469164"/>
                  <a:gd name="connsiteY7" fmla="*/ 4456918 h 4456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9164" h="4456918">
                    <a:moveTo>
                      <a:pt x="0" y="0"/>
                    </a:moveTo>
                    <a:lnTo>
                      <a:pt x="0" y="450796"/>
                    </a:lnTo>
                    <a:lnTo>
                      <a:pt x="980584" y="1012144"/>
                    </a:lnTo>
                    <a:lnTo>
                      <a:pt x="980584" y="1906640"/>
                    </a:lnTo>
                    <a:lnTo>
                      <a:pt x="1469165" y="1629390"/>
                    </a:lnTo>
                    <a:lnTo>
                      <a:pt x="1469165" y="2300231"/>
                    </a:lnTo>
                    <a:lnTo>
                      <a:pt x="688768" y="2749782"/>
                    </a:lnTo>
                    <a:lnTo>
                      <a:pt x="688768" y="4456918"/>
                    </a:lnTo>
                  </a:path>
                </a:pathLst>
              </a:custGeom>
              <a:noFill/>
              <a:ln w="12700" cap="flat">
                <a:solidFill>
                  <a:srgbClr val="00FFB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9" name="Freihandform: Form 3418">
                <a:extLst>
                  <a:ext uri="{FF2B5EF4-FFF2-40B4-BE49-F238E27FC236}">
                    <a16:creationId xmlns:a16="http://schemas.microsoft.com/office/drawing/2014/main" id="{C107A12D-CD89-4808-4B6D-2BA4F9787E8C}"/>
                  </a:ext>
                </a:extLst>
              </p:cNvPr>
              <p:cNvSpPr/>
              <p:nvPr/>
            </p:nvSpPr>
            <p:spPr>
              <a:xfrm>
                <a:off x="13236020" y="2935204"/>
                <a:ext cx="1256" cy="6257"/>
              </a:xfrm>
              <a:custGeom>
                <a:avLst/>
                <a:gdLst>
                  <a:gd name="connsiteX0" fmla="*/ 0 w 6224"/>
                  <a:gd name="connsiteY0" fmla="*/ 30999 h 30999"/>
                  <a:gd name="connsiteX1" fmla="*/ 0 w 6224"/>
                  <a:gd name="connsiteY1" fmla="*/ 0 h 30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30999">
                    <a:moveTo>
                      <a:pt x="0" y="3099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20" name="Freihandform: Form 3419">
                <a:extLst>
                  <a:ext uri="{FF2B5EF4-FFF2-40B4-BE49-F238E27FC236}">
                    <a16:creationId xmlns:a16="http://schemas.microsoft.com/office/drawing/2014/main" id="{81784468-85E6-7CA1-ED17-FEAA8F1FCDC3}"/>
                  </a:ext>
                </a:extLst>
              </p:cNvPr>
              <p:cNvSpPr/>
              <p:nvPr/>
            </p:nvSpPr>
            <p:spPr>
              <a:xfrm>
                <a:off x="13236020" y="2943573"/>
                <a:ext cx="1256" cy="10730"/>
              </a:xfrm>
              <a:custGeom>
                <a:avLst/>
                <a:gdLst>
                  <a:gd name="connsiteX0" fmla="*/ 0 w 6224"/>
                  <a:gd name="connsiteY0" fmla="*/ 53159 h 53159"/>
                  <a:gd name="connsiteX1" fmla="*/ 0 w 6224"/>
                  <a:gd name="connsiteY1" fmla="*/ 0 h 53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4" h="53159">
                    <a:moveTo>
                      <a:pt x="0" y="53159"/>
                    </a:moveTo>
                    <a:lnTo>
                      <a:pt x="0" y="0"/>
                    </a:lnTo>
                  </a:path>
                </a:pathLst>
              </a:custGeom>
              <a:ln w="12442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4" name="Freihandform: Form 3433">
                <a:extLst>
                  <a:ext uri="{FF2B5EF4-FFF2-40B4-BE49-F238E27FC236}">
                    <a16:creationId xmlns:a16="http://schemas.microsoft.com/office/drawing/2014/main" id="{19C22219-7507-FB2D-142F-724B4D095D3C}"/>
                  </a:ext>
                </a:extLst>
              </p:cNvPr>
              <p:cNvSpPr/>
              <p:nvPr/>
            </p:nvSpPr>
            <p:spPr>
              <a:xfrm>
                <a:off x="13167667" y="2931812"/>
                <a:ext cx="74635" cy="743404"/>
              </a:xfrm>
              <a:custGeom>
                <a:avLst/>
                <a:gdLst>
                  <a:gd name="connsiteX0" fmla="*/ 369750 w 369749"/>
                  <a:gd name="connsiteY0" fmla="*/ 0 h 3682870"/>
                  <a:gd name="connsiteX1" fmla="*/ 369750 w 369749"/>
                  <a:gd name="connsiteY1" fmla="*/ 387491 h 3682870"/>
                  <a:gd name="connsiteX2" fmla="*/ 277312 w 369749"/>
                  <a:gd name="connsiteY2" fmla="*/ 448555 h 3682870"/>
                  <a:gd name="connsiteX3" fmla="*/ 277312 w 369749"/>
                  <a:gd name="connsiteY3" fmla="*/ 2823607 h 3682870"/>
                  <a:gd name="connsiteX4" fmla="*/ 0 w 369749"/>
                  <a:gd name="connsiteY4" fmla="*/ 2995472 h 3682870"/>
                  <a:gd name="connsiteX5" fmla="*/ 0 w 369749"/>
                  <a:gd name="connsiteY5" fmla="*/ 3682871 h 3682870"/>
                  <a:gd name="connsiteX6" fmla="*/ 300967 w 369749"/>
                  <a:gd name="connsiteY6" fmla="*/ 3501606 h 368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749" h="3682870">
                    <a:moveTo>
                      <a:pt x="369750" y="0"/>
                    </a:moveTo>
                    <a:lnTo>
                      <a:pt x="369750" y="387491"/>
                    </a:lnTo>
                    <a:lnTo>
                      <a:pt x="277312" y="448555"/>
                    </a:lnTo>
                    <a:lnTo>
                      <a:pt x="277312" y="2823607"/>
                    </a:lnTo>
                    <a:lnTo>
                      <a:pt x="0" y="2995472"/>
                    </a:lnTo>
                    <a:lnTo>
                      <a:pt x="0" y="3682871"/>
                    </a:lnTo>
                    <a:lnTo>
                      <a:pt x="300967" y="3501606"/>
                    </a:lnTo>
                  </a:path>
                </a:pathLst>
              </a:custGeom>
              <a:noFill/>
              <a:ln w="12700" cap="flat">
                <a:solidFill>
                  <a:srgbClr val="00FFB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5" name="Freihandform: Form 3434">
                <a:extLst>
                  <a:ext uri="{FF2B5EF4-FFF2-40B4-BE49-F238E27FC236}">
                    <a16:creationId xmlns:a16="http://schemas.microsoft.com/office/drawing/2014/main" id="{22779F14-B8B7-D879-6F0C-3CAC03D956AA}"/>
                  </a:ext>
                </a:extLst>
              </p:cNvPr>
              <p:cNvSpPr/>
              <p:nvPr/>
            </p:nvSpPr>
            <p:spPr>
              <a:xfrm>
                <a:off x="13499118" y="2973492"/>
                <a:ext cx="51165" cy="44316"/>
              </a:xfrm>
              <a:custGeom>
                <a:avLst/>
                <a:gdLst>
                  <a:gd name="connsiteX0" fmla="*/ 0 w 253471"/>
                  <a:gd name="connsiteY0" fmla="*/ 0 h 219546"/>
                  <a:gd name="connsiteX1" fmla="*/ 126736 w 253471"/>
                  <a:gd name="connsiteY1" fmla="*/ 73328 h 219546"/>
                  <a:gd name="connsiteX2" fmla="*/ 253472 w 253471"/>
                  <a:gd name="connsiteY2" fmla="*/ 62 h 219546"/>
                  <a:gd name="connsiteX3" fmla="*/ 253472 w 253471"/>
                  <a:gd name="connsiteY3" fmla="*/ 146468 h 219546"/>
                  <a:gd name="connsiteX4" fmla="*/ 126736 w 253471"/>
                  <a:gd name="connsiteY4" fmla="*/ 219547 h 219546"/>
                  <a:gd name="connsiteX5" fmla="*/ 0 w 253471"/>
                  <a:gd name="connsiteY5" fmla="*/ 146406 h 219546"/>
                  <a:gd name="connsiteX6" fmla="*/ 0 w 253471"/>
                  <a:gd name="connsiteY6" fmla="*/ 0 h 21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471" h="219546">
                    <a:moveTo>
                      <a:pt x="0" y="0"/>
                    </a:moveTo>
                    <a:lnTo>
                      <a:pt x="126736" y="73328"/>
                    </a:lnTo>
                    <a:lnTo>
                      <a:pt x="253472" y="62"/>
                    </a:lnTo>
                    <a:lnTo>
                      <a:pt x="253472" y="146468"/>
                    </a:lnTo>
                    <a:lnTo>
                      <a:pt x="126736" y="219547"/>
                    </a:lnTo>
                    <a:lnTo>
                      <a:pt x="0" y="14640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6" name="Freihandform: Form 3435">
                <a:extLst>
                  <a:ext uri="{FF2B5EF4-FFF2-40B4-BE49-F238E27FC236}">
                    <a16:creationId xmlns:a16="http://schemas.microsoft.com/office/drawing/2014/main" id="{2649E124-31B6-2FFA-0138-ABA34B6415A9}"/>
                  </a:ext>
                </a:extLst>
              </p:cNvPr>
              <p:cNvSpPr/>
              <p:nvPr/>
            </p:nvSpPr>
            <p:spPr>
              <a:xfrm>
                <a:off x="13499142" y="2958729"/>
                <a:ext cx="51140" cy="29565"/>
              </a:xfrm>
              <a:custGeom>
                <a:avLst/>
                <a:gdLst>
                  <a:gd name="connsiteX0" fmla="*/ 126612 w 253347"/>
                  <a:gd name="connsiteY0" fmla="*/ 0 h 146468"/>
                  <a:gd name="connsiteX1" fmla="*/ 253347 w 253347"/>
                  <a:gd name="connsiteY1" fmla="*/ 73203 h 146468"/>
                  <a:gd name="connsiteX2" fmla="*/ 126612 w 253347"/>
                  <a:gd name="connsiteY2" fmla="*/ 146468 h 146468"/>
                  <a:gd name="connsiteX3" fmla="*/ 0 w 253347"/>
                  <a:gd name="connsiteY3" fmla="*/ 73888 h 146468"/>
                  <a:gd name="connsiteX4" fmla="*/ 126612 w 253347"/>
                  <a:gd name="connsiteY4" fmla="*/ 0 h 14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347" h="146468">
                    <a:moveTo>
                      <a:pt x="126612" y="0"/>
                    </a:moveTo>
                    <a:lnTo>
                      <a:pt x="253347" y="73203"/>
                    </a:lnTo>
                    <a:lnTo>
                      <a:pt x="126612" y="146468"/>
                    </a:lnTo>
                    <a:lnTo>
                      <a:pt x="0" y="73888"/>
                    </a:lnTo>
                    <a:lnTo>
                      <a:pt x="126612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7" name="Freihandform: Form 3436">
                <a:extLst>
                  <a:ext uri="{FF2B5EF4-FFF2-40B4-BE49-F238E27FC236}">
                    <a16:creationId xmlns:a16="http://schemas.microsoft.com/office/drawing/2014/main" id="{096A349B-5554-1929-84E9-294C4B4A8EDF}"/>
                  </a:ext>
                </a:extLst>
              </p:cNvPr>
              <p:cNvSpPr/>
              <p:nvPr/>
            </p:nvSpPr>
            <p:spPr>
              <a:xfrm>
                <a:off x="13524698" y="2973504"/>
                <a:ext cx="25581" cy="44304"/>
              </a:xfrm>
              <a:custGeom>
                <a:avLst/>
                <a:gdLst>
                  <a:gd name="connsiteX0" fmla="*/ 0 w 126735"/>
                  <a:gd name="connsiteY0" fmla="*/ 73265 h 219484"/>
                  <a:gd name="connsiteX1" fmla="*/ 0 w 126735"/>
                  <a:gd name="connsiteY1" fmla="*/ 219485 h 219484"/>
                  <a:gd name="connsiteX2" fmla="*/ 126736 w 126735"/>
                  <a:gd name="connsiteY2" fmla="*/ 146406 h 219484"/>
                  <a:gd name="connsiteX3" fmla="*/ 126736 w 126735"/>
                  <a:gd name="connsiteY3" fmla="*/ 0 h 219484"/>
                  <a:gd name="connsiteX4" fmla="*/ 0 w 126735"/>
                  <a:gd name="connsiteY4" fmla="*/ 73265 h 21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735" h="219484">
                    <a:moveTo>
                      <a:pt x="0" y="73265"/>
                    </a:moveTo>
                    <a:lnTo>
                      <a:pt x="0" y="219485"/>
                    </a:lnTo>
                    <a:lnTo>
                      <a:pt x="126736" y="146406"/>
                    </a:lnTo>
                    <a:lnTo>
                      <a:pt x="126736" y="0"/>
                    </a:lnTo>
                    <a:lnTo>
                      <a:pt x="0" y="73265"/>
                    </a:lnTo>
                    <a:close/>
                  </a:path>
                </a:pathLst>
              </a:custGeom>
              <a:solidFill>
                <a:srgbClr val="00BE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8" name="Freihandform: Form 3437">
                <a:extLst>
                  <a:ext uri="{FF2B5EF4-FFF2-40B4-BE49-F238E27FC236}">
                    <a16:creationId xmlns:a16="http://schemas.microsoft.com/office/drawing/2014/main" id="{60E01DE1-738E-92AF-A078-63B88FF694A9}"/>
                  </a:ext>
                </a:extLst>
              </p:cNvPr>
              <p:cNvSpPr/>
              <p:nvPr/>
            </p:nvSpPr>
            <p:spPr>
              <a:xfrm>
                <a:off x="13509245" y="2950522"/>
                <a:ext cx="29829" cy="29829"/>
              </a:xfrm>
              <a:custGeom>
                <a:avLst/>
                <a:gdLst>
                  <a:gd name="connsiteX0" fmla="*/ 147776 w 147775"/>
                  <a:gd name="connsiteY0" fmla="*/ 73888 h 147775"/>
                  <a:gd name="connsiteX1" fmla="*/ 73888 w 147775"/>
                  <a:gd name="connsiteY1" fmla="*/ 147775 h 147775"/>
                  <a:gd name="connsiteX2" fmla="*/ 0 w 147775"/>
                  <a:gd name="connsiteY2" fmla="*/ 73888 h 147775"/>
                  <a:gd name="connsiteX3" fmla="*/ 73888 w 147775"/>
                  <a:gd name="connsiteY3" fmla="*/ 0 h 147775"/>
                  <a:gd name="connsiteX4" fmla="*/ 147776 w 147775"/>
                  <a:gd name="connsiteY4" fmla="*/ 73888 h 14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775" h="147775">
                    <a:moveTo>
                      <a:pt x="147776" y="73888"/>
                    </a:moveTo>
                    <a:cubicBezTo>
                      <a:pt x="147776" y="114695"/>
                      <a:pt x="114695" y="147775"/>
                      <a:pt x="73888" y="147775"/>
                    </a:cubicBezTo>
                    <a:cubicBezTo>
                      <a:pt x="33081" y="147775"/>
                      <a:pt x="0" y="114695"/>
                      <a:pt x="0" y="73888"/>
                    </a:cubicBezTo>
                    <a:cubicBezTo>
                      <a:pt x="0" y="33081"/>
                      <a:pt x="33081" y="0"/>
                      <a:pt x="73888" y="0"/>
                    </a:cubicBezTo>
                    <a:cubicBezTo>
                      <a:pt x="114695" y="0"/>
                      <a:pt x="147776" y="33081"/>
                      <a:pt x="147776" y="73888"/>
                    </a:cubicBezTo>
                    <a:close/>
                  </a:path>
                </a:pathLst>
              </a:custGeom>
              <a:solidFill>
                <a:srgbClr val="00646E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9" name="Freihandform: Form 3438">
                <a:extLst>
                  <a:ext uri="{FF2B5EF4-FFF2-40B4-BE49-F238E27FC236}">
                    <a16:creationId xmlns:a16="http://schemas.microsoft.com/office/drawing/2014/main" id="{46C68843-4CDE-3216-4766-8EC43D1860F2}"/>
                  </a:ext>
                </a:extLst>
              </p:cNvPr>
              <p:cNvSpPr/>
              <p:nvPr/>
            </p:nvSpPr>
            <p:spPr>
              <a:xfrm>
                <a:off x="13470607" y="3010170"/>
                <a:ext cx="28573" cy="24740"/>
              </a:xfrm>
              <a:custGeom>
                <a:avLst/>
                <a:gdLst>
                  <a:gd name="connsiteX0" fmla="*/ 0 w 141550"/>
                  <a:gd name="connsiteY0" fmla="*/ 0 h 122565"/>
                  <a:gd name="connsiteX1" fmla="*/ 70775 w 141550"/>
                  <a:gd name="connsiteY1" fmla="*/ 40959 h 122565"/>
                  <a:gd name="connsiteX2" fmla="*/ 141551 w 141550"/>
                  <a:gd name="connsiteY2" fmla="*/ 62 h 122565"/>
                  <a:gd name="connsiteX3" fmla="*/ 141551 w 141550"/>
                  <a:gd name="connsiteY3" fmla="*/ 81793 h 122565"/>
                  <a:gd name="connsiteX4" fmla="*/ 70775 w 141550"/>
                  <a:gd name="connsiteY4" fmla="*/ 122565 h 122565"/>
                  <a:gd name="connsiteX5" fmla="*/ 0 w 141550"/>
                  <a:gd name="connsiteY5" fmla="*/ 81731 h 122565"/>
                  <a:gd name="connsiteX6" fmla="*/ 0 w 141550"/>
                  <a:gd name="connsiteY6" fmla="*/ 0 h 122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550" h="122565">
                    <a:moveTo>
                      <a:pt x="0" y="0"/>
                    </a:moveTo>
                    <a:lnTo>
                      <a:pt x="70775" y="40959"/>
                    </a:lnTo>
                    <a:lnTo>
                      <a:pt x="141551" y="62"/>
                    </a:lnTo>
                    <a:lnTo>
                      <a:pt x="141551" y="81793"/>
                    </a:lnTo>
                    <a:lnTo>
                      <a:pt x="70775" y="122565"/>
                    </a:lnTo>
                    <a:lnTo>
                      <a:pt x="0" y="817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0" name="Freihandform: Form 3439">
                <a:extLst>
                  <a:ext uri="{FF2B5EF4-FFF2-40B4-BE49-F238E27FC236}">
                    <a16:creationId xmlns:a16="http://schemas.microsoft.com/office/drawing/2014/main" id="{CA70DC84-6C9A-E0B0-E0D9-A7F175891F4B}"/>
                  </a:ext>
                </a:extLst>
              </p:cNvPr>
              <p:cNvSpPr/>
              <p:nvPr/>
            </p:nvSpPr>
            <p:spPr>
              <a:xfrm>
                <a:off x="13470621" y="3001924"/>
                <a:ext cx="28560" cy="16510"/>
              </a:xfrm>
              <a:custGeom>
                <a:avLst/>
                <a:gdLst>
                  <a:gd name="connsiteX0" fmla="*/ 70713 w 141488"/>
                  <a:gd name="connsiteY0" fmla="*/ 0 h 81793"/>
                  <a:gd name="connsiteX1" fmla="*/ 141489 w 141488"/>
                  <a:gd name="connsiteY1" fmla="*/ 40897 h 81793"/>
                  <a:gd name="connsiteX2" fmla="*/ 70713 w 141488"/>
                  <a:gd name="connsiteY2" fmla="*/ 81793 h 81793"/>
                  <a:gd name="connsiteX3" fmla="*/ 0 w 141488"/>
                  <a:gd name="connsiteY3" fmla="*/ 41270 h 81793"/>
                  <a:gd name="connsiteX4" fmla="*/ 70713 w 141488"/>
                  <a:gd name="connsiteY4" fmla="*/ 0 h 81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88" h="81793">
                    <a:moveTo>
                      <a:pt x="70713" y="0"/>
                    </a:moveTo>
                    <a:lnTo>
                      <a:pt x="141489" y="40897"/>
                    </a:lnTo>
                    <a:lnTo>
                      <a:pt x="70713" y="81793"/>
                    </a:lnTo>
                    <a:lnTo>
                      <a:pt x="0" y="41270"/>
                    </a:lnTo>
                    <a:lnTo>
                      <a:pt x="70713" y="0"/>
                    </a:lnTo>
                    <a:close/>
                  </a:path>
                </a:pathLst>
              </a:custGeom>
              <a:solidFill>
                <a:srgbClr val="00E6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1" name="Freihandform: Form 3440">
                <a:extLst>
                  <a:ext uri="{FF2B5EF4-FFF2-40B4-BE49-F238E27FC236}">
                    <a16:creationId xmlns:a16="http://schemas.microsoft.com/office/drawing/2014/main" id="{2DEEC476-ED9E-BF51-1A52-572671B836CD}"/>
                  </a:ext>
                </a:extLst>
              </p:cNvPr>
              <p:cNvSpPr/>
              <p:nvPr/>
            </p:nvSpPr>
            <p:spPr>
              <a:xfrm>
                <a:off x="13484895" y="3010179"/>
                <a:ext cx="14286" cy="24727"/>
              </a:xfrm>
              <a:custGeom>
                <a:avLst/>
                <a:gdLst>
                  <a:gd name="connsiteX0" fmla="*/ 0 w 70775"/>
                  <a:gd name="connsiteY0" fmla="*/ 40897 h 122503"/>
                  <a:gd name="connsiteX1" fmla="*/ 0 w 70775"/>
                  <a:gd name="connsiteY1" fmla="*/ 122503 h 122503"/>
                  <a:gd name="connsiteX2" fmla="*/ 70776 w 70775"/>
                  <a:gd name="connsiteY2" fmla="*/ 81731 h 122503"/>
                  <a:gd name="connsiteX3" fmla="*/ 70776 w 70775"/>
                  <a:gd name="connsiteY3" fmla="*/ 0 h 122503"/>
                  <a:gd name="connsiteX4" fmla="*/ 0 w 70775"/>
                  <a:gd name="connsiteY4" fmla="*/ 40897 h 122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775" h="122503">
                    <a:moveTo>
                      <a:pt x="0" y="40897"/>
                    </a:moveTo>
                    <a:lnTo>
                      <a:pt x="0" y="122503"/>
                    </a:lnTo>
                    <a:lnTo>
                      <a:pt x="70776" y="81731"/>
                    </a:lnTo>
                    <a:lnTo>
                      <a:pt x="70776" y="0"/>
                    </a:lnTo>
                    <a:lnTo>
                      <a:pt x="0" y="40897"/>
                    </a:lnTo>
                    <a:close/>
                  </a:path>
                </a:pathLst>
              </a:custGeom>
              <a:solidFill>
                <a:srgbClr val="00BEDC"/>
              </a:solidFill>
              <a:ln w="62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071" name="Gruppieren 4070">
            <a:extLst>
              <a:ext uri="{FF2B5EF4-FFF2-40B4-BE49-F238E27FC236}">
                <a16:creationId xmlns:a16="http://schemas.microsoft.com/office/drawing/2014/main" id="{0EBA62AC-6919-07C9-325F-21773EC1BD93}"/>
              </a:ext>
            </a:extLst>
          </p:cNvPr>
          <p:cNvGrpSpPr/>
          <p:nvPr/>
        </p:nvGrpSpPr>
        <p:grpSpPr>
          <a:xfrm>
            <a:off x="9734544" y="2476334"/>
            <a:ext cx="474276" cy="938423"/>
            <a:chOff x="9734544" y="3044950"/>
            <a:chExt cx="474276" cy="938423"/>
          </a:xfrm>
        </p:grpSpPr>
        <p:sp>
          <p:nvSpPr>
            <p:cNvPr id="3333" name="Freihandform: Form 3332">
              <a:extLst>
                <a:ext uri="{FF2B5EF4-FFF2-40B4-BE49-F238E27FC236}">
                  <a16:creationId xmlns:a16="http://schemas.microsoft.com/office/drawing/2014/main" id="{8DBB1CD9-AA54-9E5F-DA87-9AA3C1412FF2}"/>
                </a:ext>
              </a:extLst>
            </p:cNvPr>
            <p:cNvSpPr/>
            <p:nvPr/>
          </p:nvSpPr>
          <p:spPr>
            <a:xfrm>
              <a:off x="9752613" y="3046168"/>
              <a:ext cx="227361" cy="917206"/>
            </a:xfrm>
            <a:custGeom>
              <a:avLst/>
              <a:gdLst>
                <a:gd name="connsiteX0" fmla="*/ 0 w 1126367"/>
                <a:gd name="connsiteY0" fmla="*/ 3897687 h 4543877"/>
                <a:gd name="connsiteX1" fmla="*/ 1126368 w 1126367"/>
                <a:gd name="connsiteY1" fmla="*/ 4543878 h 4543877"/>
                <a:gd name="connsiteX2" fmla="*/ 1126368 w 1126367"/>
                <a:gd name="connsiteY2" fmla="*/ 0 h 4543877"/>
                <a:gd name="connsiteX3" fmla="*/ 0 w 1126367"/>
                <a:gd name="connsiteY3" fmla="*/ 643141 h 4543877"/>
                <a:gd name="connsiteX4" fmla="*/ 0 w 1126367"/>
                <a:gd name="connsiteY4" fmla="*/ 3897687 h 4543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6367" h="4543877">
                  <a:moveTo>
                    <a:pt x="0" y="3897687"/>
                  </a:moveTo>
                  <a:lnTo>
                    <a:pt x="1126368" y="4543878"/>
                  </a:lnTo>
                  <a:lnTo>
                    <a:pt x="1126368" y="0"/>
                  </a:lnTo>
                  <a:lnTo>
                    <a:pt x="0" y="643141"/>
                  </a:lnTo>
                  <a:lnTo>
                    <a:pt x="0" y="3897687"/>
                  </a:lnTo>
                  <a:close/>
                </a:path>
              </a:pathLst>
            </a:custGeom>
            <a:solidFill>
              <a:srgbClr val="333353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4" name="Freihandform: Form 3333">
              <a:extLst>
                <a:ext uri="{FF2B5EF4-FFF2-40B4-BE49-F238E27FC236}">
                  <a16:creationId xmlns:a16="http://schemas.microsoft.com/office/drawing/2014/main" id="{EBBBBBF5-1309-FE9E-436E-2F5914DC2A89}"/>
                </a:ext>
              </a:extLst>
            </p:cNvPr>
            <p:cNvSpPr/>
            <p:nvPr/>
          </p:nvSpPr>
          <p:spPr>
            <a:xfrm>
              <a:off x="9979975" y="3046168"/>
              <a:ext cx="227550" cy="919317"/>
            </a:xfrm>
            <a:custGeom>
              <a:avLst/>
              <a:gdLst>
                <a:gd name="connsiteX0" fmla="*/ 1116969 w 1127301"/>
                <a:gd name="connsiteY0" fmla="*/ 3904099 h 4554335"/>
                <a:gd name="connsiteX1" fmla="*/ 0 w 1127301"/>
                <a:gd name="connsiteY1" fmla="*/ 4554336 h 4554335"/>
                <a:gd name="connsiteX2" fmla="*/ 0 w 1127301"/>
                <a:gd name="connsiteY2" fmla="*/ 0 h 4554335"/>
                <a:gd name="connsiteX3" fmla="*/ 1127302 w 1127301"/>
                <a:gd name="connsiteY3" fmla="*/ 644635 h 4554335"/>
                <a:gd name="connsiteX4" fmla="*/ 1116969 w 1127301"/>
                <a:gd name="connsiteY4" fmla="*/ 3904099 h 455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7301" h="4554335">
                  <a:moveTo>
                    <a:pt x="1116969" y="3904099"/>
                  </a:moveTo>
                  <a:lnTo>
                    <a:pt x="0" y="4554336"/>
                  </a:lnTo>
                  <a:lnTo>
                    <a:pt x="0" y="0"/>
                  </a:lnTo>
                  <a:lnTo>
                    <a:pt x="1127302" y="644635"/>
                  </a:lnTo>
                  <a:lnTo>
                    <a:pt x="1116969" y="3904099"/>
                  </a:lnTo>
                  <a:close/>
                </a:path>
              </a:pathLst>
            </a:custGeom>
            <a:solidFill>
              <a:srgbClr val="333353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5" name="Freihandform: Form 3334">
              <a:extLst>
                <a:ext uri="{FF2B5EF4-FFF2-40B4-BE49-F238E27FC236}">
                  <a16:creationId xmlns:a16="http://schemas.microsoft.com/office/drawing/2014/main" id="{40061E77-2F5D-9CD5-2924-BA890A590D01}"/>
                </a:ext>
              </a:extLst>
            </p:cNvPr>
            <p:cNvSpPr/>
            <p:nvPr/>
          </p:nvSpPr>
          <p:spPr>
            <a:xfrm>
              <a:off x="9752613" y="3654829"/>
              <a:ext cx="454913" cy="261942"/>
            </a:xfrm>
            <a:custGeom>
              <a:avLst/>
              <a:gdLst>
                <a:gd name="connsiteX0" fmla="*/ 1126804 w 2253669"/>
                <a:gd name="connsiteY0" fmla="*/ 0 h 1297672"/>
                <a:gd name="connsiteX1" fmla="*/ 2253670 w 2253669"/>
                <a:gd name="connsiteY1" fmla="*/ 647062 h 1297672"/>
                <a:gd name="connsiteX2" fmla="*/ 1126804 w 2253669"/>
                <a:gd name="connsiteY2" fmla="*/ 1297673 h 1297672"/>
                <a:gd name="connsiteX3" fmla="*/ 0 w 2253669"/>
                <a:gd name="connsiteY3" fmla="*/ 647000 h 1297672"/>
                <a:gd name="connsiteX4" fmla="*/ 1126804 w 2253669"/>
                <a:gd name="connsiteY4" fmla="*/ 0 h 1297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69" h="1297672">
                  <a:moveTo>
                    <a:pt x="1126804" y="0"/>
                  </a:moveTo>
                  <a:lnTo>
                    <a:pt x="2253670" y="647062"/>
                  </a:lnTo>
                  <a:lnTo>
                    <a:pt x="1126804" y="1297673"/>
                  </a:lnTo>
                  <a:lnTo>
                    <a:pt x="0" y="64700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6" name="Freihandform: Form 3335">
              <a:extLst>
                <a:ext uri="{FF2B5EF4-FFF2-40B4-BE49-F238E27FC236}">
                  <a16:creationId xmlns:a16="http://schemas.microsoft.com/office/drawing/2014/main" id="{E9E9209E-D460-0200-3CFD-32BC34A97435}"/>
                </a:ext>
              </a:extLst>
            </p:cNvPr>
            <p:cNvSpPr/>
            <p:nvPr/>
          </p:nvSpPr>
          <p:spPr>
            <a:xfrm>
              <a:off x="9752613" y="3538892"/>
              <a:ext cx="454900" cy="261929"/>
            </a:xfrm>
            <a:custGeom>
              <a:avLst/>
              <a:gdLst>
                <a:gd name="connsiteX0" fmla="*/ 1126804 w 2253607"/>
                <a:gd name="connsiteY0" fmla="*/ 0 h 1297610"/>
                <a:gd name="connsiteX1" fmla="*/ 2253608 w 2253607"/>
                <a:gd name="connsiteY1" fmla="*/ 647000 h 1297610"/>
                <a:gd name="connsiteX2" fmla="*/ 1126804 w 2253607"/>
                <a:gd name="connsiteY2" fmla="*/ 1297610 h 1297610"/>
                <a:gd name="connsiteX3" fmla="*/ 0 w 2253607"/>
                <a:gd name="connsiteY3" fmla="*/ 647000 h 1297610"/>
                <a:gd name="connsiteX4" fmla="*/ 1126804 w 2253607"/>
                <a:gd name="connsiteY4" fmla="*/ 0 h 1297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297610">
                  <a:moveTo>
                    <a:pt x="1126804" y="0"/>
                  </a:moveTo>
                  <a:lnTo>
                    <a:pt x="2253608" y="647000"/>
                  </a:lnTo>
                  <a:lnTo>
                    <a:pt x="1126804" y="1297610"/>
                  </a:lnTo>
                  <a:lnTo>
                    <a:pt x="0" y="64700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7" name="Freihandform: Form 3336">
              <a:extLst>
                <a:ext uri="{FF2B5EF4-FFF2-40B4-BE49-F238E27FC236}">
                  <a16:creationId xmlns:a16="http://schemas.microsoft.com/office/drawing/2014/main" id="{176A70B3-960D-1251-72BE-AFC9C37422F3}"/>
                </a:ext>
              </a:extLst>
            </p:cNvPr>
            <p:cNvSpPr/>
            <p:nvPr/>
          </p:nvSpPr>
          <p:spPr>
            <a:xfrm>
              <a:off x="9752613" y="3424111"/>
              <a:ext cx="454913" cy="261929"/>
            </a:xfrm>
            <a:custGeom>
              <a:avLst/>
              <a:gdLst>
                <a:gd name="connsiteX0" fmla="*/ 1126804 w 2253669"/>
                <a:gd name="connsiteY0" fmla="*/ 0 h 1297610"/>
                <a:gd name="connsiteX1" fmla="*/ 2253670 w 2253669"/>
                <a:gd name="connsiteY1" fmla="*/ 647000 h 1297610"/>
                <a:gd name="connsiteX2" fmla="*/ 1126804 w 2253669"/>
                <a:gd name="connsiteY2" fmla="*/ 1297611 h 1297610"/>
                <a:gd name="connsiteX3" fmla="*/ 0 w 2253669"/>
                <a:gd name="connsiteY3" fmla="*/ 647000 h 1297610"/>
                <a:gd name="connsiteX4" fmla="*/ 1126804 w 2253669"/>
                <a:gd name="connsiteY4" fmla="*/ 0 h 1297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69" h="1297610">
                  <a:moveTo>
                    <a:pt x="1126804" y="0"/>
                  </a:moveTo>
                  <a:lnTo>
                    <a:pt x="2253670" y="647000"/>
                  </a:lnTo>
                  <a:lnTo>
                    <a:pt x="1126804" y="1297611"/>
                  </a:lnTo>
                  <a:lnTo>
                    <a:pt x="0" y="64700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8" name="Freihandform: Form 3337">
              <a:extLst>
                <a:ext uri="{FF2B5EF4-FFF2-40B4-BE49-F238E27FC236}">
                  <a16:creationId xmlns:a16="http://schemas.microsoft.com/office/drawing/2014/main" id="{1D3F49CF-8F49-51D5-BDBD-4D4D2C1863BD}"/>
                </a:ext>
              </a:extLst>
            </p:cNvPr>
            <p:cNvSpPr/>
            <p:nvPr/>
          </p:nvSpPr>
          <p:spPr>
            <a:xfrm>
              <a:off x="9752613" y="3324885"/>
              <a:ext cx="454900" cy="262658"/>
            </a:xfrm>
            <a:custGeom>
              <a:avLst/>
              <a:gdLst>
                <a:gd name="connsiteX0" fmla="*/ 1126804 w 2253607"/>
                <a:gd name="connsiteY0" fmla="*/ 0 h 1301220"/>
                <a:gd name="connsiteX1" fmla="*/ 2253608 w 2253607"/>
                <a:gd name="connsiteY1" fmla="*/ 650610 h 1301220"/>
                <a:gd name="connsiteX2" fmla="*/ 1126804 w 2253607"/>
                <a:gd name="connsiteY2" fmla="*/ 1301221 h 1301220"/>
                <a:gd name="connsiteX3" fmla="*/ 0 w 2253607"/>
                <a:gd name="connsiteY3" fmla="*/ 650610 h 1301220"/>
                <a:gd name="connsiteX4" fmla="*/ 1126804 w 2253607"/>
                <a:gd name="connsiteY4" fmla="*/ 0 h 130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1220">
                  <a:moveTo>
                    <a:pt x="1126804" y="0"/>
                  </a:moveTo>
                  <a:lnTo>
                    <a:pt x="2253608" y="650610"/>
                  </a:lnTo>
                  <a:lnTo>
                    <a:pt x="1126804" y="1301221"/>
                  </a:lnTo>
                  <a:lnTo>
                    <a:pt x="0" y="65061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9" name="Freihandform: Form 3338">
              <a:extLst>
                <a:ext uri="{FF2B5EF4-FFF2-40B4-BE49-F238E27FC236}">
                  <a16:creationId xmlns:a16="http://schemas.microsoft.com/office/drawing/2014/main" id="{29315D3E-0829-01B8-970C-2B8FB5BBFB46}"/>
                </a:ext>
              </a:extLst>
            </p:cNvPr>
            <p:cNvSpPr/>
            <p:nvPr/>
          </p:nvSpPr>
          <p:spPr>
            <a:xfrm>
              <a:off x="9752613" y="3209979"/>
              <a:ext cx="454900" cy="262658"/>
            </a:xfrm>
            <a:custGeom>
              <a:avLst/>
              <a:gdLst>
                <a:gd name="connsiteX0" fmla="*/ 1126804 w 2253607"/>
                <a:gd name="connsiteY0" fmla="*/ 0 h 1301220"/>
                <a:gd name="connsiteX1" fmla="*/ 2253608 w 2253607"/>
                <a:gd name="connsiteY1" fmla="*/ 650611 h 1301220"/>
                <a:gd name="connsiteX2" fmla="*/ 1126866 w 2253607"/>
                <a:gd name="connsiteY2" fmla="*/ 1301221 h 1301220"/>
                <a:gd name="connsiteX3" fmla="*/ 0 w 2253607"/>
                <a:gd name="connsiteY3" fmla="*/ 650611 h 1301220"/>
                <a:gd name="connsiteX4" fmla="*/ 1126804 w 2253607"/>
                <a:gd name="connsiteY4" fmla="*/ 0 h 130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1220">
                  <a:moveTo>
                    <a:pt x="1126804" y="0"/>
                  </a:moveTo>
                  <a:lnTo>
                    <a:pt x="2253608" y="650611"/>
                  </a:lnTo>
                  <a:lnTo>
                    <a:pt x="1126866" y="1301221"/>
                  </a:lnTo>
                  <a:lnTo>
                    <a:pt x="0" y="650611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0" name="Freihandform: Form 3339">
              <a:extLst>
                <a:ext uri="{FF2B5EF4-FFF2-40B4-BE49-F238E27FC236}">
                  <a16:creationId xmlns:a16="http://schemas.microsoft.com/office/drawing/2014/main" id="{70230C9D-BD13-B60A-898B-6577ACBB38FE}"/>
                </a:ext>
              </a:extLst>
            </p:cNvPr>
            <p:cNvSpPr/>
            <p:nvPr/>
          </p:nvSpPr>
          <p:spPr>
            <a:xfrm>
              <a:off x="9980064" y="3225659"/>
              <a:ext cx="227463" cy="739461"/>
            </a:xfrm>
            <a:custGeom>
              <a:avLst/>
              <a:gdLst>
                <a:gd name="connsiteX0" fmla="*/ 1126866 w 1126866"/>
                <a:gd name="connsiteY0" fmla="*/ 0 h 3663325"/>
                <a:gd name="connsiteX1" fmla="*/ 1126866 w 1126866"/>
                <a:gd name="connsiteY1" fmla="*/ 241769 h 3663325"/>
                <a:gd name="connsiteX2" fmla="*/ 62 w 1126866"/>
                <a:gd name="connsiteY2" fmla="*/ 892380 h 3663325"/>
                <a:gd name="connsiteX3" fmla="*/ 62 w 1126866"/>
                <a:gd name="connsiteY3" fmla="*/ 650610 h 3663325"/>
                <a:gd name="connsiteX4" fmla="*/ 1126866 w 1126866"/>
                <a:gd name="connsiteY4" fmla="*/ 0 h 3663325"/>
                <a:gd name="connsiteX5" fmla="*/ 0 w 1126866"/>
                <a:gd name="connsiteY5" fmla="*/ 1463873 h 3663325"/>
                <a:gd name="connsiteX6" fmla="*/ 1126804 w 1126866"/>
                <a:gd name="connsiteY6" fmla="*/ 813263 h 3663325"/>
                <a:gd name="connsiteX7" fmla="*/ 1126804 w 1126866"/>
                <a:gd name="connsiteY7" fmla="*/ 569253 h 3663325"/>
                <a:gd name="connsiteX8" fmla="*/ 0 w 1126866"/>
                <a:gd name="connsiteY8" fmla="*/ 1219864 h 3663325"/>
                <a:gd name="connsiteX9" fmla="*/ 0 w 1126866"/>
                <a:gd name="connsiteY9" fmla="*/ 1463811 h 3663325"/>
                <a:gd name="connsiteX10" fmla="*/ 0 w 1126866"/>
                <a:gd name="connsiteY10" fmla="*/ 2033189 h 3663325"/>
                <a:gd name="connsiteX11" fmla="*/ 1126804 w 1126866"/>
                <a:gd name="connsiteY11" fmla="*/ 1382578 h 3663325"/>
                <a:gd name="connsiteX12" fmla="*/ 1126804 w 1126866"/>
                <a:gd name="connsiteY12" fmla="*/ 1138568 h 3663325"/>
                <a:gd name="connsiteX13" fmla="*/ 0 w 1126866"/>
                <a:gd name="connsiteY13" fmla="*/ 1789179 h 3663325"/>
                <a:gd name="connsiteX14" fmla="*/ 0 w 1126866"/>
                <a:gd name="connsiteY14" fmla="*/ 2033126 h 3663325"/>
                <a:gd name="connsiteX15" fmla="*/ 0 w 1126866"/>
                <a:gd name="connsiteY15" fmla="*/ 2524757 h 3663325"/>
                <a:gd name="connsiteX16" fmla="*/ 1126804 w 1126866"/>
                <a:gd name="connsiteY16" fmla="*/ 1874147 h 3663325"/>
                <a:gd name="connsiteX17" fmla="*/ 1126804 w 1126866"/>
                <a:gd name="connsiteY17" fmla="*/ 1630137 h 3663325"/>
                <a:gd name="connsiteX18" fmla="*/ 0 w 1126866"/>
                <a:gd name="connsiteY18" fmla="*/ 2280747 h 3663325"/>
                <a:gd name="connsiteX19" fmla="*/ 0 w 1126866"/>
                <a:gd name="connsiteY19" fmla="*/ 2524757 h 3663325"/>
                <a:gd name="connsiteX20" fmla="*/ 0 w 1126866"/>
                <a:gd name="connsiteY20" fmla="*/ 3094072 h 3663325"/>
                <a:gd name="connsiteX21" fmla="*/ 1126306 w 1126866"/>
                <a:gd name="connsiteY21" fmla="*/ 2443337 h 3663325"/>
                <a:gd name="connsiteX22" fmla="*/ 1126804 w 1126866"/>
                <a:gd name="connsiteY22" fmla="*/ 2199514 h 3663325"/>
                <a:gd name="connsiteX23" fmla="*/ 0 w 1126866"/>
                <a:gd name="connsiteY23" fmla="*/ 2850124 h 3663325"/>
                <a:gd name="connsiteX24" fmla="*/ 0 w 1126866"/>
                <a:gd name="connsiteY24" fmla="*/ 3094134 h 3663325"/>
                <a:gd name="connsiteX25" fmla="*/ 0 w 1126866"/>
                <a:gd name="connsiteY25" fmla="*/ 3663325 h 3663325"/>
                <a:gd name="connsiteX26" fmla="*/ 1126804 w 1126866"/>
                <a:gd name="connsiteY26" fmla="*/ 3012715 h 3663325"/>
                <a:gd name="connsiteX27" fmla="*/ 1126804 w 1126866"/>
                <a:gd name="connsiteY27" fmla="*/ 2768705 h 3663325"/>
                <a:gd name="connsiteX28" fmla="*/ 0 w 1126866"/>
                <a:gd name="connsiteY28" fmla="*/ 3419315 h 3663325"/>
                <a:gd name="connsiteX29" fmla="*/ 0 w 1126866"/>
                <a:gd name="connsiteY29" fmla="*/ 3663325 h 366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26866" h="3663325">
                  <a:moveTo>
                    <a:pt x="1126866" y="0"/>
                  </a:moveTo>
                  <a:lnTo>
                    <a:pt x="1126866" y="241769"/>
                  </a:lnTo>
                  <a:cubicBezTo>
                    <a:pt x="1126866" y="241769"/>
                    <a:pt x="62" y="892380"/>
                    <a:pt x="62" y="892380"/>
                  </a:cubicBezTo>
                  <a:lnTo>
                    <a:pt x="62" y="650610"/>
                  </a:lnTo>
                  <a:cubicBezTo>
                    <a:pt x="62" y="650610"/>
                    <a:pt x="1126866" y="0"/>
                    <a:pt x="1126866" y="0"/>
                  </a:cubicBezTo>
                  <a:close/>
                  <a:moveTo>
                    <a:pt x="0" y="1463873"/>
                  </a:moveTo>
                  <a:lnTo>
                    <a:pt x="1126804" y="813263"/>
                  </a:lnTo>
                  <a:lnTo>
                    <a:pt x="1126804" y="569253"/>
                  </a:lnTo>
                  <a:lnTo>
                    <a:pt x="0" y="1219864"/>
                  </a:lnTo>
                  <a:lnTo>
                    <a:pt x="0" y="1463811"/>
                  </a:lnTo>
                  <a:close/>
                  <a:moveTo>
                    <a:pt x="0" y="2033189"/>
                  </a:moveTo>
                  <a:lnTo>
                    <a:pt x="1126804" y="1382578"/>
                  </a:lnTo>
                  <a:lnTo>
                    <a:pt x="1126804" y="1138568"/>
                  </a:lnTo>
                  <a:cubicBezTo>
                    <a:pt x="1126804" y="1138568"/>
                    <a:pt x="0" y="1789179"/>
                    <a:pt x="0" y="1789179"/>
                  </a:cubicBezTo>
                  <a:lnTo>
                    <a:pt x="0" y="2033126"/>
                  </a:lnTo>
                  <a:close/>
                  <a:moveTo>
                    <a:pt x="0" y="2524757"/>
                  </a:moveTo>
                  <a:lnTo>
                    <a:pt x="1126804" y="1874147"/>
                  </a:lnTo>
                  <a:lnTo>
                    <a:pt x="1126804" y="1630137"/>
                  </a:lnTo>
                  <a:lnTo>
                    <a:pt x="0" y="2280747"/>
                  </a:lnTo>
                  <a:lnTo>
                    <a:pt x="0" y="2524757"/>
                  </a:lnTo>
                  <a:close/>
                  <a:moveTo>
                    <a:pt x="0" y="3094072"/>
                  </a:moveTo>
                  <a:lnTo>
                    <a:pt x="1126306" y="2443337"/>
                  </a:lnTo>
                  <a:lnTo>
                    <a:pt x="1126804" y="2199514"/>
                  </a:lnTo>
                  <a:lnTo>
                    <a:pt x="0" y="2850124"/>
                  </a:lnTo>
                  <a:lnTo>
                    <a:pt x="0" y="3094134"/>
                  </a:lnTo>
                  <a:close/>
                  <a:moveTo>
                    <a:pt x="0" y="3663325"/>
                  </a:moveTo>
                  <a:lnTo>
                    <a:pt x="1126804" y="3012715"/>
                  </a:lnTo>
                  <a:lnTo>
                    <a:pt x="1126804" y="2768705"/>
                  </a:lnTo>
                  <a:lnTo>
                    <a:pt x="0" y="3419315"/>
                  </a:lnTo>
                  <a:lnTo>
                    <a:pt x="0" y="3663325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1" name="Freihandform: Form 3340">
              <a:extLst>
                <a:ext uri="{FF2B5EF4-FFF2-40B4-BE49-F238E27FC236}">
                  <a16:creationId xmlns:a16="http://schemas.microsoft.com/office/drawing/2014/main" id="{36921E2F-6219-F02F-44EC-7A27BB0A4E17}"/>
                </a:ext>
              </a:extLst>
            </p:cNvPr>
            <p:cNvSpPr/>
            <p:nvPr/>
          </p:nvSpPr>
          <p:spPr>
            <a:xfrm>
              <a:off x="9752564" y="3226401"/>
              <a:ext cx="227500" cy="738708"/>
            </a:xfrm>
            <a:custGeom>
              <a:avLst/>
              <a:gdLst>
                <a:gd name="connsiteX0" fmla="*/ 1127053 w 1127052"/>
                <a:gd name="connsiteY0" fmla="*/ 650548 h 3659590"/>
                <a:gd name="connsiteX1" fmla="*/ 1127053 w 1127052"/>
                <a:gd name="connsiteY1" fmla="*/ 894558 h 3659590"/>
                <a:gd name="connsiteX2" fmla="*/ 249 w 1127052"/>
                <a:gd name="connsiteY2" fmla="*/ 243948 h 3659590"/>
                <a:gd name="connsiteX3" fmla="*/ 249 w 1127052"/>
                <a:gd name="connsiteY3" fmla="*/ 0 h 3659590"/>
                <a:gd name="connsiteX4" fmla="*/ 1127053 w 1127052"/>
                <a:gd name="connsiteY4" fmla="*/ 650610 h 3659590"/>
                <a:gd name="connsiteX5" fmla="*/ 1127053 w 1127052"/>
                <a:gd name="connsiteY5" fmla="*/ 1219864 h 3659590"/>
                <a:gd name="connsiteX6" fmla="*/ 249 w 1127052"/>
                <a:gd name="connsiteY6" fmla="*/ 569253 h 3659590"/>
                <a:gd name="connsiteX7" fmla="*/ 249 w 1127052"/>
                <a:gd name="connsiteY7" fmla="*/ 813263 h 3659590"/>
                <a:gd name="connsiteX8" fmla="*/ 1127053 w 1127052"/>
                <a:gd name="connsiteY8" fmla="*/ 1463873 h 3659590"/>
                <a:gd name="connsiteX9" fmla="*/ 1127053 w 1127052"/>
                <a:gd name="connsiteY9" fmla="*/ 1219926 h 3659590"/>
                <a:gd name="connsiteX10" fmla="*/ 1127053 w 1127052"/>
                <a:gd name="connsiteY10" fmla="*/ 1789116 h 3659590"/>
                <a:gd name="connsiteX11" fmla="*/ 373 w 1127052"/>
                <a:gd name="connsiteY11" fmla="*/ 1138630 h 3659590"/>
                <a:gd name="connsiteX12" fmla="*/ 249 w 1127052"/>
                <a:gd name="connsiteY12" fmla="*/ 1380088 h 3659590"/>
                <a:gd name="connsiteX13" fmla="*/ 1127053 w 1127052"/>
                <a:gd name="connsiteY13" fmla="*/ 2033127 h 3659590"/>
                <a:gd name="connsiteX14" fmla="*/ 1127053 w 1127052"/>
                <a:gd name="connsiteY14" fmla="*/ 1789179 h 3659590"/>
                <a:gd name="connsiteX15" fmla="*/ 1127053 w 1127052"/>
                <a:gd name="connsiteY15" fmla="*/ 2277074 h 3659590"/>
                <a:gd name="connsiteX16" fmla="*/ 249 w 1127052"/>
                <a:gd name="connsiteY16" fmla="*/ 1626464 h 3659590"/>
                <a:gd name="connsiteX17" fmla="*/ 124 w 1127052"/>
                <a:gd name="connsiteY17" fmla="*/ 1870536 h 3659590"/>
                <a:gd name="connsiteX18" fmla="*/ 1127053 w 1127052"/>
                <a:gd name="connsiteY18" fmla="*/ 2521085 h 3659590"/>
                <a:gd name="connsiteX19" fmla="*/ 1127053 w 1127052"/>
                <a:gd name="connsiteY19" fmla="*/ 2277074 h 3659590"/>
                <a:gd name="connsiteX20" fmla="*/ 1126617 w 1127052"/>
                <a:gd name="connsiteY20" fmla="*/ 2846390 h 3659590"/>
                <a:gd name="connsiteX21" fmla="*/ 0 w 1127052"/>
                <a:gd name="connsiteY21" fmla="*/ 2198269 h 3659590"/>
                <a:gd name="connsiteX22" fmla="*/ 249 w 1127052"/>
                <a:gd name="connsiteY22" fmla="*/ 2439478 h 3659590"/>
                <a:gd name="connsiteX23" fmla="*/ 1126617 w 1127052"/>
                <a:gd name="connsiteY23" fmla="*/ 3090400 h 3659590"/>
                <a:gd name="connsiteX24" fmla="*/ 1126617 w 1127052"/>
                <a:gd name="connsiteY24" fmla="*/ 2846390 h 3659590"/>
                <a:gd name="connsiteX25" fmla="*/ 1127053 w 1127052"/>
                <a:gd name="connsiteY25" fmla="*/ 3415643 h 3659590"/>
                <a:gd name="connsiteX26" fmla="*/ 249 w 1127052"/>
                <a:gd name="connsiteY26" fmla="*/ 2765032 h 3659590"/>
                <a:gd name="connsiteX27" fmla="*/ 249 w 1127052"/>
                <a:gd name="connsiteY27" fmla="*/ 3008980 h 3659590"/>
                <a:gd name="connsiteX28" fmla="*/ 1127053 w 1127052"/>
                <a:gd name="connsiteY28" fmla="*/ 3659590 h 3659590"/>
                <a:gd name="connsiteX29" fmla="*/ 1127053 w 1127052"/>
                <a:gd name="connsiteY29" fmla="*/ 3415581 h 3659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27052" h="3659590">
                  <a:moveTo>
                    <a:pt x="1127053" y="650548"/>
                  </a:moveTo>
                  <a:lnTo>
                    <a:pt x="1127053" y="894558"/>
                  </a:lnTo>
                  <a:cubicBezTo>
                    <a:pt x="1127053" y="894558"/>
                    <a:pt x="249" y="243948"/>
                    <a:pt x="249" y="243948"/>
                  </a:cubicBezTo>
                  <a:lnTo>
                    <a:pt x="249" y="0"/>
                  </a:lnTo>
                  <a:cubicBezTo>
                    <a:pt x="249" y="0"/>
                    <a:pt x="1127053" y="650610"/>
                    <a:pt x="1127053" y="650610"/>
                  </a:cubicBezTo>
                  <a:close/>
                  <a:moveTo>
                    <a:pt x="1127053" y="1219864"/>
                  </a:moveTo>
                  <a:lnTo>
                    <a:pt x="249" y="569253"/>
                  </a:lnTo>
                  <a:lnTo>
                    <a:pt x="249" y="813263"/>
                  </a:lnTo>
                  <a:lnTo>
                    <a:pt x="1127053" y="1463873"/>
                  </a:lnTo>
                  <a:lnTo>
                    <a:pt x="1127053" y="1219926"/>
                  </a:lnTo>
                  <a:close/>
                  <a:moveTo>
                    <a:pt x="1127053" y="1789116"/>
                  </a:moveTo>
                  <a:lnTo>
                    <a:pt x="373" y="1138630"/>
                  </a:lnTo>
                  <a:lnTo>
                    <a:pt x="249" y="1380088"/>
                  </a:lnTo>
                  <a:lnTo>
                    <a:pt x="1127053" y="2033127"/>
                  </a:lnTo>
                  <a:lnTo>
                    <a:pt x="1127053" y="1789179"/>
                  </a:lnTo>
                  <a:close/>
                  <a:moveTo>
                    <a:pt x="1127053" y="2277074"/>
                  </a:moveTo>
                  <a:lnTo>
                    <a:pt x="249" y="1626464"/>
                  </a:lnTo>
                  <a:lnTo>
                    <a:pt x="124" y="1870536"/>
                  </a:lnTo>
                  <a:lnTo>
                    <a:pt x="1127053" y="2521085"/>
                  </a:lnTo>
                  <a:lnTo>
                    <a:pt x="1127053" y="2277074"/>
                  </a:lnTo>
                  <a:close/>
                  <a:moveTo>
                    <a:pt x="1126617" y="2846390"/>
                  </a:moveTo>
                  <a:lnTo>
                    <a:pt x="0" y="2198269"/>
                  </a:lnTo>
                  <a:lnTo>
                    <a:pt x="249" y="2439478"/>
                  </a:lnTo>
                  <a:lnTo>
                    <a:pt x="1126617" y="3090400"/>
                  </a:lnTo>
                  <a:lnTo>
                    <a:pt x="1126617" y="2846390"/>
                  </a:lnTo>
                  <a:close/>
                  <a:moveTo>
                    <a:pt x="1127053" y="3415643"/>
                  </a:moveTo>
                  <a:lnTo>
                    <a:pt x="249" y="2765032"/>
                  </a:lnTo>
                  <a:lnTo>
                    <a:pt x="249" y="3008980"/>
                  </a:lnTo>
                  <a:lnTo>
                    <a:pt x="1127053" y="3659590"/>
                  </a:lnTo>
                  <a:lnTo>
                    <a:pt x="1127053" y="3415581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2" name="Freihandform: Form 3341">
              <a:extLst>
                <a:ext uri="{FF2B5EF4-FFF2-40B4-BE49-F238E27FC236}">
                  <a16:creationId xmlns:a16="http://schemas.microsoft.com/office/drawing/2014/main" id="{15B93B4C-12B9-9C16-BABC-29B7676A7D0F}"/>
                </a:ext>
              </a:extLst>
            </p:cNvPr>
            <p:cNvSpPr/>
            <p:nvPr/>
          </p:nvSpPr>
          <p:spPr>
            <a:xfrm>
              <a:off x="9752613" y="3095059"/>
              <a:ext cx="454900" cy="262658"/>
            </a:xfrm>
            <a:custGeom>
              <a:avLst/>
              <a:gdLst>
                <a:gd name="connsiteX0" fmla="*/ 1126804 w 2253607"/>
                <a:gd name="connsiteY0" fmla="*/ 0 h 1301220"/>
                <a:gd name="connsiteX1" fmla="*/ 2253608 w 2253607"/>
                <a:gd name="connsiteY1" fmla="*/ 650610 h 1301220"/>
                <a:gd name="connsiteX2" fmla="*/ 1126804 w 2253607"/>
                <a:gd name="connsiteY2" fmla="*/ 1301221 h 1301220"/>
                <a:gd name="connsiteX3" fmla="*/ 0 w 2253607"/>
                <a:gd name="connsiteY3" fmla="*/ 650610 h 1301220"/>
                <a:gd name="connsiteX4" fmla="*/ 1126804 w 2253607"/>
                <a:gd name="connsiteY4" fmla="*/ 0 h 130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1220">
                  <a:moveTo>
                    <a:pt x="1126804" y="0"/>
                  </a:moveTo>
                  <a:lnTo>
                    <a:pt x="2253608" y="650610"/>
                  </a:lnTo>
                  <a:lnTo>
                    <a:pt x="1126804" y="1301221"/>
                  </a:lnTo>
                  <a:lnTo>
                    <a:pt x="0" y="65061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3" name="Freihandform: Form 3342">
              <a:extLst>
                <a:ext uri="{FF2B5EF4-FFF2-40B4-BE49-F238E27FC236}">
                  <a16:creationId xmlns:a16="http://schemas.microsoft.com/office/drawing/2014/main" id="{080B0CDF-3E56-54ED-E11C-76E5C6C33DDB}"/>
                </a:ext>
              </a:extLst>
            </p:cNvPr>
            <p:cNvSpPr/>
            <p:nvPr/>
          </p:nvSpPr>
          <p:spPr>
            <a:xfrm>
              <a:off x="9751998" y="3044950"/>
              <a:ext cx="454900" cy="263137"/>
            </a:xfrm>
            <a:custGeom>
              <a:avLst/>
              <a:gdLst>
                <a:gd name="connsiteX0" fmla="*/ 1126368 w 2253607"/>
                <a:gd name="connsiteY0" fmla="*/ 0 h 1303586"/>
                <a:gd name="connsiteX1" fmla="*/ 2253608 w 2253607"/>
                <a:gd name="connsiteY1" fmla="*/ 642394 h 1303586"/>
                <a:gd name="connsiteX2" fmla="*/ 1111117 w 2253607"/>
                <a:gd name="connsiteY2" fmla="*/ 1303586 h 1303586"/>
                <a:gd name="connsiteX3" fmla="*/ 0 w 2253607"/>
                <a:gd name="connsiteY3" fmla="*/ 643079 h 1303586"/>
                <a:gd name="connsiteX4" fmla="*/ 1126368 w 2253607"/>
                <a:gd name="connsiteY4" fmla="*/ 0 h 130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3586">
                  <a:moveTo>
                    <a:pt x="1126368" y="0"/>
                  </a:moveTo>
                  <a:lnTo>
                    <a:pt x="2253608" y="642394"/>
                  </a:lnTo>
                  <a:lnTo>
                    <a:pt x="1111117" y="1303586"/>
                  </a:lnTo>
                  <a:lnTo>
                    <a:pt x="0" y="643079"/>
                  </a:lnTo>
                  <a:lnTo>
                    <a:pt x="1126368" y="0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4" name="Freihandform: Form 3343">
              <a:extLst>
                <a:ext uri="{FF2B5EF4-FFF2-40B4-BE49-F238E27FC236}">
                  <a16:creationId xmlns:a16="http://schemas.microsoft.com/office/drawing/2014/main" id="{A5B52070-9A1A-D0B4-85FF-447D81414527}"/>
                </a:ext>
              </a:extLst>
            </p:cNvPr>
            <p:cNvSpPr/>
            <p:nvPr/>
          </p:nvSpPr>
          <p:spPr>
            <a:xfrm>
              <a:off x="9754121" y="3044950"/>
              <a:ext cx="454699" cy="263550"/>
            </a:xfrm>
            <a:custGeom>
              <a:avLst/>
              <a:gdLst>
                <a:gd name="connsiteX0" fmla="*/ 1116035 w 2252611"/>
                <a:gd name="connsiteY0" fmla="*/ 0 h 1305640"/>
                <a:gd name="connsiteX1" fmla="*/ 2252612 w 2252611"/>
                <a:gd name="connsiteY1" fmla="*/ 644448 h 1305640"/>
                <a:gd name="connsiteX2" fmla="*/ 1116035 w 2252611"/>
                <a:gd name="connsiteY2" fmla="*/ 1305641 h 1305640"/>
                <a:gd name="connsiteX3" fmla="*/ 0 w 2252611"/>
                <a:gd name="connsiteY3" fmla="*/ 645133 h 1305640"/>
                <a:gd name="connsiteX4" fmla="*/ 1116035 w 2252611"/>
                <a:gd name="connsiteY4" fmla="*/ 0 h 130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2611" h="1305640">
                  <a:moveTo>
                    <a:pt x="1116035" y="0"/>
                  </a:moveTo>
                  <a:lnTo>
                    <a:pt x="2252612" y="644448"/>
                  </a:lnTo>
                  <a:lnTo>
                    <a:pt x="1116035" y="1305641"/>
                  </a:lnTo>
                  <a:lnTo>
                    <a:pt x="0" y="645133"/>
                  </a:lnTo>
                  <a:lnTo>
                    <a:pt x="1116035" y="0"/>
                  </a:lnTo>
                  <a:close/>
                </a:path>
              </a:pathLst>
            </a:custGeom>
            <a:gradFill>
              <a:gsLst>
                <a:gs pos="1000">
                  <a:srgbClr val="00C1B6">
                    <a:alpha val="0"/>
                  </a:srgbClr>
                </a:gs>
                <a:gs pos="12000">
                  <a:srgbClr val="00C1B6">
                    <a:alpha val="10980"/>
                  </a:srgbClr>
                </a:gs>
                <a:gs pos="100000">
                  <a:srgbClr val="00C1B6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5" name="Freihandform: Form 3344">
              <a:extLst>
                <a:ext uri="{FF2B5EF4-FFF2-40B4-BE49-F238E27FC236}">
                  <a16:creationId xmlns:a16="http://schemas.microsoft.com/office/drawing/2014/main" id="{2EC4C9CE-C16D-844B-692F-BD7483408893}"/>
                </a:ext>
              </a:extLst>
            </p:cNvPr>
            <p:cNvSpPr/>
            <p:nvPr/>
          </p:nvSpPr>
          <p:spPr>
            <a:xfrm>
              <a:off x="9809181" y="3078562"/>
              <a:ext cx="341364" cy="195913"/>
            </a:xfrm>
            <a:custGeom>
              <a:avLst/>
              <a:gdLst>
                <a:gd name="connsiteX0" fmla="*/ 0 w 1691139"/>
                <a:gd name="connsiteY0" fmla="*/ 485281 h 970562"/>
                <a:gd name="connsiteX1" fmla="*/ 846192 w 1691139"/>
                <a:gd name="connsiteY1" fmla="*/ 0 h 970562"/>
                <a:gd name="connsiteX2" fmla="*/ 1691140 w 1691139"/>
                <a:gd name="connsiteY2" fmla="*/ 483476 h 970562"/>
                <a:gd name="connsiteX3" fmla="*/ 846192 w 1691139"/>
                <a:gd name="connsiteY3" fmla="*/ 970562 h 970562"/>
                <a:gd name="connsiteX4" fmla="*/ 0 w 1691139"/>
                <a:gd name="connsiteY4" fmla="*/ 485281 h 970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1139" h="970562">
                  <a:moveTo>
                    <a:pt x="0" y="485281"/>
                  </a:moveTo>
                  <a:lnTo>
                    <a:pt x="846192" y="0"/>
                  </a:lnTo>
                  <a:lnTo>
                    <a:pt x="1691140" y="483476"/>
                  </a:lnTo>
                  <a:lnTo>
                    <a:pt x="846192" y="970562"/>
                  </a:lnTo>
                  <a:lnTo>
                    <a:pt x="0" y="485281"/>
                  </a:lnTo>
                  <a:close/>
                </a:path>
              </a:pathLst>
            </a:custGeom>
            <a:gradFill>
              <a:gsLst>
                <a:gs pos="12000">
                  <a:srgbClr val="805CFF"/>
                </a:gs>
                <a:gs pos="19000">
                  <a:srgbClr val="694BD8">
                    <a:alpha val="81961"/>
                  </a:srgbClr>
                </a:gs>
                <a:gs pos="27000">
                  <a:srgbClr val="5039AF">
                    <a:alpha val="62745"/>
                  </a:srgbClr>
                </a:gs>
                <a:gs pos="35000">
                  <a:srgbClr val="3A2A8B">
                    <a:alpha val="45882"/>
                  </a:srgbClr>
                </a:gs>
                <a:gs pos="44000">
                  <a:srgbClr val="281D6C">
                    <a:alpha val="31765"/>
                  </a:srgbClr>
                </a:gs>
                <a:gs pos="53000">
                  <a:srgbClr val="191253">
                    <a:alpha val="20000"/>
                  </a:srgbClr>
                </a:gs>
                <a:gs pos="63000">
                  <a:srgbClr val="0E0A40">
                    <a:alpha val="10980"/>
                  </a:srgbClr>
                </a:gs>
                <a:gs pos="73000">
                  <a:srgbClr val="060432">
                    <a:alpha val="4706"/>
                  </a:srgbClr>
                </a:gs>
                <a:gs pos="85000">
                  <a:srgbClr val="01012A">
                    <a:alpha val="784"/>
                  </a:srgbClr>
                </a:gs>
                <a:gs pos="100000">
                  <a:srgbClr val="000028">
                    <a:alpha val="0"/>
                  </a:srgbClr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6" name="Freihandform: Form 3345">
              <a:extLst>
                <a:ext uri="{FF2B5EF4-FFF2-40B4-BE49-F238E27FC236}">
                  <a16:creationId xmlns:a16="http://schemas.microsoft.com/office/drawing/2014/main" id="{26FC7FD7-FDBB-3CFB-C61A-CB1A4494B4D0}"/>
                </a:ext>
              </a:extLst>
            </p:cNvPr>
            <p:cNvSpPr/>
            <p:nvPr/>
          </p:nvSpPr>
          <p:spPr>
            <a:xfrm>
              <a:off x="9980101" y="3078562"/>
              <a:ext cx="171185" cy="106841"/>
            </a:xfrm>
            <a:custGeom>
              <a:avLst/>
              <a:gdLst>
                <a:gd name="connsiteX0" fmla="*/ 773363 w 848059"/>
                <a:gd name="connsiteY0" fmla="*/ 529290 h 529290"/>
                <a:gd name="connsiteX1" fmla="*/ 436 w 848059"/>
                <a:gd name="connsiteY1" fmla="*/ 85902 h 529290"/>
                <a:gd name="connsiteX2" fmla="*/ 0 w 848059"/>
                <a:gd name="connsiteY2" fmla="*/ 0 h 529290"/>
                <a:gd name="connsiteX3" fmla="*/ 848060 w 848059"/>
                <a:gd name="connsiteY3" fmla="*/ 487958 h 529290"/>
                <a:gd name="connsiteX4" fmla="*/ 773363 w 848059"/>
                <a:gd name="connsiteY4" fmla="*/ 529290 h 52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059" h="529290">
                  <a:moveTo>
                    <a:pt x="773363" y="529290"/>
                  </a:moveTo>
                  <a:lnTo>
                    <a:pt x="436" y="85902"/>
                  </a:lnTo>
                  <a:lnTo>
                    <a:pt x="0" y="0"/>
                  </a:lnTo>
                  <a:lnTo>
                    <a:pt x="848060" y="487958"/>
                  </a:lnTo>
                  <a:lnTo>
                    <a:pt x="773363" y="529290"/>
                  </a:lnTo>
                  <a:close/>
                </a:path>
              </a:pathLst>
            </a:custGeom>
            <a:solidFill>
              <a:srgbClr val="009999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7" name="Freihandform: Form 3346">
              <a:extLst>
                <a:ext uri="{FF2B5EF4-FFF2-40B4-BE49-F238E27FC236}">
                  <a16:creationId xmlns:a16="http://schemas.microsoft.com/office/drawing/2014/main" id="{301B4D46-6F18-EFA0-595B-ED69A2B389B5}"/>
                </a:ext>
              </a:extLst>
            </p:cNvPr>
            <p:cNvSpPr/>
            <p:nvPr/>
          </p:nvSpPr>
          <p:spPr>
            <a:xfrm>
              <a:off x="9807835" y="3078562"/>
              <a:ext cx="172528" cy="106841"/>
            </a:xfrm>
            <a:custGeom>
              <a:avLst/>
              <a:gdLst>
                <a:gd name="connsiteX0" fmla="*/ 81357 w 854720"/>
                <a:gd name="connsiteY0" fmla="*/ 529290 h 529290"/>
                <a:gd name="connsiteX1" fmla="*/ 854284 w 854720"/>
                <a:gd name="connsiteY1" fmla="*/ 85902 h 529290"/>
                <a:gd name="connsiteX2" fmla="*/ 854720 w 854720"/>
                <a:gd name="connsiteY2" fmla="*/ 0 h 529290"/>
                <a:gd name="connsiteX3" fmla="*/ 0 w 854720"/>
                <a:gd name="connsiteY3" fmla="*/ 484285 h 529290"/>
                <a:gd name="connsiteX4" fmla="*/ 81357 w 854720"/>
                <a:gd name="connsiteY4" fmla="*/ 529290 h 52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4720" h="529290">
                  <a:moveTo>
                    <a:pt x="81357" y="529290"/>
                  </a:moveTo>
                  <a:lnTo>
                    <a:pt x="854284" y="85902"/>
                  </a:lnTo>
                  <a:lnTo>
                    <a:pt x="854720" y="0"/>
                  </a:lnTo>
                  <a:lnTo>
                    <a:pt x="0" y="484285"/>
                  </a:lnTo>
                  <a:lnTo>
                    <a:pt x="81357" y="529290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3" name="Freihandform: Form 3352">
              <a:extLst>
                <a:ext uri="{FF2B5EF4-FFF2-40B4-BE49-F238E27FC236}">
                  <a16:creationId xmlns:a16="http://schemas.microsoft.com/office/drawing/2014/main" id="{423BC81E-0A58-6983-46A1-25622310DFAA}"/>
                </a:ext>
              </a:extLst>
            </p:cNvPr>
            <p:cNvSpPr/>
            <p:nvPr/>
          </p:nvSpPr>
          <p:spPr>
            <a:xfrm>
              <a:off x="9853936" y="3220154"/>
              <a:ext cx="353589" cy="391837"/>
            </a:xfrm>
            <a:custGeom>
              <a:avLst/>
              <a:gdLst>
                <a:gd name="connsiteX0" fmla="*/ 1751706 w 1751706"/>
                <a:gd name="connsiteY0" fmla="*/ 1291012 h 1941187"/>
                <a:gd name="connsiteX1" fmla="*/ 683104 w 1751706"/>
                <a:gd name="connsiteY1" fmla="*/ 1941187 h 1941187"/>
                <a:gd name="connsiteX2" fmla="*/ 391350 w 1751706"/>
                <a:gd name="connsiteY2" fmla="*/ 1773804 h 1941187"/>
                <a:gd name="connsiteX3" fmla="*/ 391350 w 1751706"/>
                <a:gd name="connsiteY3" fmla="*/ 638348 h 1941187"/>
                <a:gd name="connsiteX4" fmla="*/ 0 w 1751706"/>
                <a:gd name="connsiteY4" fmla="*/ 416685 h 1941187"/>
                <a:gd name="connsiteX5" fmla="*/ 0 w 1751706"/>
                <a:gd name="connsiteY5" fmla="*/ 72830 h 1941187"/>
                <a:gd name="connsiteX6" fmla="*/ 149519 w 1751706"/>
                <a:gd name="connsiteY6" fmla="*/ 0 h 194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1706" h="1941187">
                  <a:moveTo>
                    <a:pt x="1751706" y="1291012"/>
                  </a:moveTo>
                  <a:lnTo>
                    <a:pt x="683104" y="1941187"/>
                  </a:lnTo>
                  <a:lnTo>
                    <a:pt x="391350" y="1773804"/>
                  </a:lnTo>
                  <a:lnTo>
                    <a:pt x="391350" y="638348"/>
                  </a:lnTo>
                  <a:lnTo>
                    <a:pt x="0" y="416685"/>
                  </a:lnTo>
                  <a:lnTo>
                    <a:pt x="0" y="72830"/>
                  </a:lnTo>
                  <a:lnTo>
                    <a:pt x="149519" y="0"/>
                  </a:lnTo>
                </a:path>
              </a:pathLst>
            </a:custGeom>
            <a:noFill/>
            <a:ln w="12700" cap="flat">
              <a:solidFill>
                <a:srgbClr val="805C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4" name="Freihandform: Form 3353">
              <a:extLst>
                <a:ext uri="{FF2B5EF4-FFF2-40B4-BE49-F238E27FC236}">
                  <a16:creationId xmlns:a16="http://schemas.microsoft.com/office/drawing/2014/main" id="{AE331513-87BD-05C1-8138-B93171DBC43B}"/>
                </a:ext>
              </a:extLst>
            </p:cNvPr>
            <p:cNvSpPr/>
            <p:nvPr/>
          </p:nvSpPr>
          <p:spPr>
            <a:xfrm>
              <a:off x="9873575" y="3233950"/>
              <a:ext cx="333938" cy="355097"/>
            </a:xfrm>
            <a:custGeom>
              <a:avLst/>
              <a:gdLst>
                <a:gd name="connsiteX0" fmla="*/ 98413 w 1654351"/>
                <a:gd name="connsiteY0" fmla="*/ 0 h 1759175"/>
                <a:gd name="connsiteX1" fmla="*/ 1681 w 1654351"/>
                <a:gd name="connsiteY1" fmla="*/ 61065 h 1759175"/>
                <a:gd name="connsiteX2" fmla="*/ 0 w 1654351"/>
                <a:gd name="connsiteY2" fmla="*/ 284969 h 1759175"/>
                <a:gd name="connsiteX3" fmla="*/ 393591 w 1654351"/>
                <a:gd name="connsiteY3" fmla="*/ 512297 h 1759175"/>
                <a:gd name="connsiteX4" fmla="*/ 393591 w 1654351"/>
                <a:gd name="connsiteY4" fmla="*/ 1647690 h 1759175"/>
                <a:gd name="connsiteX5" fmla="*/ 588674 w 1654351"/>
                <a:gd name="connsiteY5" fmla="*/ 1759176 h 1759175"/>
                <a:gd name="connsiteX6" fmla="*/ 1654351 w 1654351"/>
                <a:gd name="connsiteY6" fmla="*/ 1144793 h 175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4351" h="1759175">
                  <a:moveTo>
                    <a:pt x="98413" y="0"/>
                  </a:moveTo>
                  <a:lnTo>
                    <a:pt x="1681" y="61065"/>
                  </a:lnTo>
                  <a:lnTo>
                    <a:pt x="0" y="284969"/>
                  </a:lnTo>
                  <a:lnTo>
                    <a:pt x="393591" y="512297"/>
                  </a:lnTo>
                  <a:lnTo>
                    <a:pt x="393591" y="1647690"/>
                  </a:lnTo>
                  <a:lnTo>
                    <a:pt x="588674" y="1759176"/>
                  </a:lnTo>
                  <a:lnTo>
                    <a:pt x="1654351" y="1144793"/>
                  </a:lnTo>
                </a:path>
              </a:pathLst>
            </a:custGeom>
            <a:noFill/>
            <a:ln w="12700" cap="flat">
              <a:solidFill>
                <a:srgbClr val="B4A8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5" name="Freihandform: Form 3354">
              <a:extLst>
                <a:ext uri="{FF2B5EF4-FFF2-40B4-BE49-F238E27FC236}">
                  <a16:creationId xmlns:a16="http://schemas.microsoft.com/office/drawing/2014/main" id="{70240B72-6B1C-41FA-509D-5EB7A66DA386}"/>
                </a:ext>
              </a:extLst>
            </p:cNvPr>
            <p:cNvSpPr/>
            <p:nvPr/>
          </p:nvSpPr>
          <p:spPr>
            <a:xfrm>
              <a:off x="10032458" y="3209888"/>
              <a:ext cx="58904" cy="716666"/>
            </a:xfrm>
            <a:custGeom>
              <a:avLst/>
              <a:gdLst>
                <a:gd name="connsiteX0" fmla="*/ 144414 w 291815"/>
                <a:gd name="connsiteY0" fmla="*/ 3550408 h 3550408"/>
                <a:gd name="connsiteX1" fmla="*/ 0 w 291815"/>
                <a:gd name="connsiteY1" fmla="*/ 3459527 h 3550408"/>
                <a:gd name="connsiteX2" fmla="*/ 0 w 291815"/>
                <a:gd name="connsiteY2" fmla="*/ 2558682 h 3550408"/>
                <a:gd name="connsiteX3" fmla="*/ 291816 w 291815"/>
                <a:gd name="connsiteY3" fmla="*/ 2387315 h 3550408"/>
                <a:gd name="connsiteX4" fmla="*/ 291816 w 291815"/>
                <a:gd name="connsiteY4" fmla="*/ 234548 h 3550408"/>
                <a:gd name="connsiteX5" fmla="*/ 191722 w 291815"/>
                <a:gd name="connsiteY5" fmla="*/ 178588 h 3550408"/>
                <a:gd name="connsiteX6" fmla="*/ 95052 w 291815"/>
                <a:gd name="connsiteY6" fmla="*/ 119204 h 3550408"/>
                <a:gd name="connsiteX7" fmla="*/ 95052 w 291815"/>
                <a:gd name="connsiteY7" fmla="*/ 0 h 3550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815" h="3550408">
                  <a:moveTo>
                    <a:pt x="144414" y="3550408"/>
                  </a:moveTo>
                  <a:lnTo>
                    <a:pt x="0" y="3459527"/>
                  </a:lnTo>
                  <a:lnTo>
                    <a:pt x="0" y="2558682"/>
                  </a:lnTo>
                  <a:lnTo>
                    <a:pt x="291816" y="2387315"/>
                  </a:lnTo>
                  <a:lnTo>
                    <a:pt x="291816" y="234548"/>
                  </a:lnTo>
                  <a:lnTo>
                    <a:pt x="191722" y="178588"/>
                  </a:lnTo>
                  <a:lnTo>
                    <a:pt x="95052" y="119204"/>
                  </a:lnTo>
                  <a:lnTo>
                    <a:pt x="95052" y="0"/>
                  </a:lnTo>
                </a:path>
              </a:pathLst>
            </a:custGeom>
            <a:noFill/>
            <a:ln w="12700" cap="flat">
              <a:solidFill>
                <a:srgbClr val="00E6DC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6" name="Freihandform: Form 3355">
              <a:extLst>
                <a:ext uri="{FF2B5EF4-FFF2-40B4-BE49-F238E27FC236}">
                  <a16:creationId xmlns:a16="http://schemas.microsoft.com/office/drawing/2014/main" id="{B4CB8260-6E6A-AEDC-D246-1828C70ACFA6}"/>
                </a:ext>
              </a:extLst>
            </p:cNvPr>
            <p:cNvSpPr/>
            <p:nvPr/>
          </p:nvSpPr>
          <p:spPr>
            <a:xfrm>
              <a:off x="9894106" y="3143232"/>
              <a:ext cx="173584" cy="90606"/>
            </a:xfrm>
            <a:custGeom>
              <a:avLst/>
              <a:gdLst>
                <a:gd name="connsiteX0" fmla="*/ 0 w 859948"/>
                <a:gd name="connsiteY0" fmla="*/ 448866 h 448866"/>
                <a:gd name="connsiteX1" fmla="*/ 781144 w 859948"/>
                <a:gd name="connsiteY1" fmla="*/ 0 h 448866"/>
                <a:gd name="connsiteX2" fmla="*/ 859949 w 859948"/>
                <a:gd name="connsiteY2" fmla="*/ 45565 h 44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9948" h="448866">
                  <a:moveTo>
                    <a:pt x="0" y="448866"/>
                  </a:moveTo>
                  <a:lnTo>
                    <a:pt x="781144" y="0"/>
                  </a:lnTo>
                  <a:lnTo>
                    <a:pt x="859949" y="45565"/>
                  </a:lnTo>
                </a:path>
              </a:pathLst>
            </a:custGeom>
            <a:noFill/>
            <a:ln w="12700" cap="flat">
              <a:solidFill>
                <a:srgbClr val="805C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7" name="Freihandform: Form 3356">
              <a:extLst>
                <a:ext uri="{FF2B5EF4-FFF2-40B4-BE49-F238E27FC236}">
                  <a16:creationId xmlns:a16="http://schemas.microsoft.com/office/drawing/2014/main" id="{010AE410-5257-025A-F651-8DA67BB231EA}"/>
                </a:ext>
              </a:extLst>
            </p:cNvPr>
            <p:cNvSpPr/>
            <p:nvPr/>
          </p:nvSpPr>
          <p:spPr>
            <a:xfrm>
              <a:off x="9921749" y="3177534"/>
              <a:ext cx="123412" cy="63139"/>
            </a:xfrm>
            <a:custGeom>
              <a:avLst/>
              <a:gdLst>
                <a:gd name="connsiteX0" fmla="*/ 0 w 611394"/>
                <a:gd name="connsiteY0" fmla="*/ 312794 h 312793"/>
                <a:gd name="connsiteX1" fmla="*/ 546097 w 611394"/>
                <a:gd name="connsiteY1" fmla="*/ 0 h 312793"/>
                <a:gd name="connsiteX2" fmla="*/ 611395 w 611394"/>
                <a:gd name="connsiteY2" fmla="*/ 38967 h 31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1394" h="312793">
                  <a:moveTo>
                    <a:pt x="0" y="312794"/>
                  </a:moveTo>
                  <a:lnTo>
                    <a:pt x="546097" y="0"/>
                  </a:lnTo>
                  <a:lnTo>
                    <a:pt x="611395" y="38967"/>
                  </a:lnTo>
                </a:path>
              </a:pathLst>
            </a:custGeom>
            <a:noFill/>
            <a:ln w="12700" cap="flat">
              <a:solidFill>
                <a:srgbClr val="B4A8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8" name="Freihandform: Form 3357">
              <a:extLst>
                <a:ext uri="{FF2B5EF4-FFF2-40B4-BE49-F238E27FC236}">
                  <a16:creationId xmlns:a16="http://schemas.microsoft.com/office/drawing/2014/main" id="{77B2A954-B4C8-A9A7-FE3A-3BB26C9AB6BA}"/>
                </a:ext>
              </a:extLst>
            </p:cNvPr>
            <p:cNvSpPr/>
            <p:nvPr/>
          </p:nvSpPr>
          <p:spPr>
            <a:xfrm>
              <a:off x="9842401" y="3083724"/>
              <a:ext cx="296557" cy="899649"/>
            </a:xfrm>
            <a:custGeom>
              <a:avLst/>
              <a:gdLst>
                <a:gd name="connsiteX0" fmla="*/ 0 w 1469164"/>
                <a:gd name="connsiteY0" fmla="*/ 0 h 4456918"/>
                <a:gd name="connsiteX1" fmla="*/ 0 w 1469164"/>
                <a:gd name="connsiteY1" fmla="*/ 450796 h 4456918"/>
                <a:gd name="connsiteX2" fmla="*/ 980584 w 1469164"/>
                <a:gd name="connsiteY2" fmla="*/ 1012144 h 4456918"/>
                <a:gd name="connsiteX3" fmla="*/ 980584 w 1469164"/>
                <a:gd name="connsiteY3" fmla="*/ 1906640 h 4456918"/>
                <a:gd name="connsiteX4" fmla="*/ 1469165 w 1469164"/>
                <a:gd name="connsiteY4" fmla="*/ 1629390 h 4456918"/>
                <a:gd name="connsiteX5" fmla="*/ 1469165 w 1469164"/>
                <a:gd name="connsiteY5" fmla="*/ 2300231 h 4456918"/>
                <a:gd name="connsiteX6" fmla="*/ 688768 w 1469164"/>
                <a:gd name="connsiteY6" fmla="*/ 2749782 h 4456918"/>
                <a:gd name="connsiteX7" fmla="*/ 688768 w 1469164"/>
                <a:gd name="connsiteY7" fmla="*/ 4456918 h 445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9164" h="4456918">
                  <a:moveTo>
                    <a:pt x="0" y="0"/>
                  </a:moveTo>
                  <a:lnTo>
                    <a:pt x="0" y="450796"/>
                  </a:lnTo>
                  <a:lnTo>
                    <a:pt x="980584" y="1012144"/>
                  </a:lnTo>
                  <a:lnTo>
                    <a:pt x="980584" y="1906640"/>
                  </a:lnTo>
                  <a:lnTo>
                    <a:pt x="1469165" y="1629390"/>
                  </a:lnTo>
                  <a:lnTo>
                    <a:pt x="1469165" y="2300231"/>
                  </a:lnTo>
                  <a:lnTo>
                    <a:pt x="688768" y="2749782"/>
                  </a:lnTo>
                  <a:lnTo>
                    <a:pt x="688768" y="4456918"/>
                  </a:lnTo>
                </a:path>
              </a:pathLst>
            </a:custGeom>
            <a:noFill/>
            <a:ln w="12700" cap="flat">
              <a:solidFill>
                <a:srgbClr val="00FFB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77" name="Freihandform: Form 3376">
              <a:extLst>
                <a:ext uri="{FF2B5EF4-FFF2-40B4-BE49-F238E27FC236}">
                  <a16:creationId xmlns:a16="http://schemas.microsoft.com/office/drawing/2014/main" id="{F6735E5B-1A8F-58E1-393D-D6F3E1AF6EE7}"/>
                </a:ext>
              </a:extLst>
            </p:cNvPr>
            <p:cNvSpPr/>
            <p:nvPr/>
          </p:nvSpPr>
          <p:spPr>
            <a:xfrm>
              <a:off x="9734544" y="3108703"/>
              <a:ext cx="74635" cy="743404"/>
            </a:xfrm>
            <a:custGeom>
              <a:avLst/>
              <a:gdLst>
                <a:gd name="connsiteX0" fmla="*/ 369750 w 369749"/>
                <a:gd name="connsiteY0" fmla="*/ 0 h 3682870"/>
                <a:gd name="connsiteX1" fmla="*/ 369750 w 369749"/>
                <a:gd name="connsiteY1" fmla="*/ 387491 h 3682870"/>
                <a:gd name="connsiteX2" fmla="*/ 277312 w 369749"/>
                <a:gd name="connsiteY2" fmla="*/ 448555 h 3682870"/>
                <a:gd name="connsiteX3" fmla="*/ 277312 w 369749"/>
                <a:gd name="connsiteY3" fmla="*/ 2823607 h 3682870"/>
                <a:gd name="connsiteX4" fmla="*/ 0 w 369749"/>
                <a:gd name="connsiteY4" fmla="*/ 2995472 h 3682870"/>
                <a:gd name="connsiteX5" fmla="*/ 0 w 369749"/>
                <a:gd name="connsiteY5" fmla="*/ 3682871 h 3682870"/>
                <a:gd name="connsiteX6" fmla="*/ 300967 w 369749"/>
                <a:gd name="connsiteY6" fmla="*/ 3501606 h 368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9749" h="3682870">
                  <a:moveTo>
                    <a:pt x="369750" y="0"/>
                  </a:moveTo>
                  <a:lnTo>
                    <a:pt x="369750" y="387491"/>
                  </a:lnTo>
                  <a:lnTo>
                    <a:pt x="277312" y="448555"/>
                  </a:lnTo>
                  <a:lnTo>
                    <a:pt x="277312" y="2823607"/>
                  </a:lnTo>
                  <a:lnTo>
                    <a:pt x="0" y="2995472"/>
                  </a:lnTo>
                  <a:lnTo>
                    <a:pt x="0" y="3682871"/>
                  </a:lnTo>
                  <a:lnTo>
                    <a:pt x="300967" y="3501606"/>
                  </a:lnTo>
                </a:path>
              </a:pathLst>
            </a:custGeom>
            <a:noFill/>
            <a:ln w="12700" cap="flat">
              <a:solidFill>
                <a:srgbClr val="00FFB9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78" name="Freihandform: Form 3377">
              <a:extLst>
                <a:ext uri="{FF2B5EF4-FFF2-40B4-BE49-F238E27FC236}">
                  <a16:creationId xmlns:a16="http://schemas.microsoft.com/office/drawing/2014/main" id="{6A8BB62F-71C6-88B3-EF9F-707EC1148A49}"/>
                </a:ext>
              </a:extLst>
            </p:cNvPr>
            <p:cNvSpPr/>
            <p:nvPr/>
          </p:nvSpPr>
          <p:spPr>
            <a:xfrm>
              <a:off x="10065995" y="3150383"/>
              <a:ext cx="51165" cy="44316"/>
            </a:xfrm>
            <a:custGeom>
              <a:avLst/>
              <a:gdLst>
                <a:gd name="connsiteX0" fmla="*/ 0 w 253471"/>
                <a:gd name="connsiteY0" fmla="*/ 0 h 219546"/>
                <a:gd name="connsiteX1" fmla="*/ 126736 w 253471"/>
                <a:gd name="connsiteY1" fmla="*/ 73328 h 219546"/>
                <a:gd name="connsiteX2" fmla="*/ 253472 w 253471"/>
                <a:gd name="connsiteY2" fmla="*/ 62 h 219546"/>
                <a:gd name="connsiteX3" fmla="*/ 253472 w 253471"/>
                <a:gd name="connsiteY3" fmla="*/ 146468 h 219546"/>
                <a:gd name="connsiteX4" fmla="*/ 126736 w 253471"/>
                <a:gd name="connsiteY4" fmla="*/ 219547 h 219546"/>
                <a:gd name="connsiteX5" fmla="*/ 0 w 253471"/>
                <a:gd name="connsiteY5" fmla="*/ 146406 h 219546"/>
                <a:gd name="connsiteX6" fmla="*/ 0 w 253471"/>
                <a:gd name="connsiteY6" fmla="*/ 0 h 21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471" h="219546">
                  <a:moveTo>
                    <a:pt x="0" y="0"/>
                  </a:moveTo>
                  <a:lnTo>
                    <a:pt x="126736" y="73328"/>
                  </a:lnTo>
                  <a:lnTo>
                    <a:pt x="253472" y="62"/>
                  </a:lnTo>
                  <a:lnTo>
                    <a:pt x="253472" y="146468"/>
                  </a:lnTo>
                  <a:lnTo>
                    <a:pt x="126736" y="219547"/>
                  </a:lnTo>
                  <a:lnTo>
                    <a:pt x="0" y="1464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79" name="Freihandform: Form 3378">
              <a:extLst>
                <a:ext uri="{FF2B5EF4-FFF2-40B4-BE49-F238E27FC236}">
                  <a16:creationId xmlns:a16="http://schemas.microsoft.com/office/drawing/2014/main" id="{E4BEF729-0D6E-7F15-0D40-98863CCC8268}"/>
                </a:ext>
              </a:extLst>
            </p:cNvPr>
            <p:cNvSpPr/>
            <p:nvPr/>
          </p:nvSpPr>
          <p:spPr>
            <a:xfrm>
              <a:off x="10066019" y="3135620"/>
              <a:ext cx="51140" cy="29565"/>
            </a:xfrm>
            <a:custGeom>
              <a:avLst/>
              <a:gdLst>
                <a:gd name="connsiteX0" fmla="*/ 126612 w 253347"/>
                <a:gd name="connsiteY0" fmla="*/ 0 h 146468"/>
                <a:gd name="connsiteX1" fmla="*/ 253347 w 253347"/>
                <a:gd name="connsiteY1" fmla="*/ 73203 h 146468"/>
                <a:gd name="connsiteX2" fmla="*/ 126612 w 253347"/>
                <a:gd name="connsiteY2" fmla="*/ 146468 h 146468"/>
                <a:gd name="connsiteX3" fmla="*/ 0 w 253347"/>
                <a:gd name="connsiteY3" fmla="*/ 73888 h 146468"/>
                <a:gd name="connsiteX4" fmla="*/ 126612 w 253347"/>
                <a:gd name="connsiteY4" fmla="*/ 0 h 14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347" h="146468">
                  <a:moveTo>
                    <a:pt x="126612" y="0"/>
                  </a:moveTo>
                  <a:lnTo>
                    <a:pt x="253347" y="73203"/>
                  </a:lnTo>
                  <a:lnTo>
                    <a:pt x="126612" y="146468"/>
                  </a:lnTo>
                  <a:lnTo>
                    <a:pt x="0" y="73888"/>
                  </a:lnTo>
                  <a:lnTo>
                    <a:pt x="126612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0" name="Freihandform: Form 3379">
              <a:extLst>
                <a:ext uri="{FF2B5EF4-FFF2-40B4-BE49-F238E27FC236}">
                  <a16:creationId xmlns:a16="http://schemas.microsoft.com/office/drawing/2014/main" id="{CC353A40-A480-A8DB-AF5E-9446CD7D4610}"/>
                </a:ext>
              </a:extLst>
            </p:cNvPr>
            <p:cNvSpPr/>
            <p:nvPr/>
          </p:nvSpPr>
          <p:spPr>
            <a:xfrm>
              <a:off x="10091575" y="3150395"/>
              <a:ext cx="25581" cy="44304"/>
            </a:xfrm>
            <a:custGeom>
              <a:avLst/>
              <a:gdLst>
                <a:gd name="connsiteX0" fmla="*/ 0 w 126735"/>
                <a:gd name="connsiteY0" fmla="*/ 73265 h 219484"/>
                <a:gd name="connsiteX1" fmla="*/ 0 w 126735"/>
                <a:gd name="connsiteY1" fmla="*/ 219485 h 219484"/>
                <a:gd name="connsiteX2" fmla="*/ 126736 w 126735"/>
                <a:gd name="connsiteY2" fmla="*/ 146406 h 219484"/>
                <a:gd name="connsiteX3" fmla="*/ 126736 w 126735"/>
                <a:gd name="connsiteY3" fmla="*/ 0 h 219484"/>
                <a:gd name="connsiteX4" fmla="*/ 0 w 126735"/>
                <a:gd name="connsiteY4" fmla="*/ 73265 h 21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735" h="219484">
                  <a:moveTo>
                    <a:pt x="0" y="73265"/>
                  </a:moveTo>
                  <a:lnTo>
                    <a:pt x="0" y="219485"/>
                  </a:lnTo>
                  <a:lnTo>
                    <a:pt x="126736" y="146406"/>
                  </a:lnTo>
                  <a:lnTo>
                    <a:pt x="126736" y="0"/>
                  </a:lnTo>
                  <a:lnTo>
                    <a:pt x="0" y="73265"/>
                  </a:lnTo>
                  <a:close/>
                </a:path>
              </a:pathLst>
            </a:custGeom>
            <a:solidFill>
              <a:srgbClr val="00BE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1" name="Freihandform: Form 3380">
              <a:extLst>
                <a:ext uri="{FF2B5EF4-FFF2-40B4-BE49-F238E27FC236}">
                  <a16:creationId xmlns:a16="http://schemas.microsoft.com/office/drawing/2014/main" id="{CF65B120-9C70-A626-5EFF-D448392D1EA8}"/>
                </a:ext>
              </a:extLst>
            </p:cNvPr>
            <p:cNvSpPr/>
            <p:nvPr/>
          </p:nvSpPr>
          <p:spPr>
            <a:xfrm>
              <a:off x="10076122" y="3127413"/>
              <a:ext cx="29829" cy="29829"/>
            </a:xfrm>
            <a:custGeom>
              <a:avLst/>
              <a:gdLst>
                <a:gd name="connsiteX0" fmla="*/ 147776 w 147775"/>
                <a:gd name="connsiteY0" fmla="*/ 73888 h 147775"/>
                <a:gd name="connsiteX1" fmla="*/ 73888 w 147775"/>
                <a:gd name="connsiteY1" fmla="*/ 147775 h 147775"/>
                <a:gd name="connsiteX2" fmla="*/ 0 w 147775"/>
                <a:gd name="connsiteY2" fmla="*/ 73888 h 147775"/>
                <a:gd name="connsiteX3" fmla="*/ 73888 w 147775"/>
                <a:gd name="connsiteY3" fmla="*/ 0 h 147775"/>
                <a:gd name="connsiteX4" fmla="*/ 147776 w 147775"/>
                <a:gd name="connsiteY4" fmla="*/ 73888 h 1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775" h="147775">
                  <a:moveTo>
                    <a:pt x="147776" y="73888"/>
                  </a:moveTo>
                  <a:cubicBezTo>
                    <a:pt x="147776" y="114695"/>
                    <a:pt x="114695" y="147775"/>
                    <a:pt x="73888" y="147775"/>
                  </a:cubicBezTo>
                  <a:cubicBezTo>
                    <a:pt x="33081" y="147775"/>
                    <a:pt x="0" y="114695"/>
                    <a:pt x="0" y="73888"/>
                  </a:cubicBezTo>
                  <a:cubicBezTo>
                    <a:pt x="0" y="33081"/>
                    <a:pt x="33081" y="0"/>
                    <a:pt x="73888" y="0"/>
                  </a:cubicBezTo>
                  <a:cubicBezTo>
                    <a:pt x="114695" y="0"/>
                    <a:pt x="147776" y="33081"/>
                    <a:pt x="147776" y="73888"/>
                  </a:cubicBezTo>
                  <a:close/>
                </a:path>
              </a:pathLst>
            </a:custGeom>
            <a:solidFill>
              <a:srgbClr val="00646E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2" name="Freihandform: Form 3381">
              <a:extLst>
                <a:ext uri="{FF2B5EF4-FFF2-40B4-BE49-F238E27FC236}">
                  <a16:creationId xmlns:a16="http://schemas.microsoft.com/office/drawing/2014/main" id="{DD506F17-C30A-3C5D-EF25-44C7BDB7C86F}"/>
                </a:ext>
              </a:extLst>
            </p:cNvPr>
            <p:cNvSpPr/>
            <p:nvPr/>
          </p:nvSpPr>
          <p:spPr>
            <a:xfrm>
              <a:off x="10037484" y="3187061"/>
              <a:ext cx="28573" cy="24740"/>
            </a:xfrm>
            <a:custGeom>
              <a:avLst/>
              <a:gdLst>
                <a:gd name="connsiteX0" fmla="*/ 0 w 141550"/>
                <a:gd name="connsiteY0" fmla="*/ 0 h 122565"/>
                <a:gd name="connsiteX1" fmla="*/ 70775 w 141550"/>
                <a:gd name="connsiteY1" fmla="*/ 40959 h 122565"/>
                <a:gd name="connsiteX2" fmla="*/ 141551 w 141550"/>
                <a:gd name="connsiteY2" fmla="*/ 62 h 122565"/>
                <a:gd name="connsiteX3" fmla="*/ 141551 w 141550"/>
                <a:gd name="connsiteY3" fmla="*/ 81793 h 122565"/>
                <a:gd name="connsiteX4" fmla="*/ 70775 w 141550"/>
                <a:gd name="connsiteY4" fmla="*/ 122565 h 122565"/>
                <a:gd name="connsiteX5" fmla="*/ 0 w 141550"/>
                <a:gd name="connsiteY5" fmla="*/ 81731 h 122565"/>
                <a:gd name="connsiteX6" fmla="*/ 0 w 141550"/>
                <a:gd name="connsiteY6" fmla="*/ 0 h 12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550" h="122565">
                  <a:moveTo>
                    <a:pt x="0" y="0"/>
                  </a:moveTo>
                  <a:lnTo>
                    <a:pt x="70775" y="40959"/>
                  </a:lnTo>
                  <a:lnTo>
                    <a:pt x="141551" y="62"/>
                  </a:lnTo>
                  <a:lnTo>
                    <a:pt x="141551" y="81793"/>
                  </a:lnTo>
                  <a:lnTo>
                    <a:pt x="70775" y="122565"/>
                  </a:lnTo>
                  <a:lnTo>
                    <a:pt x="0" y="817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3" name="Freihandform: Form 3382">
              <a:extLst>
                <a:ext uri="{FF2B5EF4-FFF2-40B4-BE49-F238E27FC236}">
                  <a16:creationId xmlns:a16="http://schemas.microsoft.com/office/drawing/2014/main" id="{BE3FBE9A-B07E-69A7-0C99-FCDE2A8A7130}"/>
                </a:ext>
              </a:extLst>
            </p:cNvPr>
            <p:cNvSpPr/>
            <p:nvPr/>
          </p:nvSpPr>
          <p:spPr>
            <a:xfrm>
              <a:off x="10037498" y="3178815"/>
              <a:ext cx="28560" cy="16510"/>
            </a:xfrm>
            <a:custGeom>
              <a:avLst/>
              <a:gdLst>
                <a:gd name="connsiteX0" fmla="*/ 70713 w 141488"/>
                <a:gd name="connsiteY0" fmla="*/ 0 h 81793"/>
                <a:gd name="connsiteX1" fmla="*/ 141489 w 141488"/>
                <a:gd name="connsiteY1" fmla="*/ 40897 h 81793"/>
                <a:gd name="connsiteX2" fmla="*/ 70713 w 141488"/>
                <a:gd name="connsiteY2" fmla="*/ 81793 h 81793"/>
                <a:gd name="connsiteX3" fmla="*/ 0 w 141488"/>
                <a:gd name="connsiteY3" fmla="*/ 41270 h 81793"/>
                <a:gd name="connsiteX4" fmla="*/ 70713 w 141488"/>
                <a:gd name="connsiteY4" fmla="*/ 0 h 8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488" h="81793">
                  <a:moveTo>
                    <a:pt x="70713" y="0"/>
                  </a:moveTo>
                  <a:lnTo>
                    <a:pt x="141489" y="40897"/>
                  </a:lnTo>
                  <a:lnTo>
                    <a:pt x="70713" y="81793"/>
                  </a:lnTo>
                  <a:lnTo>
                    <a:pt x="0" y="41270"/>
                  </a:lnTo>
                  <a:lnTo>
                    <a:pt x="70713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4" name="Freihandform: Form 3383">
              <a:extLst>
                <a:ext uri="{FF2B5EF4-FFF2-40B4-BE49-F238E27FC236}">
                  <a16:creationId xmlns:a16="http://schemas.microsoft.com/office/drawing/2014/main" id="{D960A27E-A11F-C3D6-EBA8-EA6144FD5F65}"/>
                </a:ext>
              </a:extLst>
            </p:cNvPr>
            <p:cNvSpPr/>
            <p:nvPr/>
          </p:nvSpPr>
          <p:spPr>
            <a:xfrm>
              <a:off x="10051772" y="3187070"/>
              <a:ext cx="14286" cy="24727"/>
            </a:xfrm>
            <a:custGeom>
              <a:avLst/>
              <a:gdLst>
                <a:gd name="connsiteX0" fmla="*/ 0 w 70775"/>
                <a:gd name="connsiteY0" fmla="*/ 40897 h 122503"/>
                <a:gd name="connsiteX1" fmla="*/ 0 w 70775"/>
                <a:gd name="connsiteY1" fmla="*/ 122503 h 122503"/>
                <a:gd name="connsiteX2" fmla="*/ 70776 w 70775"/>
                <a:gd name="connsiteY2" fmla="*/ 81731 h 122503"/>
                <a:gd name="connsiteX3" fmla="*/ 70776 w 70775"/>
                <a:gd name="connsiteY3" fmla="*/ 0 h 122503"/>
                <a:gd name="connsiteX4" fmla="*/ 0 w 70775"/>
                <a:gd name="connsiteY4" fmla="*/ 40897 h 12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75" h="122503">
                  <a:moveTo>
                    <a:pt x="0" y="40897"/>
                  </a:moveTo>
                  <a:lnTo>
                    <a:pt x="0" y="122503"/>
                  </a:lnTo>
                  <a:lnTo>
                    <a:pt x="70776" y="81731"/>
                  </a:lnTo>
                  <a:lnTo>
                    <a:pt x="70776" y="0"/>
                  </a:lnTo>
                  <a:lnTo>
                    <a:pt x="0" y="40897"/>
                  </a:lnTo>
                  <a:close/>
                </a:path>
              </a:pathLst>
            </a:custGeom>
            <a:solidFill>
              <a:srgbClr val="00BE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073" name="Gruppieren 4072">
            <a:extLst>
              <a:ext uri="{FF2B5EF4-FFF2-40B4-BE49-F238E27FC236}">
                <a16:creationId xmlns:a16="http://schemas.microsoft.com/office/drawing/2014/main" id="{B6EB0A00-27E8-A1B5-8A44-070203738FD9}"/>
              </a:ext>
            </a:extLst>
          </p:cNvPr>
          <p:cNvGrpSpPr/>
          <p:nvPr/>
        </p:nvGrpSpPr>
        <p:grpSpPr>
          <a:xfrm>
            <a:off x="9418639" y="2866647"/>
            <a:ext cx="479829" cy="947606"/>
            <a:chOff x="9418639" y="3435263"/>
            <a:chExt cx="479829" cy="947606"/>
          </a:xfrm>
        </p:grpSpPr>
        <p:sp>
          <p:nvSpPr>
            <p:cNvPr id="3281" name="Freihandform: Form 3280">
              <a:extLst>
                <a:ext uri="{FF2B5EF4-FFF2-40B4-BE49-F238E27FC236}">
                  <a16:creationId xmlns:a16="http://schemas.microsoft.com/office/drawing/2014/main" id="{9AFF2D2C-5CD0-EF41-EC5E-469E3592BC8C}"/>
                </a:ext>
              </a:extLst>
            </p:cNvPr>
            <p:cNvSpPr/>
            <p:nvPr/>
          </p:nvSpPr>
          <p:spPr>
            <a:xfrm>
              <a:off x="9418639" y="3435263"/>
              <a:ext cx="160391" cy="138527"/>
            </a:xfrm>
            <a:custGeom>
              <a:avLst/>
              <a:gdLst>
                <a:gd name="connsiteX0" fmla="*/ 710057 w 794589"/>
                <a:gd name="connsiteY0" fmla="*/ 133298 h 686267"/>
                <a:gd name="connsiteX1" fmla="*/ 681734 w 794589"/>
                <a:gd name="connsiteY1" fmla="*/ 149669 h 686267"/>
                <a:gd name="connsiteX2" fmla="*/ 693126 w 794589"/>
                <a:gd name="connsiteY2" fmla="*/ 84496 h 686267"/>
                <a:gd name="connsiteX3" fmla="*/ 574793 w 794589"/>
                <a:gd name="connsiteY3" fmla="*/ 16148 h 686267"/>
                <a:gd name="connsiteX4" fmla="*/ 528855 w 794589"/>
                <a:gd name="connsiteY4" fmla="*/ 53310 h 686267"/>
                <a:gd name="connsiteX5" fmla="*/ 338066 w 794589"/>
                <a:gd name="connsiteY5" fmla="*/ 35631 h 686267"/>
                <a:gd name="connsiteX6" fmla="*/ 119017 w 794589"/>
                <a:gd name="connsiteY6" fmla="*/ 396418 h 686267"/>
                <a:gd name="connsiteX7" fmla="*/ 118333 w 794589"/>
                <a:gd name="connsiteY7" fmla="*/ 396791 h 686267"/>
                <a:gd name="connsiteX8" fmla="*/ 0 w 794589"/>
                <a:gd name="connsiteY8" fmla="*/ 601772 h 686267"/>
                <a:gd name="connsiteX9" fmla="*/ 118333 w 794589"/>
                <a:gd name="connsiteY9" fmla="*/ 670120 h 686267"/>
                <a:gd name="connsiteX10" fmla="*/ 710057 w 794589"/>
                <a:gd name="connsiteY10" fmla="*/ 328506 h 686267"/>
                <a:gd name="connsiteX11" fmla="*/ 794589 w 794589"/>
                <a:gd name="connsiteY11" fmla="*/ 182100 h 686267"/>
                <a:gd name="connsiteX12" fmla="*/ 710057 w 794589"/>
                <a:gd name="connsiteY12" fmla="*/ 133298 h 68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4589" h="686267">
                  <a:moveTo>
                    <a:pt x="710057" y="133298"/>
                  </a:moveTo>
                  <a:lnTo>
                    <a:pt x="681734" y="149669"/>
                  </a:lnTo>
                  <a:cubicBezTo>
                    <a:pt x="689017" y="127695"/>
                    <a:pt x="693126" y="105473"/>
                    <a:pt x="693126" y="84496"/>
                  </a:cubicBezTo>
                  <a:cubicBezTo>
                    <a:pt x="693126" y="9052"/>
                    <a:pt x="640153" y="-21574"/>
                    <a:pt x="574793" y="16148"/>
                  </a:cubicBezTo>
                  <a:cubicBezTo>
                    <a:pt x="558484" y="25547"/>
                    <a:pt x="542985" y="38308"/>
                    <a:pt x="528855" y="53310"/>
                  </a:cubicBezTo>
                  <a:cubicBezTo>
                    <a:pt x="490946" y="-1157"/>
                    <a:pt x="419735" y="-11490"/>
                    <a:pt x="338066" y="35631"/>
                  </a:cubicBezTo>
                  <a:cubicBezTo>
                    <a:pt x="222348" y="102423"/>
                    <a:pt x="127607" y="260345"/>
                    <a:pt x="119017" y="396418"/>
                  </a:cubicBezTo>
                  <a:cubicBezTo>
                    <a:pt x="118768" y="396542"/>
                    <a:pt x="118519" y="396667"/>
                    <a:pt x="118333" y="396791"/>
                  </a:cubicBezTo>
                  <a:cubicBezTo>
                    <a:pt x="52973" y="434513"/>
                    <a:pt x="0" y="526266"/>
                    <a:pt x="0" y="601772"/>
                  </a:cubicBezTo>
                  <a:cubicBezTo>
                    <a:pt x="0" y="677216"/>
                    <a:pt x="52973" y="707842"/>
                    <a:pt x="118333" y="670120"/>
                  </a:cubicBezTo>
                  <a:lnTo>
                    <a:pt x="710057" y="328506"/>
                  </a:lnTo>
                  <a:cubicBezTo>
                    <a:pt x="756743" y="301552"/>
                    <a:pt x="794589" y="236006"/>
                    <a:pt x="794589" y="182100"/>
                  </a:cubicBezTo>
                  <a:cubicBezTo>
                    <a:pt x="794589" y="128193"/>
                    <a:pt x="756743" y="106344"/>
                    <a:pt x="710057" y="133298"/>
                  </a:cubicBez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2" name="Freihandform: Form 3281">
              <a:extLst>
                <a:ext uri="{FF2B5EF4-FFF2-40B4-BE49-F238E27FC236}">
                  <a16:creationId xmlns:a16="http://schemas.microsoft.com/office/drawing/2014/main" id="{04A083A3-D895-64C8-87D4-02C4909F2C45}"/>
                </a:ext>
              </a:extLst>
            </p:cNvPr>
            <p:cNvSpPr/>
            <p:nvPr/>
          </p:nvSpPr>
          <p:spPr>
            <a:xfrm>
              <a:off x="9442261" y="3463928"/>
              <a:ext cx="227361" cy="654593"/>
            </a:xfrm>
            <a:custGeom>
              <a:avLst/>
              <a:gdLst>
                <a:gd name="connsiteX0" fmla="*/ 0 w 1126367"/>
                <a:gd name="connsiteY0" fmla="*/ 3897687 h 4543877"/>
                <a:gd name="connsiteX1" fmla="*/ 1126368 w 1126367"/>
                <a:gd name="connsiteY1" fmla="*/ 4543878 h 4543877"/>
                <a:gd name="connsiteX2" fmla="*/ 1126368 w 1126367"/>
                <a:gd name="connsiteY2" fmla="*/ 0 h 4543877"/>
                <a:gd name="connsiteX3" fmla="*/ 0 w 1126367"/>
                <a:gd name="connsiteY3" fmla="*/ 643141 h 4543877"/>
                <a:gd name="connsiteX4" fmla="*/ 0 w 1126367"/>
                <a:gd name="connsiteY4" fmla="*/ 3897687 h 4543877"/>
                <a:gd name="connsiteX0" fmla="*/ 0 w 1126367"/>
                <a:gd name="connsiteY0" fmla="*/ 3107799 h 4543877"/>
                <a:gd name="connsiteX1" fmla="*/ 1126368 w 1126367"/>
                <a:gd name="connsiteY1" fmla="*/ 4543878 h 4543877"/>
                <a:gd name="connsiteX2" fmla="*/ 1126368 w 1126367"/>
                <a:gd name="connsiteY2" fmla="*/ 0 h 4543877"/>
                <a:gd name="connsiteX3" fmla="*/ 0 w 1126367"/>
                <a:gd name="connsiteY3" fmla="*/ 643141 h 4543877"/>
                <a:gd name="connsiteX4" fmla="*/ 0 w 1126367"/>
                <a:gd name="connsiteY4" fmla="*/ 3107799 h 4543877"/>
                <a:gd name="connsiteX0" fmla="*/ 0 w 1126367"/>
                <a:gd name="connsiteY0" fmla="*/ 3107799 h 3809418"/>
                <a:gd name="connsiteX1" fmla="*/ 1126367 w 1126367"/>
                <a:gd name="connsiteY1" fmla="*/ 3809418 h 3809418"/>
                <a:gd name="connsiteX2" fmla="*/ 1126368 w 1126367"/>
                <a:gd name="connsiteY2" fmla="*/ 0 h 3809418"/>
                <a:gd name="connsiteX3" fmla="*/ 0 w 1126367"/>
                <a:gd name="connsiteY3" fmla="*/ 643141 h 3809418"/>
                <a:gd name="connsiteX4" fmla="*/ 0 w 1126367"/>
                <a:gd name="connsiteY4" fmla="*/ 3107799 h 380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6367" h="3809418">
                  <a:moveTo>
                    <a:pt x="0" y="3107799"/>
                  </a:moveTo>
                  <a:lnTo>
                    <a:pt x="1126367" y="3809418"/>
                  </a:lnTo>
                  <a:cubicBezTo>
                    <a:pt x="1126367" y="2539612"/>
                    <a:pt x="1126368" y="1269806"/>
                    <a:pt x="1126368" y="0"/>
                  </a:cubicBezTo>
                  <a:lnTo>
                    <a:pt x="0" y="643141"/>
                  </a:lnTo>
                  <a:lnTo>
                    <a:pt x="0" y="3107799"/>
                  </a:lnTo>
                  <a:close/>
                </a:path>
              </a:pathLst>
            </a:custGeom>
            <a:solidFill>
              <a:srgbClr val="333353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3" name="Freihandform: Form 3282">
              <a:extLst>
                <a:ext uri="{FF2B5EF4-FFF2-40B4-BE49-F238E27FC236}">
                  <a16:creationId xmlns:a16="http://schemas.microsoft.com/office/drawing/2014/main" id="{408A004F-F1F0-9DA0-54FA-A79EC003F080}"/>
                </a:ext>
              </a:extLst>
            </p:cNvPr>
            <p:cNvSpPr/>
            <p:nvPr/>
          </p:nvSpPr>
          <p:spPr>
            <a:xfrm>
              <a:off x="9667241" y="3463928"/>
              <a:ext cx="230399" cy="675928"/>
            </a:xfrm>
            <a:custGeom>
              <a:avLst/>
              <a:gdLst>
                <a:gd name="connsiteX0" fmla="*/ 1116969 w 1127301"/>
                <a:gd name="connsiteY0" fmla="*/ 3904099 h 4554335"/>
                <a:gd name="connsiteX1" fmla="*/ 0 w 1127301"/>
                <a:gd name="connsiteY1" fmla="*/ 4554336 h 4554335"/>
                <a:gd name="connsiteX2" fmla="*/ 0 w 1127301"/>
                <a:gd name="connsiteY2" fmla="*/ 0 h 4554335"/>
                <a:gd name="connsiteX3" fmla="*/ 1127302 w 1127301"/>
                <a:gd name="connsiteY3" fmla="*/ 644635 h 4554335"/>
                <a:gd name="connsiteX4" fmla="*/ 1116969 w 1127301"/>
                <a:gd name="connsiteY4" fmla="*/ 3904099 h 4554335"/>
                <a:gd name="connsiteX0" fmla="*/ 1128770 w 1139102"/>
                <a:gd name="connsiteY0" fmla="*/ 3904099 h 3904100"/>
                <a:gd name="connsiteX1" fmla="*/ 0 w 1139102"/>
                <a:gd name="connsiteY1" fmla="*/ 3448723 h 3904100"/>
                <a:gd name="connsiteX2" fmla="*/ 11801 w 1139102"/>
                <a:gd name="connsiteY2" fmla="*/ 0 h 3904100"/>
                <a:gd name="connsiteX3" fmla="*/ 1139103 w 1139102"/>
                <a:gd name="connsiteY3" fmla="*/ 644635 h 3904100"/>
                <a:gd name="connsiteX4" fmla="*/ 1128770 w 1139102"/>
                <a:gd name="connsiteY4" fmla="*/ 3904099 h 3904100"/>
                <a:gd name="connsiteX0" fmla="*/ 1140563 w 1141416"/>
                <a:gd name="connsiteY0" fmla="*/ 2834933 h 3448723"/>
                <a:gd name="connsiteX1" fmla="*/ 0 w 1141416"/>
                <a:gd name="connsiteY1" fmla="*/ 3448723 h 3448723"/>
                <a:gd name="connsiteX2" fmla="*/ 11801 w 1141416"/>
                <a:gd name="connsiteY2" fmla="*/ 0 h 3448723"/>
                <a:gd name="connsiteX3" fmla="*/ 1139103 w 1141416"/>
                <a:gd name="connsiteY3" fmla="*/ 644635 h 3448723"/>
                <a:gd name="connsiteX4" fmla="*/ 1140563 w 1141416"/>
                <a:gd name="connsiteY4" fmla="*/ 2834933 h 344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416" h="3448723">
                  <a:moveTo>
                    <a:pt x="1140563" y="2834933"/>
                  </a:moveTo>
                  <a:lnTo>
                    <a:pt x="0" y="3448723"/>
                  </a:lnTo>
                  <a:cubicBezTo>
                    <a:pt x="3934" y="2299149"/>
                    <a:pt x="7867" y="1149574"/>
                    <a:pt x="11801" y="0"/>
                  </a:cubicBezTo>
                  <a:lnTo>
                    <a:pt x="1139103" y="644635"/>
                  </a:lnTo>
                  <a:cubicBezTo>
                    <a:pt x="1135659" y="1731123"/>
                    <a:pt x="1144007" y="1748445"/>
                    <a:pt x="1140563" y="2834933"/>
                  </a:cubicBezTo>
                  <a:close/>
                </a:path>
              </a:pathLst>
            </a:custGeom>
            <a:solidFill>
              <a:srgbClr val="333353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4" name="Freihandform: Form 3283">
              <a:extLst>
                <a:ext uri="{FF2B5EF4-FFF2-40B4-BE49-F238E27FC236}">
                  <a16:creationId xmlns:a16="http://schemas.microsoft.com/office/drawing/2014/main" id="{6090D050-5E18-0712-C125-F54AD1DB329F}"/>
                </a:ext>
              </a:extLst>
            </p:cNvPr>
            <p:cNvSpPr/>
            <p:nvPr/>
          </p:nvSpPr>
          <p:spPr>
            <a:xfrm>
              <a:off x="9442261" y="3841871"/>
              <a:ext cx="454913" cy="261929"/>
            </a:xfrm>
            <a:custGeom>
              <a:avLst/>
              <a:gdLst>
                <a:gd name="connsiteX0" fmla="*/ 1126804 w 2253669"/>
                <a:gd name="connsiteY0" fmla="*/ 0 h 1297610"/>
                <a:gd name="connsiteX1" fmla="*/ 2253670 w 2253669"/>
                <a:gd name="connsiteY1" fmla="*/ 647000 h 1297610"/>
                <a:gd name="connsiteX2" fmla="*/ 1126804 w 2253669"/>
                <a:gd name="connsiteY2" fmla="*/ 1297611 h 1297610"/>
                <a:gd name="connsiteX3" fmla="*/ 0 w 2253669"/>
                <a:gd name="connsiteY3" fmla="*/ 647000 h 1297610"/>
                <a:gd name="connsiteX4" fmla="*/ 1126804 w 2253669"/>
                <a:gd name="connsiteY4" fmla="*/ 0 h 1297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69" h="1297610">
                  <a:moveTo>
                    <a:pt x="1126804" y="0"/>
                  </a:moveTo>
                  <a:lnTo>
                    <a:pt x="2253670" y="647000"/>
                  </a:lnTo>
                  <a:lnTo>
                    <a:pt x="1126804" y="1297611"/>
                  </a:lnTo>
                  <a:lnTo>
                    <a:pt x="0" y="64700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5" name="Freihandform: Form 3284">
              <a:extLst>
                <a:ext uri="{FF2B5EF4-FFF2-40B4-BE49-F238E27FC236}">
                  <a16:creationId xmlns:a16="http://schemas.microsoft.com/office/drawing/2014/main" id="{9178FDA9-1BEB-E1F6-D0E2-BC077A5E8E75}"/>
                </a:ext>
              </a:extLst>
            </p:cNvPr>
            <p:cNvSpPr/>
            <p:nvPr/>
          </p:nvSpPr>
          <p:spPr>
            <a:xfrm>
              <a:off x="9442261" y="3742645"/>
              <a:ext cx="454900" cy="262658"/>
            </a:xfrm>
            <a:custGeom>
              <a:avLst/>
              <a:gdLst>
                <a:gd name="connsiteX0" fmla="*/ 1126804 w 2253607"/>
                <a:gd name="connsiteY0" fmla="*/ 0 h 1301220"/>
                <a:gd name="connsiteX1" fmla="*/ 2253608 w 2253607"/>
                <a:gd name="connsiteY1" fmla="*/ 650610 h 1301220"/>
                <a:gd name="connsiteX2" fmla="*/ 1126804 w 2253607"/>
                <a:gd name="connsiteY2" fmla="*/ 1301221 h 1301220"/>
                <a:gd name="connsiteX3" fmla="*/ 0 w 2253607"/>
                <a:gd name="connsiteY3" fmla="*/ 650610 h 1301220"/>
                <a:gd name="connsiteX4" fmla="*/ 1126804 w 2253607"/>
                <a:gd name="connsiteY4" fmla="*/ 0 h 130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1220">
                  <a:moveTo>
                    <a:pt x="1126804" y="0"/>
                  </a:moveTo>
                  <a:lnTo>
                    <a:pt x="2253608" y="650610"/>
                  </a:lnTo>
                  <a:lnTo>
                    <a:pt x="1126804" y="1301221"/>
                  </a:lnTo>
                  <a:lnTo>
                    <a:pt x="0" y="65061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6" name="Freihandform: Form 3285">
              <a:extLst>
                <a:ext uri="{FF2B5EF4-FFF2-40B4-BE49-F238E27FC236}">
                  <a16:creationId xmlns:a16="http://schemas.microsoft.com/office/drawing/2014/main" id="{D1FBF94B-951C-2575-602B-DB3610EB20BE}"/>
                </a:ext>
              </a:extLst>
            </p:cNvPr>
            <p:cNvSpPr/>
            <p:nvPr/>
          </p:nvSpPr>
          <p:spPr>
            <a:xfrm>
              <a:off x="9442261" y="3627739"/>
              <a:ext cx="454900" cy="262658"/>
            </a:xfrm>
            <a:custGeom>
              <a:avLst/>
              <a:gdLst>
                <a:gd name="connsiteX0" fmla="*/ 1126804 w 2253607"/>
                <a:gd name="connsiteY0" fmla="*/ 0 h 1301220"/>
                <a:gd name="connsiteX1" fmla="*/ 2253608 w 2253607"/>
                <a:gd name="connsiteY1" fmla="*/ 650611 h 1301220"/>
                <a:gd name="connsiteX2" fmla="*/ 1126866 w 2253607"/>
                <a:gd name="connsiteY2" fmla="*/ 1301221 h 1301220"/>
                <a:gd name="connsiteX3" fmla="*/ 0 w 2253607"/>
                <a:gd name="connsiteY3" fmla="*/ 650611 h 1301220"/>
                <a:gd name="connsiteX4" fmla="*/ 1126804 w 2253607"/>
                <a:gd name="connsiteY4" fmla="*/ 0 h 130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1220">
                  <a:moveTo>
                    <a:pt x="1126804" y="0"/>
                  </a:moveTo>
                  <a:lnTo>
                    <a:pt x="2253608" y="650611"/>
                  </a:lnTo>
                  <a:lnTo>
                    <a:pt x="1126866" y="1301221"/>
                  </a:lnTo>
                  <a:lnTo>
                    <a:pt x="0" y="650611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7" name="Freihandform: Form 3286">
              <a:extLst>
                <a:ext uri="{FF2B5EF4-FFF2-40B4-BE49-F238E27FC236}">
                  <a16:creationId xmlns:a16="http://schemas.microsoft.com/office/drawing/2014/main" id="{1697671A-B214-DBFF-7F83-B9D1183E6333}"/>
                </a:ext>
              </a:extLst>
            </p:cNvPr>
            <p:cNvSpPr/>
            <p:nvPr/>
          </p:nvSpPr>
          <p:spPr>
            <a:xfrm>
              <a:off x="9669712" y="3643418"/>
              <a:ext cx="227463" cy="608132"/>
            </a:xfrm>
            <a:custGeom>
              <a:avLst/>
              <a:gdLst>
                <a:gd name="connsiteX0" fmla="*/ 1126866 w 1126866"/>
                <a:gd name="connsiteY0" fmla="*/ 0 h 3663325"/>
                <a:gd name="connsiteX1" fmla="*/ 1126866 w 1126866"/>
                <a:gd name="connsiteY1" fmla="*/ 241769 h 3663325"/>
                <a:gd name="connsiteX2" fmla="*/ 62 w 1126866"/>
                <a:gd name="connsiteY2" fmla="*/ 892380 h 3663325"/>
                <a:gd name="connsiteX3" fmla="*/ 62 w 1126866"/>
                <a:gd name="connsiteY3" fmla="*/ 650610 h 3663325"/>
                <a:gd name="connsiteX4" fmla="*/ 1126866 w 1126866"/>
                <a:gd name="connsiteY4" fmla="*/ 0 h 3663325"/>
                <a:gd name="connsiteX5" fmla="*/ 0 w 1126866"/>
                <a:gd name="connsiteY5" fmla="*/ 1463873 h 3663325"/>
                <a:gd name="connsiteX6" fmla="*/ 1126804 w 1126866"/>
                <a:gd name="connsiteY6" fmla="*/ 813263 h 3663325"/>
                <a:gd name="connsiteX7" fmla="*/ 1126804 w 1126866"/>
                <a:gd name="connsiteY7" fmla="*/ 569253 h 3663325"/>
                <a:gd name="connsiteX8" fmla="*/ 0 w 1126866"/>
                <a:gd name="connsiteY8" fmla="*/ 1219864 h 3663325"/>
                <a:gd name="connsiteX9" fmla="*/ 0 w 1126866"/>
                <a:gd name="connsiteY9" fmla="*/ 1463811 h 3663325"/>
                <a:gd name="connsiteX10" fmla="*/ 0 w 1126866"/>
                <a:gd name="connsiteY10" fmla="*/ 2033189 h 3663325"/>
                <a:gd name="connsiteX11" fmla="*/ 1126804 w 1126866"/>
                <a:gd name="connsiteY11" fmla="*/ 1382578 h 3663325"/>
                <a:gd name="connsiteX12" fmla="*/ 1126804 w 1126866"/>
                <a:gd name="connsiteY12" fmla="*/ 1138568 h 3663325"/>
                <a:gd name="connsiteX13" fmla="*/ 0 w 1126866"/>
                <a:gd name="connsiteY13" fmla="*/ 1789179 h 3663325"/>
                <a:gd name="connsiteX14" fmla="*/ 0 w 1126866"/>
                <a:gd name="connsiteY14" fmla="*/ 2033126 h 3663325"/>
                <a:gd name="connsiteX15" fmla="*/ 0 w 1126866"/>
                <a:gd name="connsiteY15" fmla="*/ 2524757 h 3663325"/>
                <a:gd name="connsiteX16" fmla="*/ 1126804 w 1126866"/>
                <a:gd name="connsiteY16" fmla="*/ 1874147 h 3663325"/>
                <a:gd name="connsiteX17" fmla="*/ 1126804 w 1126866"/>
                <a:gd name="connsiteY17" fmla="*/ 1630137 h 3663325"/>
                <a:gd name="connsiteX18" fmla="*/ 0 w 1126866"/>
                <a:gd name="connsiteY18" fmla="*/ 2280747 h 3663325"/>
                <a:gd name="connsiteX19" fmla="*/ 0 w 1126866"/>
                <a:gd name="connsiteY19" fmla="*/ 2524757 h 3663325"/>
                <a:gd name="connsiteX20" fmla="*/ 0 w 1126866"/>
                <a:gd name="connsiteY20" fmla="*/ 3094072 h 3663325"/>
                <a:gd name="connsiteX21" fmla="*/ 1126306 w 1126866"/>
                <a:gd name="connsiteY21" fmla="*/ 2443337 h 3663325"/>
                <a:gd name="connsiteX22" fmla="*/ 1126804 w 1126866"/>
                <a:gd name="connsiteY22" fmla="*/ 2199514 h 3663325"/>
                <a:gd name="connsiteX23" fmla="*/ 0 w 1126866"/>
                <a:gd name="connsiteY23" fmla="*/ 2850124 h 3663325"/>
                <a:gd name="connsiteX24" fmla="*/ 0 w 1126866"/>
                <a:gd name="connsiteY24" fmla="*/ 3094134 h 3663325"/>
                <a:gd name="connsiteX25" fmla="*/ 0 w 1126866"/>
                <a:gd name="connsiteY25" fmla="*/ 3663325 h 3663325"/>
                <a:gd name="connsiteX26" fmla="*/ 1126804 w 1126866"/>
                <a:gd name="connsiteY26" fmla="*/ 3012715 h 3663325"/>
                <a:gd name="connsiteX27" fmla="*/ 1126804 w 1126866"/>
                <a:gd name="connsiteY27" fmla="*/ 2768705 h 3663325"/>
                <a:gd name="connsiteX28" fmla="*/ 0 w 1126866"/>
                <a:gd name="connsiteY28" fmla="*/ 3419315 h 3663325"/>
                <a:gd name="connsiteX29" fmla="*/ 0 w 1126866"/>
                <a:gd name="connsiteY29" fmla="*/ 3663325 h 3663325"/>
                <a:gd name="connsiteX0" fmla="*/ 1126866 w 1126866"/>
                <a:gd name="connsiteY0" fmla="*/ 0 h 3419313"/>
                <a:gd name="connsiteX1" fmla="*/ 1126866 w 1126866"/>
                <a:gd name="connsiteY1" fmla="*/ 241769 h 3419313"/>
                <a:gd name="connsiteX2" fmla="*/ 62 w 1126866"/>
                <a:gd name="connsiteY2" fmla="*/ 892380 h 3419313"/>
                <a:gd name="connsiteX3" fmla="*/ 62 w 1126866"/>
                <a:gd name="connsiteY3" fmla="*/ 650610 h 3419313"/>
                <a:gd name="connsiteX4" fmla="*/ 1126866 w 1126866"/>
                <a:gd name="connsiteY4" fmla="*/ 0 h 3419313"/>
                <a:gd name="connsiteX5" fmla="*/ 0 w 1126866"/>
                <a:gd name="connsiteY5" fmla="*/ 1463873 h 3419313"/>
                <a:gd name="connsiteX6" fmla="*/ 1126804 w 1126866"/>
                <a:gd name="connsiteY6" fmla="*/ 813263 h 3419313"/>
                <a:gd name="connsiteX7" fmla="*/ 1126804 w 1126866"/>
                <a:gd name="connsiteY7" fmla="*/ 569253 h 3419313"/>
                <a:gd name="connsiteX8" fmla="*/ 0 w 1126866"/>
                <a:gd name="connsiteY8" fmla="*/ 1219864 h 3419313"/>
                <a:gd name="connsiteX9" fmla="*/ 0 w 1126866"/>
                <a:gd name="connsiteY9" fmla="*/ 1463811 h 3419313"/>
                <a:gd name="connsiteX10" fmla="*/ 0 w 1126866"/>
                <a:gd name="connsiteY10" fmla="*/ 1463873 h 3419313"/>
                <a:gd name="connsiteX11" fmla="*/ 0 w 1126866"/>
                <a:gd name="connsiteY11" fmla="*/ 2033189 h 3419313"/>
                <a:gd name="connsiteX12" fmla="*/ 1126804 w 1126866"/>
                <a:gd name="connsiteY12" fmla="*/ 1382578 h 3419313"/>
                <a:gd name="connsiteX13" fmla="*/ 1126804 w 1126866"/>
                <a:gd name="connsiteY13" fmla="*/ 1138568 h 3419313"/>
                <a:gd name="connsiteX14" fmla="*/ 0 w 1126866"/>
                <a:gd name="connsiteY14" fmla="*/ 1789179 h 3419313"/>
                <a:gd name="connsiteX15" fmla="*/ 0 w 1126866"/>
                <a:gd name="connsiteY15" fmla="*/ 2033126 h 3419313"/>
                <a:gd name="connsiteX16" fmla="*/ 0 w 1126866"/>
                <a:gd name="connsiteY16" fmla="*/ 2033189 h 3419313"/>
                <a:gd name="connsiteX17" fmla="*/ 0 w 1126866"/>
                <a:gd name="connsiteY17" fmla="*/ 2524757 h 3419313"/>
                <a:gd name="connsiteX18" fmla="*/ 1126804 w 1126866"/>
                <a:gd name="connsiteY18" fmla="*/ 1874147 h 3419313"/>
                <a:gd name="connsiteX19" fmla="*/ 1126804 w 1126866"/>
                <a:gd name="connsiteY19" fmla="*/ 1630137 h 3419313"/>
                <a:gd name="connsiteX20" fmla="*/ 0 w 1126866"/>
                <a:gd name="connsiteY20" fmla="*/ 2280747 h 3419313"/>
                <a:gd name="connsiteX21" fmla="*/ 0 w 1126866"/>
                <a:gd name="connsiteY21" fmla="*/ 2524757 h 3419313"/>
                <a:gd name="connsiteX22" fmla="*/ 0 w 1126866"/>
                <a:gd name="connsiteY22" fmla="*/ 3094072 h 3419313"/>
                <a:gd name="connsiteX23" fmla="*/ 1126306 w 1126866"/>
                <a:gd name="connsiteY23" fmla="*/ 2443337 h 3419313"/>
                <a:gd name="connsiteX24" fmla="*/ 1126804 w 1126866"/>
                <a:gd name="connsiteY24" fmla="*/ 2199514 h 3419313"/>
                <a:gd name="connsiteX25" fmla="*/ 0 w 1126866"/>
                <a:gd name="connsiteY25" fmla="*/ 2850124 h 3419313"/>
                <a:gd name="connsiteX26" fmla="*/ 0 w 1126866"/>
                <a:gd name="connsiteY26" fmla="*/ 3094134 h 3419313"/>
                <a:gd name="connsiteX27" fmla="*/ 0 w 1126866"/>
                <a:gd name="connsiteY27" fmla="*/ 3094072 h 3419313"/>
                <a:gd name="connsiteX28" fmla="*/ 0 w 1126866"/>
                <a:gd name="connsiteY28" fmla="*/ 3419315 h 3419313"/>
                <a:gd name="connsiteX29" fmla="*/ 1126804 w 1126866"/>
                <a:gd name="connsiteY29" fmla="*/ 3012715 h 3419313"/>
                <a:gd name="connsiteX30" fmla="*/ 1126804 w 1126866"/>
                <a:gd name="connsiteY30" fmla="*/ 2768705 h 3419313"/>
                <a:gd name="connsiteX31" fmla="*/ 0 w 1126866"/>
                <a:gd name="connsiteY31" fmla="*/ 3419315 h 3419313"/>
                <a:gd name="connsiteX0" fmla="*/ 1126866 w 1126866"/>
                <a:gd name="connsiteY0" fmla="*/ 0 h 3094134"/>
                <a:gd name="connsiteX1" fmla="*/ 1126866 w 1126866"/>
                <a:gd name="connsiteY1" fmla="*/ 241769 h 3094134"/>
                <a:gd name="connsiteX2" fmla="*/ 62 w 1126866"/>
                <a:gd name="connsiteY2" fmla="*/ 892380 h 3094134"/>
                <a:gd name="connsiteX3" fmla="*/ 62 w 1126866"/>
                <a:gd name="connsiteY3" fmla="*/ 650610 h 3094134"/>
                <a:gd name="connsiteX4" fmla="*/ 1126866 w 1126866"/>
                <a:gd name="connsiteY4" fmla="*/ 0 h 3094134"/>
                <a:gd name="connsiteX5" fmla="*/ 0 w 1126866"/>
                <a:gd name="connsiteY5" fmla="*/ 1463873 h 3094134"/>
                <a:gd name="connsiteX6" fmla="*/ 1126804 w 1126866"/>
                <a:gd name="connsiteY6" fmla="*/ 813263 h 3094134"/>
                <a:gd name="connsiteX7" fmla="*/ 1126804 w 1126866"/>
                <a:gd name="connsiteY7" fmla="*/ 569253 h 3094134"/>
                <a:gd name="connsiteX8" fmla="*/ 0 w 1126866"/>
                <a:gd name="connsiteY8" fmla="*/ 1219864 h 3094134"/>
                <a:gd name="connsiteX9" fmla="*/ 0 w 1126866"/>
                <a:gd name="connsiteY9" fmla="*/ 1463811 h 3094134"/>
                <a:gd name="connsiteX10" fmla="*/ 0 w 1126866"/>
                <a:gd name="connsiteY10" fmla="*/ 1463873 h 3094134"/>
                <a:gd name="connsiteX11" fmla="*/ 0 w 1126866"/>
                <a:gd name="connsiteY11" fmla="*/ 2033189 h 3094134"/>
                <a:gd name="connsiteX12" fmla="*/ 1126804 w 1126866"/>
                <a:gd name="connsiteY12" fmla="*/ 1382578 h 3094134"/>
                <a:gd name="connsiteX13" fmla="*/ 1126804 w 1126866"/>
                <a:gd name="connsiteY13" fmla="*/ 1138568 h 3094134"/>
                <a:gd name="connsiteX14" fmla="*/ 0 w 1126866"/>
                <a:gd name="connsiteY14" fmla="*/ 1789179 h 3094134"/>
                <a:gd name="connsiteX15" fmla="*/ 0 w 1126866"/>
                <a:gd name="connsiteY15" fmla="*/ 2033126 h 3094134"/>
                <a:gd name="connsiteX16" fmla="*/ 0 w 1126866"/>
                <a:gd name="connsiteY16" fmla="*/ 2033189 h 3094134"/>
                <a:gd name="connsiteX17" fmla="*/ 0 w 1126866"/>
                <a:gd name="connsiteY17" fmla="*/ 2524757 h 3094134"/>
                <a:gd name="connsiteX18" fmla="*/ 1126804 w 1126866"/>
                <a:gd name="connsiteY18" fmla="*/ 1874147 h 3094134"/>
                <a:gd name="connsiteX19" fmla="*/ 1126804 w 1126866"/>
                <a:gd name="connsiteY19" fmla="*/ 1630137 h 3094134"/>
                <a:gd name="connsiteX20" fmla="*/ 0 w 1126866"/>
                <a:gd name="connsiteY20" fmla="*/ 2280747 h 3094134"/>
                <a:gd name="connsiteX21" fmla="*/ 0 w 1126866"/>
                <a:gd name="connsiteY21" fmla="*/ 2524757 h 3094134"/>
                <a:gd name="connsiteX22" fmla="*/ 0 w 1126866"/>
                <a:gd name="connsiteY22" fmla="*/ 3094072 h 3094134"/>
                <a:gd name="connsiteX23" fmla="*/ 1126306 w 1126866"/>
                <a:gd name="connsiteY23" fmla="*/ 2443337 h 3094134"/>
                <a:gd name="connsiteX24" fmla="*/ 1126804 w 1126866"/>
                <a:gd name="connsiteY24" fmla="*/ 2199514 h 3094134"/>
                <a:gd name="connsiteX25" fmla="*/ 0 w 1126866"/>
                <a:gd name="connsiteY25" fmla="*/ 2850124 h 3094134"/>
                <a:gd name="connsiteX26" fmla="*/ 0 w 1126866"/>
                <a:gd name="connsiteY26" fmla="*/ 3094134 h 3094134"/>
                <a:gd name="connsiteX27" fmla="*/ 0 w 1126866"/>
                <a:gd name="connsiteY27" fmla="*/ 3094072 h 3094134"/>
                <a:gd name="connsiteX28" fmla="*/ 1126804 w 1126866"/>
                <a:gd name="connsiteY28" fmla="*/ 2768705 h 3094134"/>
                <a:gd name="connsiteX29" fmla="*/ 1126804 w 1126866"/>
                <a:gd name="connsiteY29" fmla="*/ 3012715 h 3094134"/>
                <a:gd name="connsiteX30" fmla="*/ 1126804 w 1126866"/>
                <a:gd name="connsiteY30" fmla="*/ 2768705 h 3094134"/>
                <a:gd name="connsiteX0" fmla="*/ 1126866 w 1126866"/>
                <a:gd name="connsiteY0" fmla="*/ 0 h 3094134"/>
                <a:gd name="connsiteX1" fmla="*/ 1126866 w 1126866"/>
                <a:gd name="connsiteY1" fmla="*/ 241769 h 3094134"/>
                <a:gd name="connsiteX2" fmla="*/ 62 w 1126866"/>
                <a:gd name="connsiteY2" fmla="*/ 892380 h 3094134"/>
                <a:gd name="connsiteX3" fmla="*/ 62 w 1126866"/>
                <a:gd name="connsiteY3" fmla="*/ 650610 h 3094134"/>
                <a:gd name="connsiteX4" fmla="*/ 1126866 w 1126866"/>
                <a:gd name="connsiteY4" fmla="*/ 0 h 3094134"/>
                <a:gd name="connsiteX5" fmla="*/ 0 w 1126866"/>
                <a:gd name="connsiteY5" fmla="*/ 1463873 h 3094134"/>
                <a:gd name="connsiteX6" fmla="*/ 1126804 w 1126866"/>
                <a:gd name="connsiteY6" fmla="*/ 813263 h 3094134"/>
                <a:gd name="connsiteX7" fmla="*/ 1126804 w 1126866"/>
                <a:gd name="connsiteY7" fmla="*/ 569253 h 3094134"/>
                <a:gd name="connsiteX8" fmla="*/ 0 w 1126866"/>
                <a:gd name="connsiteY8" fmla="*/ 1219864 h 3094134"/>
                <a:gd name="connsiteX9" fmla="*/ 0 w 1126866"/>
                <a:gd name="connsiteY9" fmla="*/ 1463811 h 3094134"/>
                <a:gd name="connsiteX10" fmla="*/ 0 w 1126866"/>
                <a:gd name="connsiteY10" fmla="*/ 1463873 h 3094134"/>
                <a:gd name="connsiteX11" fmla="*/ 0 w 1126866"/>
                <a:gd name="connsiteY11" fmla="*/ 2033189 h 3094134"/>
                <a:gd name="connsiteX12" fmla="*/ 1126804 w 1126866"/>
                <a:gd name="connsiteY12" fmla="*/ 1382578 h 3094134"/>
                <a:gd name="connsiteX13" fmla="*/ 1126804 w 1126866"/>
                <a:gd name="connsiteY13" fmla="*/ 1138568 h 3094134"/>
                <a:gd name="connsiteX14" fmla="*/ 0 w 1126866"/>
                <a:gd name="connsiteY14" fmla="*/ 1789179 h 3094134"/>
                <a:gd name="connsiteX15" fmla="*/ 0 w 1126866"/>
                <a:gd name="connsiteY15" fmla="*/ 2033126 h 3094134"/>
                <a:gd name="connsiteX16" fmla="*/ 0 w 1126866"/>
                <a:gd name="connsiteY16" fmla="*/ 2033189 h 3094134"/>
                <a:gd name="connsiteX17" fmla="*/ 0 w 1126866"/>
                <a:gd name="connsiteY17" fmla="*/ 2524757 h 3094134"/>
                <a:gd name="connsiteX18" fmla="*/ 1126804 w 1126866"/>
                <a:gd name="connsiteY18" fmla="*/ 1874147 h 3094134"/>
                <a:gd name="connsiteX19" fmla="*/ 1126804 w 1126866"/>
                <a:gd name="connsiteY19" fmla="*/ 1630137 h 3094134"/>
                <a:gd name="connsiteX20" fmla="*/ 0 w 1126866"/>
                <a:gd name="connsiteY20" fmla="*/ 2280747 h 3094134"/>
                <a:gd name="connsiteX21" fmla="*/ 0 w 1126866"/>
                <a:gd name="connsiteY21" fmla="*/ 2524757 h 3094134"/>
                <a:gd name="connsiteX22" fmla="*/ 0 w 1126866"/>
                <a:gd name="connsiteY22" fmla="*/ 3094072 h 3094134"/>
                <a:gd name="connsiteX23" fmla="*/ 1126306 w 1126866"/>
                <a:gd name="connsiteY23" fmla="*/ 2443337 h 3094134"/>
                <a:gd name="connsiteX24" fmla="*/ 1126804 w 1126866"/>
                <a:gd name="connsiteY24" fmla="*/ 2199514 h 3094134"/>
                <a:gd name="connsiteX25" fmla="*/ 0 w 1126866"/>
                <a:gd name="connsiteY25" fmla="*/ 3094134 h 3094134"/>
                <a:gd name="connsiteX26" fmla="*/ 0 w 1126866"/>
                <a:gd name="connsiteY26" fmla="*/ 3094072 h 3094134"/>
                <a:gd name="connsiteX27" fmla="*/ 1126804 w 1126866"/>
                <a:gd name="connsiteY27" fmla="*/ 2768705 h 3094134"/>
                <a:gd name="connsiteX28" fmla="*/ 1126804 w 1126866"/>
                <a:gd name="connsiteY28" fmla="*/ 3012715 h 3094134"/>
                <a:gd name="connsiteX29" fmla="*/ 1126804 w 1126866"/>
                <a:gd name="connsiteY29" fmla="*/ 2768705 h 3094134"/>
                <a:gd name="connsiteX0" fmla="*/ 1126866 w 1126866"/>
                <a:gd name="connsiteY0" fmla="*/ 0 h 3094134"/>
                <a:gd name="connsiteX1" fmla="*/ 1126866 w 1126866"/>
                <a:gd name="connsiteY1" fmla="*/ 241769 h 3094134"/>
                <a:gd name="connsiteX2" fmla="*/ 62 w 1126866"/>
                <a:gd name="connsiteY2" fmla="*/ 892380 h 3094134"/>
                <a:gd name="connsiteX3" fmla="*/ 62 w 1126866"/>
                <a:gd name="connsiteY3" fmla="*/ 650610 h 3094134"/>
                <a:gd name="connsiteX4" fmla="*/ 1126866 w 1126866"/>
                <a:gd name="connsiteY4" fmla="*/ 0 h 3094134"/>
                <a:gd name="connsiteX5" fmla="*/ 0 w 1126866"/>
                <a:gd name="connsiteY5" fmla="*/ 1463873 h 3094134"/>
                <a:gd name="connsiteX6" fmla="*/ 1126804 w 1126866"/>
                <a:gd name="connsiteY6" fmla="*/ 813263 h 3094134"/>
                <a:gd name="connsiteX7" fmla="*/ 1126804 w 1126866"/>
                <a:gd name="connsiteY7" fmla="*/ 569253 h 3094134"/>
                <a:gd name="connsiteX8" fmla="*/ 0 w 1126866"/>
                <a:gd name="connsiteY8" fmla="*/ 1219864 h 3094134"/>
                <a:gd name="connsiteX9" fmla="*/ 0 w 1126866"/>
                <a:gd name="connsiteY9" fmla="*/ 1463811 h 3094134"/>
                <a:gd name="connsiteX10" fmla="*/ 0 w 1126866"/>
                <a:gd name="connsiteY10" fmla="*/ 1463873 h 3094134"/>
                <a:gd name="connsiteX11" fmla="*/ 0 w 1126866"/>
                <a:gd name="connsiteY11" fmla="*/ 2033189 h 3094134"/>
                <a:gd name="connsiteX12" fmla="*/ 1126804 w 1126866"/>
                <a:gd name="connsiteY12" fmla="*/ 1382578 h 3094134"/>
                <a:gd name="connsiteX13" fmla="*/ 1126804 w 1126866"/>
                <a:gd name="connsiteY13" fmla="*/ 1138568 h 3094134"/>
                <a:gd name="connsiteX14" fmla="*/ 0 w 1126866"/>
                <a:gd name="connsiteY14" fmla="*/ 1789179 h 3094134"/>
                <a:gd name="connsiteX15" fmla="*/ 0 w 1126866"/>
                <a:gd name="connsiteY15" fmla="*/ 2033126 h 3094134"/>
                <a:gd name="connsiteX16" fmla="*/ 0 w 1126866"/>
                <a:gd name="connsiteY16" fmla="*/ 2033189 h 3094134"/>
                <a:gd name="connsiteX17" fmla="*/ 0 w 1126866"/>
                <a:gd name="connsiteY17" fmla="*/ 2524757 h 3094134"/>
                <a:gd name="connsiteX18" fmla="*/ 1126804 w 1126866"/>
                <a:gd name="connsiteY18" fmla="*/ 1874147 h 3094134"/>
                <a:gd name="connsiteX19" fmla="*/ 1126804 w 1126866"/>
                <a:gd name="connsiteY19" fmla="*/ 1630137 h 3094134"/>
                <a:gd name="connsiteX20" fmla="*/ 0 w 1126866"/>
                <a:gd name="connsiteY20" fmla="*/ 2280747 h 3094134"/>
                <a:gd name="connsiteX21" fmla="*/ 0 w 1126866"/>
                <a:gd name="connsiteY21" fmla="*/ 2524757 h 3094134"/>
                <a:gd name="connsiteX22" fmla="*/ 0 w 1126866"/>
                <a:gd name="connsiteY22" fmla="*/ 3094134 h 3094134"/>
                <a:gd name="connsiteX23" fmla="*/ 1126306 w 1126866"/>
                <a:gd name="connsiteY23" fmla="*/ 2443337 h 3094134"/>
                <a:gd name="connsiteX24" fmla="*/ 1126804 w 1126866"/>
                <a:gd name="connsiteY24" fmla="*/ 2199514 h 3094134"/>
                <a:gd name="connsiteX25" fmla="*/ 0 w 1126866"/>
                <a:gd name="connsiteY25" fmla="*/ 3094134 h 3094134"/>
                <a:gd name="connsiteX26" fmla="*/ 1126804 w 1126866"/>
                <a:gd name="connsiteY26" fmla="*/ 2768705 h 3094134"/>
                <a:gd name="connsiteX27" fmla="*/ 1126804 w 1126866"/>
                <a:gd name="connsiteY27" fmla="*/ 3012715 h 3094134"/>
                <a:gd name="connsiteX28" fmla="*/ 1126804 w 1126866"/>
                <a:gd name="connsiteY28" fmla="*/ 2768705 h 3094134"/>
                <a:gd name="connsiteX0" fmla="*/ 1126866 w 1126866"/>
                <a:gd name="connsiteY0" fmla="*/ 0 h 3012714"/>
                <a:gd name="connsiteX1" fmla="*/ 1126866 w 1126866"/>
                <a:gd name="connsiteY1" fmla="*/ 241769 h 3012714"/>
                <a:gd name="connsiteX2" fmla="*/ 62 w 1126866"/>
                <a:gd name="connsiteY2" fmla="*/ 892380 h 3012714"/>
                <a:gd name="connsiteX3" fmla="*/ 62 w 1126866"/>
                <a:gd name="connsiteY3" fmla="*/ 650610 h 3012714"/>
                <a:gd name="connsiteX4" fmla="*/ 1126866 w 1126866"/>
                <a:gd name="connsiteY4" fmla="*/ 0 h 3012714"/>
                <a:gd name="connsiteX5" fmla="*/ 0 w 1126866"/>
                <a:gd name="connsiteY5" fmla="*/ 1463873 h 3012714"/>
                <a:gd name="connsiteX6" fmla="*/ 1126804 w 1126866"/>
                <a:gd name="connsiteY6" fmla="*/ 813263 h 3012714"/>
                <a:gd name="connsiteX7" fmla="*/ 1126804 w 1126866"/>
                <a:gd name="connsiteY7" fmla="*/ 569253 h 3012714"/>
                <a:gd name="connsiteX8" fmla="*/ 0 w 1126866"/>
                <a:gd name="connsiteY8" fmla="*/ 1219864 h 3012714"/>
                <a:gd name="connsiteX9" fmla="*/ 0 w 1126866"/>
                <a:gd name="connsiteY9" fmla="*/ 1463811 h 3012714"/>
                <a:gd name="connsiteX10" fmla="*/ 0 w 1126866"/>
                <a:gd name="connsiteY10" fmla="*/ 1463873 h 3012714"/>
                <a:gd name="connsiteX11" fmla="*/ 0 w 1126866"/>
                <a:gd name="connsiteY11" fmla="*/ 2033189 h 3012714"/>
                <a:gd name="connsiteX12" fmla="*/ 1126804 w 1126866"/>
                <a:gd name="connsiteY12" fmla="*/ 1382578 h 3012714"/>
                <a:gd name="connsiteX13" fmla="*/ 1126804 w 1126866"/>
                <a:gd name="connsiteY13" fmla="*/ 1138568 h 3012714"/>
                <a:gd name="connsiteX14" fmla="*/ 0 w 1126866"/>
                <a:gd name="connsiteY14" fmla="*/ 1789179 h 3012714"/>
                <a:gd name="connsiteX15" fmla="*/ 0 w 1126866"/>
                <a:gd name="connsiteY15" fmla="*/ 2033126 h 3012714"/>
                <a:gd name="connsiteX16" fmla="*/ 0 w 1126866"/>
                <a:gd name="connsiteY16" fmla="*/ 2033189 h 3012714"/>
                <a:gd name="connsiteX17" fmla="*/ 0 w 1126866"/>
                <a:gd name="connsiteY17" fmla="*/ 2524757 h 3012714"/>
                <a:gd name="connsiteX18" fmla="*/ 1126804 w 1126866"/>
                <a:gd name="connsiteY18" fmla="*/ 1874147 h 3012714"/>
                <a:gd name="connsiteX19" fmla="*/ 1126804 w 1126866"/>
                <a:gd name="connsiteY19" fmla="*/ 1630137 h 3012714"/>
                <a:gd name="connsiteX20" fmla="*/ 0 w 1126866"/>
                <a:gd name="connsiteY20" fmla="*/ 2280747 h 3012714"/>
                <a:gd name="connsiteX21" fmla="*/ 0 w 1126866"/>
                <a:gd name="connsiteY21" fmla="*/ 2524757 h 3012714"/>
                <a:gd name="connsiteX22" fmla="*/ 1126804 w 1126866"/>
                <a:gd name="connsiteY22" fmla="*/ 2199514 h 3012714"/>
                <a:gd name="connsiteX23" fmla="*/ 1126306 w 1126866"/>
                <a:gd name="connsiteY23" fmla="*/ 2443337 h 3012714"/>
                <a:gd name="connsiteX24" fmla="*/ 1126804 w 1126866"/>
                <a:gd name="connsiteY24" fmla="*/ 2199514 h 3012714"/>
                <a:gd name="connsiteX25" fmla="*/ 1126804 w 1126866"/>
                <a:gd name="connsiteY25" fmla="*/ 2768705 h 3012714"/>
                <a:gd name="connsiteX26" fmla="*/ 1126804 w 1126866"/>
                <a:gd name="connsiteY26" fmla="*/ 3012715 h 3012714"/>
                <a:gd name="connsiteX27" fmla="*/ 1126804 w 1126866"/>
                <a:gd name="connsiteY27" fmla="*/ 2768705 h 3012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126866" h="3012714">
                  <a:moveTo>
                    <a:pt x="1126866" y="0"/>
                  </a:moveTo>
                  <a:lnTo>
                    <a:pt x="1126866" y="241769"/>
                  </a:lnTo>
                  <a:lnTo>
                    <a:pt x="62" y="892380"/>
                  </a:lnTo>
                  <a:lnTo>
                    <a:pt x="62" y="650610"/>
                  </a:lnTo>
                  <a:lnTo>
                    <a:pt x="1126866" y="0"/>
                  </a:lnTo>
                  <a:close/>
                  <a:moveTo>
                    <a:pt x="0" y="1463873"/>
                  </a:moveTo>
                  <a:lnTo>
                    <a:pt x="1126804" y="813263"/>
                  </a:lnTo>
                  <a:lnTo>
                    <a:pt x="1126804" y="569253"/>
                  </a:lnTo>
                  <a:lnTo>
                    <a:pt x="0" y="1219864"/>
                  </a:lnTo>
                  <a:lnTo>
                    <a:pt x="0" y="1463811"/>
                  </a:lnTo>
                  <a:lnTo>
                    <a:pt x="0" y="1463873"/>
                  </a:lnTo>
                  <a:close/>
                  <a:moveTo>
                    <a:pt x="0" y="2033189"/>
                  </a:moveTo>
                  <a:lnTo>
                    <a:pt x="1126804" y="1382578"/>
                  </a:lnTo>
                  <a:lnTo>
                    <a:pt x="1126804" y="1138568"/>
                  </a:lnTo>
                  <a:lnTo>
                    <a:pt x="0" y="1789179"/>
                  </a:lnTo>
                  <a:lnTo>
                    <a:pt x="0" y="2033126"/>
                  </a:lnTo>
                  <a:lnTo>
                    <a:pt x="0" y="2033189"/>
                  </a:lnTo>
                  <a:close/>
                  <a:moveTo>
                    <a:pt x="0" y="2524757"/>
                  </a:moveTo>
                  <a:lnTo>
                    <a:pt x="1126804" y="1874147"/>
                  </a:lnTo>
                  <a:lnTo>
                    <a:pt x="1126804" y="1630137"/>
                  </a:lnTo>
                  <a:lnTo>
                    <a:pt x="0" y="2280747"/>
                  </a:lnTo>
                  <a:lnTo>
                    <a:pt x="0" y="2524757"/>
                  </a:lnTo>
                  <a:close/>
                  <a:moveTo>
                    <a:pt x="1126804" y="2199514"/>
                  </a:moveTo>
                  <a:lnTo>
                    <a:pt x="1126306" y="2443337"/>
                  </a:lnTo>
                  <a:lnTo>
                    <a:pt x="1126804" y="2199514"/>
                  </a:lnTo>
                  <a:close/>
                  <a:moveTo>
                    <a:pt x="1126804" y="2768705"/>
                  </a:moveTo>
                  <a:lnTo>
                    <a:pt x="1126804" y="3012715"/>
                  </a:lnTo>
                  <a:lnTo>
                    <a:pt x="1126804" y="2768705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8" name="Freihandform: Form 3287">
              <a:extLst>
                <a:ext uri="{FF2B5EF4-FFF2-40B4-BE49-F238E27FC236}">
                  <a16:creationId xmlns:a16="http://schemas.microsoft.com/office/drawing/2014/main" id="{BC89E12A-C189-FCAD-D120-5A280B763994}"/>
                </a:ext>
              </a:extLst>
            </p:cNvPr>
            <p:cNvSpPr/>
            <p:nvPr/>
          </p:nvSpPr>
          <p:spPr>
            <a:xfrm>
              <a:off x="9442237" y="3644161"/>
              <a:ext cx="227475" cy="738708"/>
            </a:xfrm>
            <a:custGeom>
              <a:avLst/>
              <a:gdLst>
                <a:gd name="connsiteX0" fmla="*/ 1127053 w 1127052"/>
                <a:gd name="connsiteY0" fmla="*/ 650548 h 3659590"/>
                <a:gd name="connsiteX1" fmla="*/ 1127053 w 1127052"/>
                <a:gd name="connsiteY1" fmla="*/ 894558 h 3659590"/>
                <a:gd name="connsiteX2" fmla="*/ 249 w 1127052"/>
                <a:gd name="connsiteY2" fmla="*/ 243948 h 3659590"/>
                <a:gd name="connsiteX3" fmla="*/ 249 w 1127052"/>
                <a:gd name="connsiteY3" fmla="*/ 0 h 3659590"/>
                <a:gd name="connsiteX4" fmla="*/ 1127053 w 1127052"/>
                <a:gd name="connsiteY4" fmla="*/ 650610 h 3659590"/>
                <a:gd name="connsiteX5" fmla="*/ 1127053 w 1127052"/>
                <a:gd name="connsiteY5" fmla="*/ 1219864 h 3659590"/>
                <a:gd name="connsiteX6" fmla="*/ 249 w 1127052"/>
                <a:gd name="connsiteY6" fmla="*/ 569253 h 3659590"/>
                <a:gd name="connsiteX7" fmla="*/ 249 w 1127052"/>
                <a:gd name="connsiteY7" fmla="*/ 813263 h 3659590"/>
                <a:gd name="connsiteX8" fmla="*/ 1127053 w 1127052"/>
                <a:gd name="connsiteY8" fmla="*/ 1463873 h 3659590"/>
                <a:gd name="connsiteX9" fmla="*/ 1127053 w 1127052"/>
                <a:gd name="connsiteY9" fmla="*/ 1219926 h 3659590"/>
                <a:gd name="connsiteX10" fmla="*/ 1127053 w 1127052"/>
                <a:gd name="connsiteY10" fmla="*/ 1789116 h 3659590"/>
                <a:gd name="connsiteX11" fmla="*/ 373 w 1127052"/>
                <a:gd name="connsiteY11" fmla="*/ 1138630 h 3659590"/>
                <a:gd name="connsiteX12" fmla="*/ 249 w 1127052"/>
                <a:gd name="connsiteY12" fmla="*/ 1380088 h 3659590"/>
                <a:gd name="connsiteX13" fmla="*/ 1127053 w 1127052"/>
                <a:gd name="connsiteY13" fmla="*/ 2033127 h 3659590"/>
                <a:gd name="connsiteX14" fmla="*/ 1127053 w 1127052"/>
                <a:gd name="connsiteY14" fmla="*/ 1789179 h 3659590"/>
                <a:gd name="connsiteX15" fmla="*/ 1127053 w 1127052"/>
                <a:gd name="connsiteY15" fmla="*/ 2277074 h 3659590"/>
                <a:gd name="connsiteX16" fmla="*/ 249 w 1127052"/>
                <a:gd name="connsiteY16" fmla="*/ 1626464 h 3659590"/>
                <a:gd name="connsiteX17" fmla="*/ 124 w 1127052"/>
                <a:gd name="connsiteY17" fmla="*/ 1870536 h 3659590"/>
                <a:gd name="connsiteX18" fmla="*/ 1127053 w 1127052"/>
                <a:gd name="connsiteY18" fmla="*/ 2521085 h 3659590"/>
                <a:gd name="connsiteX19" fmla="*/ 1127053 w 1127052"/>
                <a:gd name="connsiteY19" fmla="*/ 2277074 h 3659590"/>
                <a:gd name="connsiteX20" fmla="*/ 1126617 w 1127052"/>
                <a:gd name="connsiteY20" fmla="*/ 2846390 h 3659590"/>
                <a:gd name="connsiteX21" fmla="*/ 0 w 1127052"/>
                <a:gd name="connsiteY21" fmla="*/ 2198269 h 3659590"/>
                <a:gd name="connsiteX22" fmla="*/ 249 w 1127052"/>
                <a:gd name="connsiteY22" fmla="*/ 2439478 h 3659590"/>
                <a:gd name="connsiteX23" fmla="*/ 1126617 w 1127052"/>
                <a:gd name="connsiteY23" fmla="*/ 3090400 h 3659590"/>
                <a:gd name="connsiteX24" fmla="*/ 1126617 w 1127052"/>
                <a:gd name="connsiteY24" fmla="*/ 2846390 h 3659590"/>
                <a:gd name="connsiteX25" fmla="*/ 1127053 w 1127052"/>
                <a:gd name="connsiteY25" fmla="*/ 3415643 h 3659590"/>
                <a:gd name="connsiteX26" fmla="*/ 249 w 1127052"/>
                <a:gd name="connsiteY26" fmla="*/ 2765032 h 3659590"/>
                <a:gd name="connsiteX27" fmla="*/ 249 w 1127052"/>
                <a:gd name="connsiteY27" fmla="*/ 3008980 h 3659590"/>
                <a:gd name="connsiteX28" fmla="*/ 1127053 w 1127052"/>
                <a:gd name="connsiteY28" fmla="*/ 3659590 h 3659590"/>
                <a:gd name="connsiteX29" fmla="*/ 1127053 w 1127052"/>
                <a:gd name="connsiteY29" fmla="*/ 3415581 h 3659590"/>
                <a:gd name="connsiteX0" fmla="*/ 1127053 w 1127052"/>
                <a:gd name="connsiteY0" fmla="*/ 650548 h 3659590"/>
                <a:gd name="connsiteX1" fmla="*/ 1127053 w 1127052"/>
                <a:gd name="connsiteY1" fmla="*/ 894558 h 3659590"/>
                <a:gd name="connsiteX2" fmla="*/ 249 w 1127052"/>
                <a:gd name="connsiteY2" fmla="*/ 243948 h 3659590"/>
                <a:gd name="connsiteX3" fmla="*/ 249 w 1127052"/>
                <a:gd name="connsiteY3" fmla="*/ 0 h 3659590"/>
                <a:gd name="connsiteX4" fmla="*/ 1127053 w 1127052"/>
                <a:gd name="connsiteY4" fmla="*/ 650610 h 3659590"/>
                <a:gd name="connsiteX5" fmla="*/ 1127053 w 1127052"/>
                <a:gd name="connsiteY5" fmla="*/ 650548 h 3659590"/>
                <a:gd name="connsiteX6" fmla="*/ 1127053 w 1127052"/>
                <a:gd name="connsiteY6" fmla="*/ 1219864 h 3659590"/>
                <a:gd name="connsiteX7" fmla="*/ 249 w 1127052"/>
                <a:gd name="connsiteY7" fmla="*/ 569253 h 3659590"/>
                <a:gd name="connsiteX8" fmla="*/ 249 w 1127052"/>
                <a:gd name="connsiteY8" fmla="*/ 813263 h 3659590"/>
                <a:gd name="connsiteX9" fmla="*/ 1127053 w 1127052"/>
                <a:gd name="connsiteY9" fmla="*/ 1463873 h 3659590"/>
                <a:gd name="connsiteX10" fmla="*/ 1127053 w 1127052"/>
                <a:gd name="connsiteY10" fmla="*/ 1219926 h 3659590"/>
                <a:gd name="connsiteX11" fmla="*/ 1127053 w 1127052"/>
                <a:gd name="connsiteY11" fmla="*/ 1219864 h 3659590"/>
                <a:gd name="connsiteX12" fmla="*/ 1127053 w 1127052"/>
                <a:gd name="connsiteY12" fmla="*/ 1789116 h 3659590"/>
                <a:gd name="connsiteX13" fmla="*/ 373 w 1127052"/>
                <a:gd name="connsiteY13" fmla="*/ 1138630 h 3659590"/>
                <a:gd name="connsiteX14" fmla="*/ 249 w 1127052"/>
                <a:gd name="connsiteY14" fmla="*/ 1380088 h 3659590"/>
                <a:gd name="connsiteX15" fmla="*/ 1127053 w 1127052"/>
                <a:gd name="connsiteY15" fmla="*/ 2033127 h 3659590"/>
                <a:gd name="connsiteX16" fmla="*/ 1127053 w 1127052"/>
                <a:gd name="connsiteY16" fmla="*/ 1789179 h 3659590"/>
                <a:gd name="connsiteX17" fmla="*/ 1127053 w 1127052"/>
                <a:gd name="connsiteY17" fmla="*/ 1789116 h 3659590"/>
                <a:gd name="connsiteX18" fmla="*/ 1127053 w 1127052"/>
                <a:gd name="connsiteY18" fmla="*/ 2277074 h 3659590"/>
                <a:gd name="connsiteX19" fmla="*/ 249 w 1127052"/>
                <a:gd name="connsiteY19" fmla="*/ 1626464 h 3659590"/>
                <a:gd name="connsiteX20" fmla="*/ 124 w 1127052"/>
                <a:gd name="connsiteY20" fmla="*/ 1870536 h 3659590"/>
                <a:gd name="connsiteX21" fmla="*/ 1127053 w 1127052"/>
                <a:gd name="connsiteY21" fmla="*/ 2521085 h 3659590"/>
                <a:gd name="connsiteX22" fmla="*/ 1127053 w 1127052"/>
                <a:gd name="connsiteY22" fmla="*/ 2277074 h 3659590"/>
                <a:gd name="connsiteX23" fmla="*/ 1126617 w 1127052"/>
                <a:gd name="connsiteY23" fmla="*/ 2846390 h 3659590"/>
                <a:gd name="connsiteX24" fmla="*/ 0 w 1127052"/>
                <a:gd name="connsiteY24" fmla="*/ 2198269 h 3659590"/>
                <a:gd name="connsiteX25" fmla="*/ 249 w 1127052"/>
                <a:gd name="connsiteY25" fmla="*/ 2439478 h 3659590"/>
                <a:gd name="connsiteX26" fmla="*/ 1126617 w 1127052"/>
                <a:gd name="connsiteY26" fmla="*/ 3090400 h 3659590"/>
                <a:gd name="connsiteX27" fmla="*/ 1126617 w 1127052"/>
                <a:gd name="connsiteY27" fmla="*/ 2846390 h 3659590"/>
                <a:gd name="connsiteX28" fmla="*/ 1127053 w 1127052"/>
                <a:gd name="connsiteY28" fmla="*/ 3415643 h 3659590"/>
                <a:gd name="connsiteX29" fmla="*/ 249 w 1127052"/>
                <a:gd name="connsiteY29" fmla="*/ 3008980 h 3659590"/>
                <a:gd name="connsiteX30" fmla="*/ 1127053 w 1127052"/>
                <a:gd name="connsiteY30" fmla="*/ 3659590 h 3659590"/>
                <a:gd name="connsiteX31" fmla="*/ 1127053 w 1127052"/>
                <a:gd name="connsiteY31" fmla="*/ 3415581 h 3659590"/>
                <a:gd name="connsiteX32" fmla="*/ 1127053 w 1127052"/>
                <a:gd name="connsiteY32" fmla="*/ 3415643 h 3659590"/>
                <a:gd name="connsiteX0" fmla="*/ 1127053 w 1127052"/>
                <a:gd name="connsiteY0" fmla="*/ 650548 h 3659590"/>
                <a:gd name="connsiteX1" fmla="*/ 1127053 w 1127052"/>
                <a:gd name="connsiteY1" fmla="*/ 894558 h 3659590"/>
                <a:gd name="connsiteX2" fmla="*/ 249 w 1127052"/>
                <a:gd name="connsiteY2" fmla="*/ 243948 h 3659590"/>
                <a:gd name="connsiteX3" fmla="*/ 249 w 1127052"/>
                <a:gd name="connsiteY3" fmla="*/ 0 h 3659590"/>
                <a:gd name="connsiteX4" fmla="*/ 1127053 w 1127052"/>
                <a:gd name="connsiteY4" fmla="*/ 650610 h 3659590"/>
                <a:gd name="connsiteX5" fmla="*/ 1127053 w 1127052"/>
                <a:gd name="connsiteY5" fmla="*/ 650548 h 3659590"/>
                <a:gd name="connsiteX6" fmla="*/ 1127053 w 1127052"/>
                <a:gd name="connsiteY6" fmla="*/ 1219864 h 3659590"/>
                <a:gd name="connsiteX7" fmla="*/ 249 w 1127052"/>
                <a:gd name="connsiteY7" fmla="*/ 569253 h 3659590"/>
                <a:gd name="connsiteX8" fmla="*/ 249 w 1127052"/>
                <a:gd name="connsiteY8" fmla="*/ 813263 h 3659590"/>
                <a:gd name="connsiteX9" fmla="*/ 1127053 w 1127052"/>
                <a:gd name="connsiteY9" fmla="*/ 1463873 h 3659590"/>
                <a:gd name="connsiteX10" fmla="*/ 1127053 w 1127052"/>
                <a:gd name="connsiteY10" fmla="*/ 1219926 h 3659590"/>
                <a:gd name="connsiteX11" fmla="*/ 1127053 w 1127052"/>
                <a:gd name="connsiteY11" fmla="*/ 1219864 h 3659590"/>
                <a:gd name="connsiteX12" fmla="*/ 1127053 w 1127052"/>
                <a:gd name="connsiteY12" fmla="*/ 1789116 h 3659590"/>
                <a:gd name="connsiteX13" fmla="*/ 373 w 1127052"/>
                <a:gd name="connsiteY13" fmla="*/ 1138630 h 3659590"/>
                <a:gd name="connsiteX14" fmla="*/ 249 w 1127052"/>
                <a:gd name="connsiteY14" fmla="*/ 1380088 h 3659590"/>
                <a:gd name="connsiteX15" fmla="*/ 1127053 w 1127052"/>
                <a:gd name="connsiteY15" fmla="*/ 2033127 h 3659590"/>
                <a:gd name="connsiteX16" fmla="*/ 1127053 w 1127052"/>
                <a:gd name="connsiteY16" fmla="*/ 1789179 h 3659590"/>
                <a:gd name="connsiteX17" fmla="*/ 1127053 w 1127052"/>
                <a:gd name="connsiteY17" fmla="*/ 1789116 h 3659590"/>
                <a:gd name="connsiteX18" fmla="*/ 1127053 w 1127052"/>
                <a:gd name="connsiteY18" fmla="*/ 2277074 h 3659590"/>
                <a:gd name="connsiteX19" fmla="*/ 249 w 1127052"/>
                <a:gd name="connsiteY19" fmla="*/ 1626464 h 3659590"/>
                <a:gd name="connsiteX20" fmla="*/ 124 w 1127052"/>
                <a:gd name="connsiteY20" fmla="*/ 1870536 h 3659590"/>
                <a:gd name="connsiteX21" fmla="*/ 1127053 w 1127052"/>
                <a:gd name="connsiteY21" fmla="*/ 2521085 h 3659590"/>
                <a:gd name="connsiteX22" fmla="*/ 1127053 w 1127052"/>
                <a:gd name="connsiteY22" fmla="*/ 2277074 h 3659590"/>
                <a:gd name="connsiteX23" fmla="*/ 1126617 w 1127052"/>
                <a:gd name="connsiteY23" fmla="*/ 2846390 h 3659590"/>
                <a:gd name="connsiteX24" fmla="*/ 0 w 1127052"/>
                <a:gd name="connsiteY24" fmla="*/ 2198269 h 3659590"/>
                <a:gd name="connsiteX25" fmla="*/ 249 w 1127052"/>
                <a:gd name="connsiteY25" fmla="*/ 2439478 h 3659590"/>
                <a:gd name="connsiteX26" fmla="*/ 1126617 w 1127052"/>
                <a:gd name="connsiteY26" fmla="*/ 3090400 h 3659590"/>
                <a:gd name="connsiteX27" fmla="*/ 1126617 w 1127052"/>
                <a:gd name="connsiteY27" fmla="*/ 2846390 h 3659590"/>
                <a:gd name="connsiteX28" fmla="*/ 1127053 w 1127052"/>
                <a:gd name="connsiteY28" fmla="*/ 3415643 h 3659590"/>
                <a:gd name="connsiteX29" fmla="*/ 1127053 w 1127052"/>
                <a:gd name="connsiteY29" fmla="*/ 3659590 h 3659590"/>
                <a:gd name="connsiteX30" fmla="*/ 1127053 w 1127052"/>
                <a:gd name="connsiteY30" fmla="*/ 3415581 h 3659590"/>
                <a:gd name="connsiteX31" fmla="*/ 1127053 w 1127052"/>
                <a:gd name="connsiteY31" fmla="*/ 3415643 h 3659590"/>
                <a:gd name="connsiteX0" fmla="*/ 1127053 w 1127052"/>
                <a:gd name="connsiteY0" fmla="*/ 650548 h 3659590"/>
                <a:gd name="connsiteX1" fmla="*/ 1127053 w 1127052"/>
                <a:gd name="connsiteY1" fmla="*/ 894558 h 3659590"/>
                <a:gd name="connsiteX2" fmla="*/ 249 w 1127052"/>
                <a:gd name="connsiteY2" fmla="*/ 243948 h 3659590"/>
                <a:gd name="connsiteX3" fmla="*/ 249 w 1127052"/>
                <a:gd name="connsiteY3" fmla="*/ 0 h 3659590"/>
                <a:gd name="connsiteX4" fmla="*/ 1127053 w 1127052"/>
                <a:gd name="connsiteY4" fmla="*/ 650610 h 3659590"/>
                <a:gd name="connsiteX5" fmla="*/ 1127053 w 1127052"/>
                <a:gd name="connsiteY5" fmla="*/ 650548 h 3659590"/>
                <a:gd name="connsiteX6" fmla="*/ 1127053 w 1127052"/>
                <a:gd name="connsiteY6" fmla="*/ 1219864 h 3659590"/>
                <a:gd name="connsiteX7" fmla="*/ 249 w 1127052"/>
                <a:gd name="connsiteY7" fmla="*/ 569253 h 3659590"/>
                <a:gd name="connsiteX8" fmla="*/ 249 w 1127052"/>
                <a:gd name="connsiteY8" fmla="*/ 813263 h 3659590"/>
                <a:gd name="connsiteX9" fmla="*/ 1127053 w 1127052"/>
                <a:gd name="connsiteY9" fmla="*/ 1463873 h 3659590"/>
                <a:gd name="connsiteX10" fmla="*/ 1127053 w 1127052"/>
                <a:gd name="connsiteY10" fmla="*/ 1219926 h 3659590"/>
                <a:gd name="connsiteX11" fmla="*/ 1127053 w 1127052"/>
                <a:gd name="connsiteY11" fmla="*/ 1219864 h 3659590"/>
                <a:gd name="connsiteX12" fmla="*/ 1127053 w 1127052"/>
                <a:gd name="connsiteY12" fmla="*/ 1789116 h 3659590"/>
                <a:gd name="connsiteX13" fmla="*/ 373 w 1127052"/>
                <a:gd name="connsiteY13" fmla="*/ 1138630 h 3659590"/>
                <a:gd name="connsiteX14" fmla="*/ 249 w 1127052"/>
                <a:gd name="connsiteY14" fmla="*/ 1380088 h 3659590"/>
                <a:gd name="connsiteX15" fmla="*/ 1127053 w 1127052"/>
                <a:gd name="connsiteY15" fmla="*/ 2033127 h 3659590"/>
                <a:gd name="connsiteX16" fmla="*/ 1127053 w 1127052"/>
                <a:gd name="connsiteY16" fmla="*/ 1789179 h 3659590"/>
                <a:gd name="connsiteX17" fmla="*/ 1127053 w 1127052"/>
                <a:gd name="connsiteY17" fmla="*/ 1789116 h 3659590"/>
                <a:gd name="connsiteX18" fmla="*/ 1127053 w 1127052"/>
                <a:gd name="connsiteY18" fmla="*/ 2277074 h 3659590"/>
                <a:gd name="connsiteX19" fmla="*/ 249 w 1127052"/>
                <a:gd name="connsiteY19" fmla="*/ 1626464 h 3659590"/>
                <a:gd name="connsiteX20" fmla="*/ 124 w 1127052"/>
                <a:gd name="connsiteY20" fmla="*/ 1870536 h 3659590"/>
                <a:gd name="connsiteX21" fmla="*/ 1127053 w 1127052"/>
                <a:gd name="connsiteY21" fmla="*/ 2521085 h 3659590"/>
                <a:gd name="connsiteX22" fmla="*/ 1127053 w 1127052"/>
                <a:gd name="connsiteY22" fmla="*/ 2277074 h 3659590"/>
                <a:gd name="connsiteX23" fmla="*/ 1126617 w 1127052"/>
                <a:gd name="connsiteY23" fmla="*/ 2846390 h 3659590"/>
                <a:gd name="connsiteX24" fmla="*/ 0 w 1127052"/>
                <a:gd name="connsiteY24" fmla="*/ 2198269 h 3659590"/>
                <a:gd name="connsiteX25" fmla="*/ 1126617 w 1127052"/>
                <a:gd name="connsiteY25" fmla="*/ 3090400 h 3659590"/>
                <a:gd name="connsiteX26" fmla="*/ 1126617 w 1127052"/>
                <a:gd name="connsiteY26" fmla="*/ 2846390 h 3659590"/>
                <a:gd name="connsiteX27" fmla="*/ 1127053 w 1127052"/>
                <a:gd name="connsiteY27" fmla="*/ 3415643 h 3659590"/>
                <a:gd name="connsiteX28" fmla="*/ 1127053 w 1127052"/>
                <a:gd name="connsiteY28" fmla="*/ 3659590 h 3659590"/>
                <a:gd name="connsiteX29" fmla="*/ 1127053 w 1127052"/>
                <a:gd name="connsiteY29" fmla="*/ 3415581 h 3659590"/>
                <a:gd name="connsiteX30" fmla="*/ 1127053 w 1127052"/>
                <a:gd name="connsiteY30" fmla="*/ 3415643 h 3659590"/>
                <a:gd name="connsiteX0" fmla="*/ 1126929 w 1126928"/>
                <a:gd name="connsiteY0" fmla="*/ 650548 h 3659590"/>
                <a:gd name="connsiteX1" fmla="*/ 1126929 w 1126928"/>
                <a:gd name="connsiteY1" fmla="*/ 894558 h 3659590"/>
                <a:gd name="connsiteX2" fmla="*/ 125 w 1126928"/>
                <a:gd name="connsiteY2" fmla="*/ 243948 h 3659590"/>
                <a:gd name="connsiteX3" fmla="*/ 125 w 1126928"/>
                <a:gd name="connsiteY3" fmla="*/ 0 h 3659590"/>
                <a:gd name="connsiteX4" fmla="*/ 1126929 w 1126928"/>
                <a:gd name="connsiteY4" fmla="*/ 650610 h 3659590"/>
                <a:gd name="connsiteX5" fmla="*/ 1126929 w 1126928"/>
                <a:gd name="connsiteY5" fmla="*/ 650548 h 3659590"/>
                <a:gd name="connsiteX6" fmla="*/ 1126929 w 1126928"/>
                <a:gd name="connsiteY6" fmla="*/ 1219864 h 3659590"/>
                <a:gd name="connsiteX7" fmla="*/ 125 w 1126928"/>
                <a:gd name="connsiteY7" fmla="*/ 569253 h 3659590"/>
                <a:gd name="connsiteX8" fmla="*/ 125 w 1126928"/>
                <a:gd name="connsiteY8" fmla="*/ 813263 h 3659590"/>
                <a:gd name="connsiteX9" fmla="*/ 1126929 w 1126928"/>
                <a:gd name="connsiteY9" fmla="*/ 1463873 h 3659590"/>
                <a:gd name="connsiteX10" fmla="*/ 1126929 w 1126928"/>
                <a:gd name="connsiteY10" fmla="*/ 1219926 h 3659590"/>
                <a:gd name="connsiteX11" fmla="*/ 1126929 w 1126928"/>
                <a:gd name="connsiteY11" fmla="*/ 1219864 h 3659590"/>
                <a:gd name="connsiteX12" fmla="*/ 1126929 w 1126928"/>
                <a:gd name="connsiteY12" fmla="*/ 1789116 h 3659590"/>
                <a:gd name="connsiteX13" fmla="*/ 249 w 1126928"/>
                <a:gd name="connsiteY13" fmla="*/ 1138630 h 3659590"/>
                <a:gd name="connsiteX14" fmla="*/ 125 w 1126928"/>
                <a:gd name="connsiteY14" fmla="*/ 1380088 h 3659590"/>
                <a:gd name="connsiteX15" fmla="*/ 1126929 w 1126928"/>
                <a:gd name="connsiteY15" fmla="*/ 2033127 h 3659590"/>
                <a:gd name="connsiteX16" fmla="*/ 1126929 w 1126928"/>
                <a:gd name="connsiteY16" fmla="*/ 1789179 h 3659590"/>
                <a:gd name="connsiteX17" fmla="*/ 1126929 w 1126928"/>
                <a:gd name="connsiteY17" fmla="*/ 1789116 h 3659590"/>
                <a:gd name="connsiteX18" fmla="*/ 1126929 w 1126928"/>
                <a:gd name="connsiteY18" fmla="*/ 2277074 h 3659590"/>
                <a:gd name="connsiteX19" fmla="*/ 125 w 1126928"/>
                <a:gd name="connsiteY19" fmla="*/ 1626464 h 3659590"/>
                <a:gd name="connsiteX20" fmla="*/ 0 w 1126928"/>
                <a:gd name="connsiteY20" fmla="*/ 1870536 h 3659590"/>
                <a:gd name="connsiteX21" fmla="*/ 1126929 w 1126928"/>
                <a:gd name="connsiteY21" fmla="*/ 2521085 h 3659590"/>
                <a:gd name="connsiteX22" fmla="*/ 1126929 w 1126928"/>
                <a:gd name="connsiteY22" fmla="*/ 2277074 h 3659590"/>
                <a:gd name="connsiteX23" fmla="*/ 1126493 w 1126928"/>
                <a:gd name="connsiteY23" fmla="*/ 2846390 h 3659590"/>
                <a:gd name="connsiteX24" fmla="*/ 1126493 w 1126928"/>
                <a:gd name="connsiteY24" fmla="*/ 3090400 h 3659590"/>
                <a:gd name="connsiteX25" fmla="*/ 1126493 w 1126928"/>
                <a:gd name="connsiteY25" fmla="*/ 2846390 h 3659590"/>
                <a:gd name="connsiteX26" fmla="*/ 1126929 w 1126928"/>
                <a:gd name="connsiteY26" fmla="*/ 3415643 h 3659590"/>
                <a:gd name="connsiteX27" fmla="*/ 1126929 w 1126928"/>
                <a:gd name="connsiteY27" fmla="*/ 3659590 h 3659590"/>
                <a:gd name="connsiteX28" fmla="*/ 1126929 w 1126928"/>
                <a:gd name="connsiteY28" fmla="*/ 3415581 h 3659590"/>
                <a:gd name="connsiteX29" fmla="*/ 1126929 w 1126928"/>
                <a:gd name="connsiteY29" fmla="*/ 3415643 h 3659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26928" h="3659590">
                  <a:moveTo>
                    <a:pt x="1126929" y="650548"/>
                  </a:moveTo>
                  <a:lnTo>
                    <a:pt x="1126929" y="894558"/>
                  </a:lnTo>
                  <a:lnTo>
                    <a:pt x="125" y="243948"/>
                  </a:lnTo>
                  <a:lnTo>
                    <a:pt x="125" y="0"/>
                  </a:lnTo>
                  <a:lnTo>
                    <a:pt x="1126929" y="650610"/>
                  </a:lnTo>
                  <a:lnTo>
                    <a:pt x="1126929" y="650548"/>
                  </a:lnTo>
                  <a:close/>
                  <a:moveTo>
                    <a:pt x="1126929" y="1219864"/>
                  </a:moveTo>
                  <a:lnTo>
                    <a:pt x="125" y="569253"/>
                  </a:lnTo>
                  <a:lnTo>
                    <a:pt x="125" y="813263"/>
                  </a:lnTo>
                  <a:lnTo>
                    <a:pt x="1126929" y="1463873"/>
                  </a:lnTo>
                  <a:lnTo>
                    <a:pt x="1126929" y="1219926"/>
                  </a:lnTo>
                  <a:lnTo>
                    <a:pt x="1126929" y="1219864"/>
                  </a:lnTo>
                  <a:close/>
                  <a:moveTo>
                    <a:pt x="1126929" y="1789116"/>
                  </a:moveTo>
                  <a:lnTo>
                    <a:pt x="249" y="1138630"/>
                  </a:lnTo>
                  <a:cubicBezTo>
                    <a:pt x="208" y="1219116"/>
                    <a:pt x="166" y="1299602"/>
                    <a:pt x="125" y="1380088"/>
                  </a:cubicBezTo>
                  <a:lnTo>
                    <a:pt x="1126929" y="2033127"/>
                  </a:lnTo>
                  <a:lnTo>
                    <a:pt x="1126929" y="1789179"/>
                  </a:lnTo>
                  <a:lnTo>
                    <a:pt x="1126929" y="1789116"/>
                  </a:lnTo>
                  <a:close/>
                  <a:moveTo>
                    <a:pt x="1126929" y="2277074"/>
                  </a:moveTo>
                  <a:lnTo>
                    <a:pt x="125" y="1626464"/>
                  </a:lnTo>
                  <a:cubicBezTo>
                    <a:pt x="83" y="1707821"/>
                    <a:pt x="42" y="1789179"/>
                    <a:pt x="0" y="1870536"/>
                  </a:cubicBezTo>
                  <a:lnTo>
                    <a:pt x="1126929" y="2521085"/>
                  </a:lnTo>
                  <a:lnTo>
                    <a:pt x="1126929" y="2277074"/>
                  </a:lnTo>
                  <a:close/>
                  <a:moveTo>
                    <a:pt x="1126493" y="2846390"/>
                  </a:moveTo>
                  <a:lnTo>
                    <a:pt x="1126493" y="3090400"/>
                  </a:lnTo>
                  <a:lnTo>
                    <a:pt x="1126493" y="2846390"/>
                  </a:lnTo>
                  <a:close/>
                  <a:moveTo>
                    <a:pt x="1126929" y="3415643"/>
                  </a:moveTo>
                  <a:lnTo>
                    <a:pt x="1126929" y="3659590"/>
                  </a:lnTo>
                  <a:lnTo>
                    <a:pt x="1126929" y="3415581"/>
                  </a:lnTo>
                  <a:lnTo>
                    <a:pt x="1126929" y="3415643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9" name="Freihandform: Form 3288">
              <a:extLst>
                <a:ext uri="{FF2B5EF4-FFF2-40B4-BE49-F238E27FC236}">
                  <a16:creationId xmlns:a16="http://schemas.microsoft.com/office/drawing/2014/main" id="{13E5DDAF-EE0C-B972-1B2C-FEAA6334CA45}"/>
                </a:ext>
              </a:extLst>
            </p:cNvPr>
            <p:cNvSpPr/>
            <p:nvPr/>
          </p:nvSpPr>
          <p:spPr>
            <a:xfrm>
              <a:off x="9442261" y="3512819"/>
              <a:ext cx="454900" cy="262658"/>
            </a:xfrm>
            <a:custGeom>
              <a:avLst/>
              <a:gdLst>
                <a:gd name="connsiteX0" fmla="*/ 1126804 w 2253607"/>
                <a:gd name="connsiteY0" fmla="*/ 0 h 1301220"/>
                <a:gd name="connsiteX1" fmla="*/ 2253608 w 2253607"/>
                <a:gd name="connsiteY1" fmla="*/ 650610 h 1301220"/>
                <a:gd name="connsiteX2" fmla="*/ 1126804 w 2253607"/>
                <a:gd name="connsiteY2" fmla="*/ 1301221 h 1301220"/>
                <a:gd name="connsiteX3" fmla="*/ 0 w 2253607"/>
                <a:gd name="connsiteY3" fmla="*/ 650610 h 1301220"/>
                <a:gd name="connsiteX4" fmla="*/ 1126804 w 2253607"/>
                <a:gd name="connsiteY4" fmla="*/ 0 h 130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1220">
                  <a:moveTo>
                    <a:pt x="1126804" y="0"/>
                  </a:moveTo>
                  <a:lnTo>
                    <a:pt x="2253608" y="650610"/>
                  </a:lnTo>
                  <a:lnTo>
                    <a:pt x="1126804" y="1301221"/>
                  </a:lnTo>
                  <a:lnTo>
                    <a:pt x="0" y="650610"/>
                  </a:lnTo>
                  <a:lnTo>
                    <a:pt x="1126804" y="0"/>
                  </a:lnTo>
                  <a:close/>
                </a:path>
              </a:pathLst>
            </a:custGeom>
            <a:gradFill>
              <a:gsLst>
                <a:gs pos="0">
                  <a:srgbClr val="00BEDC">
                    <a:alpha val="0"/>
                  </a:srgbClr>
                </a:gs>
                <a:gs pos="50000">
                  <a:srgbClr val="00BEDC">
                    <a:alpha val="49804"/>
                  </a:srgbClr>
                </a:gs>
                <a:gs pos="100000">
                  <a:srgbClr val="00BEDC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0" name="Freihandform: Form 3289">
              <a:extLst>
                <a:ext uri="{FF2B5EF4-FFF2-40B4-BE49-F238E27FC236}">
                  <a16:creationId xmlns:a16="http://schemas.microsoft.com/office/drawing/2014/main" id="{E398A276-00F2-9024-6D16-85BAD6EF499C}"/>
                </a:ext>
              </a:extLst>
            </p:cNvPr>
            <p:cNvSpPr/>
            <p:nvPr/>
          </p:nvSpPr>
          <p:spPr>
            <a:xfrm>
              <a:off x="9441646" y="3462710"/>
              <a:ext cx="454900" cy="263137"/>
            </a:xfrm>
            <a:custGeom>
              <a:avLst/>
              <a:gdLst>
                <a:gd name="connsiteX0" fmla="*/ 1126368 w 2253607"/>
                <a:gd name="connsiteY0" fmla="*/ 0 h 1303586"/>
                <a:gd name="connsiteX1" fmla="*/ 2253608 w 2253607"/>
                <a:gd name="connsiteY1" fmla="*/ 642394 h 1303586"/>
                <a:gd name="connsiteX2" fmla="*/ 1111117 w 2253607"/>
                <a:gd name="connsiteY2" fmla="*/ 1303586 h 1303586"/>
                <a:gd name="connsiteX3" fmla="*/ 0 w 2253607"/>
                <a:gd name="connsiteY3" fmla="*/ 643079 h 1303586"/>
                <a:gd name="connsiteX4" fmla="*/ 1126368 w 2253607"/>
                <a:gd name="connsiteY4" fmla="*/ 0 h 130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3607" h="1303586">
                  <a:moveTo>
                    <a:pt x="1126368" y="0"/>
                  </a:moveTo>
                  <a:lnTo>
                    <a:pt x="2253608" y="642394"/>
                  </a:lnTo>
                  <a:lnTo>
                    <a:pt x="1111117" y="1303586"/>
                  </a:lnTo>
                  <a:lnTo>
                    <a:pt x="0" y="643079"/>
                  </a:lnTo>
                  <a:lnTo>
                    <a:pt x="1126368" y="0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1" name="Freihandform: Form 3290">
              <a:extLst>
                <a:ext uri="{FF2B5EF4-FFF2-40B4-BE49-F238E27FC236}">
                  <a16:creationId xmlns:a16="http://schemas.microsoft.com/office/drawing/2014/main" id="{82608D59-0E94-6305-1C5A-B8C500E45916}"/>
                </a:ext>
              </a:extLst>
            </p:cNvPr>
            <p:cNvSpPr/>
            <p:nvPr/>
          </p:nvSpPr>
          <p:spPr>
            <a:xfrm>
              <a:off x="9443769" y="3462710"/>
              <a:ext cx="454699" cy="263550"/>
            </a:xfrm>
            <a:custGeom>
              <a:avLst/>
              <a:gdLst>
                <a:gd name="connsiteX0" fmla="*/ 1116035 w 2252611"/>
                <a:gd name="connsiteY0" fmla="*/ 0 h 1305640"/>
                <a:gd name="connsiteX1" fmla="*/ 2252612 w 2252611"/>
                <a:gd name="connsiteY1" fmla="*/ 644448 h 1305640"/>
                <a:gd name="connsiteX2" fmla="*/ 1116035 w 2252611"/>
                <a:gd name="connsiteY2" fmla="*/ 1305641 h 1305640"/>
                <a:gd name="connsiteX3" fmla="*/ 0 w 2252611"/>
                <a:gd name="connsiteY3" fmla="*/ 645133 h 1305640"/>
                <a:gd name="connsiteX4" fmla="*/ 1116035 w 2252611"/>
                <a:gd name="connsiteY4" fmla="*/ 0 h 130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2611" h="1305640">
                  <a:moveTo>
                    <a:pt x="1116035" y="0"/>
                  </a:moveTo>
                  <a:lnTo>
                    <a:pt x="2252612" y="644448"/>
                  </a:lnTo>
                  <a:lnTo>
                    <a:pt x="1116035" y="1305641"/>
                  </a:lnTo>
                  <a:lnTo>
                    <a:pt x="0" y="645133"/>
                  </a:lnTo>
                  <a:lnTo>
                    <a:pt x="1116035" y="0"/>
                  </a:lnTo>
                  <a:close/>
                </a:path>
              </a:pathLst>
            </a:custGeom>
            <a:gradFill>
              <a:gsLst>
                <a:gs pos="1000">
                  <a:srgbClr val="00C1B6">
                    <a:alpha val="0"/>
                  </a:srgbClr>
                </a:gs>
                <a:gs pos="12000">
                  <a:srgbClr val="00C1B6">
                    <a:alpha val="10980"/>
                  </a:srgbClr>
                </a:gs>
                <a:gs pos="100000">
                  <a:srgbClr val="00C1B6"/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2" name="Freihandform: Form 3291">
              <a:extLst>
                <a:ext uri="{FF2B5EF4-FFF2-40B4-BE49-F238E27FC236}">
                  <a16:creationId xmlns:a16="http://schemas.microsoft.com/office/drawing/2014/main" id="{BA035519-3BB7-2CD7-80F9-B0E4B1C18F1D}"/>
                </a:ext>
              </a:extLst>
            </p:cNvPr>
            <p:cNvSpPr/>
            <p:nvPr/>
          </p:nvSpPr>
          <p:spPr>
            <a:xfrm>
              <a:off x="9498829" y="3496322"/>
              <a:ext cx="341364" cy="195913"/>
            </a:xfrm>
            <a:custGeom>
              <a:avLst/>
              <a:gdLst>
                <a:gd name="connsiteX0" fmla="*/ 0 w 1691139"/>
                <a:gd name="connsiteY0" fmla="*/ 485281 h 970562"/>
                <a:gd name="connsiteX1" fmla="*/ 846192 w 1691139"/>
                <a:gd name="connsiteY1" fmla="*/ 0 h 970562"/>
                <a:gd name="connsiteX2" fmla="*/ 1691140 w 1691139"/>
                <a:gd name="connsiteY2" fmla="*/ 483476 h 970562"/>
                <a:gd name="connsiteX3" fmla="*/ 846192 w 1691139"/>
                <a:gd name="connsiteY3" fmla="*/ 970562 h 970562"/>
                <a:gd name="connsiteX4" fmla="*/ 0 w 1691139"/>
                <a:gd name="connsiteY4" fmla="*/ 485281 h 970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1139" h="970562">
                  <a:moveTo>
                    <a:pt x="0" y="485281"/>
                  </a:moveTo>
                  <a:lnTo>
                    <a:pt x="846192" y="0"/>
                  </a:lnTo>
                  <a:lnTo>
                    <a:pt x="1691140" y="483476"/>
                  </a:lnTo>
                  <a:lnTo>
                    <a:pt x="846192" y="970562"/>
                  </a:lnTo>
                  <a:lnTo>
                    <a:pt x="0" y="485281"/>
                  </a:lnTo>
                  <a:close/>
                </a:path>
              </a:pathLst>
            </a:custGeom>
            <a:gradFill>
              <a:gsLst>
                <a:gs pos="12000">
                  <a:srgbClr val="805CFF"/>
                </a:gs>
                <a:gs pos="19000">
                  <a:srgbClr val="694BD8">
                    <a:alpha val="81961"/>
                  </a:srgbClr>
                </a:gs>
                <a:gs pos="27000">
                  <a:srgbClr val="5039AF">
                    <a:alpha val="62745"/>
                  </a:srgbClr>
                </a:gs>
                <a:gs pos="35000">
                  <a:srgbClr val="3A2A8B">
                    <a:alpha val="45882"/>
                  </a:srgbClr>
                </a:gs>
                <a:gs pos="44000">
                  <a:srgbClr val="281D6C">
                    <a:alpha val="31765"/>
                  </a:srgbClr>
                </a:gs>
                <a:gs pos="53000">
                  <a:srgbClr val="191253">
                    <a:alpha val="20000"/>
                  </a:srgbClr>
                </a:gs>
                <a:gs pos="63000">
                  <a:srgbClr val="0E0A40">
                    <a:alpha val="10980"/>
                  </a:srgbClr>
                </a:gs>
                <a:gs pos="73000">
                  <a:srgbClr val="060432">
                    <a:alpha val="4706"/>
                  </a:srgbClr>
                </a:gs>
                <a:gs pos="85000">
                  <a:srgbClr val="01012A">
                    <a:alpha val="784"/>
                  </a:srgbClr>
                </a:gs>
                <a:gs pos="100000">
                  <a:srgbClr val="000028">
                    <a:alpha val="0"/>
                  </a:srgbClr>
                </a:gs>
              </a:gsLst>
              <a:lin ang="0" scaled="1"/>
            </a:gra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3" name="Freihandform: Form 3292">
              <a:extLst>
                <a:ext uri="{FF2B5EF4-FFF2-40B4-BE49-F238E27FC236}">
                  <a16:creationId xmlns:a16="http://schemas.microsoft.com/office/drawing/2014/main" id="{61017157-3C35-DE73-D0EC-77EC682A9D2D}"/>
                </a:ext>
              </a:extLst>
            </p:cNvPr>
            <p:cNvSpPr/>
            <p:nvPr/>
          </p:nvSpPr>
          <p:spPr>
            <a:xfrm>
              <a:off x="9669749" y="3496322"/>
              <a:ext cx="171185" cy="106841"/>
            </a:xfrm>
            <a:custGeom>
              <a:avLst/>
              <a:gdLst>
                <a:gd name="connsiteX0" fmla="*/ 773363 w 848059"/>
                <a:gd name="connsiteY0" fmla="*/ 529290 h 529290"/>
                <a:gd name="connsiteX1" fmla="*/ 436 w 848059"/>
                <a:gd name="connsiteY1" fmla="*/ 85902 h 529290"/>
                <a:gd name="connsiteX2" fmla="*/ 0 w 848059"/>
                <a:gd name="connsiteY2" fmla="*/ 0 h 529290"/>
                <a:gd name="connsiteX3" fmla="*/ 848060 w 848059"/>
                <a:gd name="connsiteY3" fmla="*/ 487958 h 529290"/>
                <a:gd name="connsiteX4" fmla="*/ 773363 w 848059"/>
                <a:gd name="connsiteY4" fmla="*/ 529290 h 52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059" h="529290">
                  <a:moveTo>
                    <a:pt x="773363" y="529290"/>
                  </a:moveTo>
                  <a:lnTo>
                    <a:pt x="436" y="85902"/>
                  </a:lnTo>
                  <a:lnTo>
                    <a:pt x="0" y="0"/>
                  </a:lnTo>
                  <a:lnTo>
                    <a:pt x="848060" y="487958"/>
                  </a:lnTo>
                  <a:lnTo>
                    <a:pt x="773363" y="529290"/>
                  </a:lnTo>
                  <a:close/>
                </a:path>
              </a:pathLst>
            </a:custGeom>
            <a:solidFill>
              <a:srgbClr val="009999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4" name="Freihandform: Form 3293">
              <a:extLst>
                <a:ext uri="{FF2B5EF4-FFF2-40B4-BE49-F238E27FC236}">
                  <a16:creationId xmlns:a16="http://schemas.microsoft.com/office/drawing/2014/main" id="{B3159A8E-153D-FAD8-2509-4B967F055E8D}"/>
                </a:ext>
              </a:extLst>
            </p:cNvPr>
            <p:cNvSpPr/>
            <p:nvPr/>
          </p:nvSpPr>
          <p:spPr>
            <a:xfrm>
              <a:off x="9497483" y="3496322"/>
              <a:ext cx="172528" cy="106841"/>
            </a:xfrm>
            <a:custGeom>
              <a:avLst/>
              <a:gdLst>
                <a:gd name="connsiteX0" fmla="*/ 81357 w 854720"/>
                <a:gd name="connsiteY0" fmla="*/ 529290 h 529290"/>
                <a:gd name="connsiteX1" fmla="*/ 854284 w 854720"/>
                <a:gd name="connsiteY1" fmla="*/ 85902 h 529290"/>
                <a:gd name="connsiteX2" fmla="*/ 854720 w 854720"/>
                <a:gd name="connsiteY2" fmla="*/ 0 h 529290"/>
                <a:gd name="connsiteX3" fmla="*/ 0 w 854720"/>
                <a:gd name="connsiteY3" fmla="*/ 484285 h 529290"/>
                <a:gd name="connsiteX4" fmla="*/ 81357 w 854720"/>
                <a:gd name="connsiteY4" fmla="*/ 529290 h 52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4720" h="529290">
                  <a:moveTo>
                    <a:pt x="81357" y="529290"/>
                  </a:moveTo>
                  <a:lnTo>
                    <a:pt x="854284" y="85902"/>
                  </a:lnTo>
                  <a:lnTo>
                    <a:pt x="854720" y="0"/>
                  </a:lnTo>
                  <a:lnTo>
                    <a:pt x="0" y="484285"/>
                  </a:lnTo>
                  <a:lnTo>
                    <a:pt x="81357" y="529290"/>
                  </a:lnTo>
                  <a:close/>
                </a:path>
              </a:pathLst>
            </a:custGeom>
            <a:solidFill>
              <a:srgbClr val="000028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0" name="Freihandform: Form 3299">
              <a:extLst>
                <a:ext uri="{FF2B5EF4-FFF2-40B4-BE49-F238E27FC236}">
                  <a16:creationId xmlns:a16="http://schemas.microsoft.com/office/drawing/2014/main" id="{3C3BD9AE-3691-3049-CD5E-B2663B93E0AE}"/>
                </a:ext>
              </a:extLst>
            </p:cNvPr>
            <p:cNvSpPr/>
            <p:nvPr/>
          </p:nvSpPr>
          <p:spPr>
            <a:xfrm>
              <a:off x="9543584" y="3637914"/>
              <a:ext cx="353589" cy="391837"/>
            </a:xfrm>
            <a:custGeom>
              <a:avLst/>
              <a:gdLst>
                <a:gd name="connsiteX0" fmla="*/ 1751706 w 1751706"/>
                <a:gd name="connsiteY0" fmla="*/ 1291012 h 1941187"/>
                <a:gd name="connsiteX1" fmla="*/ 683104 w 1751706"/>
                <a:gd name="connsiteY1" fmla="*/ 1941187 h 1941187"/>
                <a:gd name="connsiteX2" fmla="*/ 391350 w 1751706"/>
                <a:gd name="connsiteY2" fmla="*/ 1773804 h 1941187"/>
                <a:gd name="connsiteX3" fmla="*/ 391350 w 1751706"/>
                <a:gd name="connsiteY3" fmla="*/ 638348 h 1941187"/>
                <a:gd name="connsiteX4" fmla="*/ 0 w 1751706"/>
                <a:gd name="connsiteY4" fmla="*/ 416685 h 1941187"/>
                <a:gd name="connsiteX5" fmla="*/ 0 w 1751706"/>
                <a:gd name="connsiteY5" fmla="*/ 72830 h 1941187"/>
                <a:gd name="connsiteX6" fmla="*/ 149519 w 1751706"/>
                <a:gd name="connsiteY6" fmla="*/ 0 h 194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1706" h="1941187">
                  <a:moveTo>
                    <a:pt x="1751706" y="1291012"/>
                  </a:moveTo>
                  <a:lnTo>
                    <a:pt x="683104" y="1941187"/>
                  </a:lnTo>
                  <a:lnTo>
                    <a:pt x="391350" y="1773804"/>
                  </a:lnTo>
                  <a:lnTo>
                    <a:pt x="391350" y="638348"/>
                  </a:lnTo>
                  <a:lnTo>
                    <a:pt x="0" y="416685"/>
                  </a:lnTo>
                  <a:lnTo>
                    <a:pt x="0" y="72830"/>
                  </a:lnTo>
                  <a:lnTo>
                    <a:pt x="149519" y="0"/>
                  </a:lnTo>
                </a:path>
              </a:pathLst>
            </a:custGeom>
            <a:noFill/>
            <a:ln w="12700" cap="flat">
              <a:solidFill>
                <a:srgbClr val="805C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1" name="Freihandform: Form 3300">
              <a:extLst>
                <a:ext uri="{FF2B5EF4-FFF2-40B4-BE49-F238E27FC236}">
                  <a16:creationId xmlns:a16="http://schemas.microsoft.com/office/drawing/2014/main" id="{D9B6FCA5-DBC7-1802-1518-E3F75269FB4B}"/>
                </a:ext>
              </a:extLst>
            </p:cNvPr>
            <p:cNvSpPr/>
            <p:nvPr/>
          </p:nvSpPr>
          <p:spPr>
            <a:xfrm>
              <a:off x="9563223" y="3651710"/>
              <a:ext cx="333938" cy="355097"/>
            </a:xfrm>
            <a:custGeom>
              <a:avLst/>
              <a:gdLst>
                <a:gd name="connsiteX0" fmla="*/ 98413 w 1654351"/>
                <a:gd name="connsiteY0" fmla="*/ 0 h 1759175"/>
                <a:gd name="connsiteX1" fmla="*/ 1681 w 1654351"/>
                <a:gd name="connsiteY1" fmla="*/ 61065 h 1759175"/>
                <a:gd name="connsiteX2" fmla="*/ 0 w 1654351"/>
                <a:gd name="connsiteY2" fmla="*/ 284969 h 1759175"/>
                <a:gd name="connsiteX3" fmla="*/ 393591 w 1654351"/>
                <a:gd name="connsiteY3" fmla="*/ 512297 h 1759175"/>
                <a:gd name="connsiteX4" fmla="*/ 393591 w 1654351"/>
                <a:gd name="connsiteY4" fmla="*/ 1647690 h 1759175"/>
                <a:gd name="connsiteX5" fmla="*/ 588674 w 1654351"/>
                <a:gd name="connsiteY5" fmla="*/ 1759176 h 1759175"/>
                <a:gd name="connsiteX6" fmla="*/ 1654351 w 1654351"/>
                <a:gd name="connsiteY6" fmla="*/ 1144793 h 175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4351" h="1759175">
                  <a:moveTo>
                    <a:pt x="98413" y="0"/>
                  </a:moveTo>
                  <a:lnTo>
                    <a:pt x="1681" y="61065"/>
                  </a:lnTo>
                  <a:lnTo>
                    <a:pt x="0" y="284969"/>
                  </a:lnTo>
                  <a:lnTo>
                    <a:pt x="393591" y="512297"/>
                  </a:lnTo>
                  <a:lnTo>
                    <a:pt x="393591" y="1647690"/>
                  </a:lnTo>
                  <a:lnTo>
                    <a:pt x="588674" y="1759176"/>
                  </a:lnTo>
                  <a:lnTo>
                    <a:pt x="1654351" y="1144793"/>
                  </a:lnTo>
                </a:path>
              </a:pathLst>
            </a:custGeom>
            <a:noFill/>
            <a:ln w="12700" cap="flat">
              <a:solidFill>
                <a:srgbClr val="B4A8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2" name="Freihandform: Form 3301">
              <a:extLst>
                <a:ext uri="{FF2B5EF4-FFF2-40B4-BE49-F238E27FC236}">
                  <a16:creationId xmlns:a16="http://schemas.microsoft.com/office/drawing/2014/main" id="{D0893FF7-B1EE-5026-ABBA-1211ECDEF4F3}"/>
                </a:ext>
              </a:extLst>
            </p:cNvPr>
            <p:cNvSpPr/>
            <p:nvPr/>
          </p:nvSpPr>
          <p:spPr>
            <a:xfrm>
              <a:off x="9722106" y="3627647"/>
              <a:ext cx="61285" cy="483144"/>
            </a:xfrm>
            <a:custGeom>
              <a:avLst/>
              <a:gdLst>
                <a:gd name="connsiteX0" fmla="*/ 144414 w 291815"/>
                <a:gd name="connsiteY0" fmla="*/ 3550408 h 3550408"/>
                <a:gd name="connsiteX1" fmla="*/ 0 w 291815"/>
                <a:gd name="connsiteY1" fmla="*/ 3459527 h 3550408"/>
                <a:gd name="connsiteX2" fmla="*/ 0 w 291815"/>
                <a:gd name="connsiteY2" fmla="*/ 2558682 h 3550408"/>
                <a:gd name="connsiteX3" fmla="*/ 291816 w 291815"/>
                <a:gd name="connsiteY3" fmla="*/ 2387315 h 3550408"/>
                <a:gd name="connsiteX4" fmla="*/ 291816 w 291815"/>
                <a:gd name="connsiteY4" fmla="*/ 234548 h 3550408"/>
                <a:gd name="connsiteX5" fmla="*/ 191722 w 291815"/>
                <a:gd name="connsiteY5" fmla="*/ 178588 h 3550408"/>
                <a:gd name="connsiteX6" fmla="*/ 95052 w 291815"/>
                <a:gd name="connsiteY6" fmla="*/ 119204 h 3550408"/>
                <a:gd name="connsiteX7" fmla="*/ 95052 w 291815"/>
                <a:gd name="connsiteY7" fmla="*/ 0 h 3550408"/>
                <a:gd name="connsiteX0" fmla="*/ 0 w 291815"/>
                <a:gd name="connsiteY0" fmla="*/ 3459527 h 3459526"/>
                <a:gd name="connsiteX1" fmla="*/ 0 w 291815"/>
                <a:gd name="connsiteY1" fmla="*/ 2558682 h 3459526"/>
                <a:gd name="connsiteX2" fmla="*/ 291816 w 291815"/>
                <a:gd name="connsiteY2" fmla="*/ 2387315 h 3459526"/>
                <a:gd name="connsiteX3" fmla="*/ 291816 w 291815"/>
                <a:gd name="connsiteY3" fmla="*/ 234548 h 3459526"/>
                <a:gd name="connsiteX4" fmla="*/ 191722 w 291815"/>
                <a:gd name="connsiteY4" fmla="*/ 178588 h 3459526"/>
                <a:gd name="connsiteX5" fmla="*/ 95052 w 291815"/>
                <a:gd name="connsiteY5" fmla="*/ 119204 h 3459526"/>
                <a:gd name="connsiteX6" fmla="*/ 95052 w 291815"/>
                <a:gd name="connsiteY6" fmla="*/ 0 h 3459526"/>
                <a:gd name="connsiteX0" fmla="*/ 0 w 291815"/>
                <a:gd name="connsiteY0" fmla="*/ 3058435 h 3058435"/>
                <a:gd name="connsiteX1" fmla="*/ 0 w 291815"/>
                <a:gd name="connsiteY1" fmla="*/ 2558682 h 3058435"/>
                <a:gd name="connsiteX2" fmla="*/ 291816 w 291815"/>
                <a:gd name="connsiteY2" fmla="*/ 2387315 h 3058435"/>
                <a:gd name="connsiteX3" fmla="*/ 291816 w 291815"/>
                <a:gd name="connsiteY3" fmla="*/ 234548 h 3058435"/>
                <a:gd name="connsiteX4" fmla="*/ 191722 w 291815"/>
                <a:gd name="connsiteY4" fmla="*/ 178588 h 3058435"/>
                <a:gd name="connsiteX5" fmla="*/ 95052 w 291815"/>
                <a:gd name="connsiteY5" fmla="*/ 119204 h 3058435"/>
                <a:gd name="connsiteX6" fmla="*/ 95052 w 291815"/>
                <a:gd name="connsiteY6" fmla="*/ 0 h 3058435"/>
                <a:gd name="connsiteX0" fmla="*/ 0 w 291815"/>
                <a:gd name="connsiteY0" fmla="*/ 2558682 h 2558684"/>
                <a:gd name="connsiteX1" fmla="*/ 291816 w 291815"/>
                <a:gd name="connsiteY1" fmla="*/ 2387315 h 2558684"/>
                <a:gd name="connsiteX2" fmla="*/ 291816 w 291815"/>
                <a:gd name="connsiteY2" fmla="*/ 234548 h 2558684"/>
                <a:gd name="connsiteX3" fmla="*/ 191722 w 291815"/>
                <a:gd name="connsiteY3" fmla="*/ 178588 h 2558684"/>
                <a:gd name="connsiteX4" fmla="*/ 95052 w 291815"/>
                <a:gd name="connsiteY4" fmla="*/ 119204 h 2558684"/>
                <a:gd name="connsiteX5" fmla="*/ 95052 w 291815"/>
                <a:gd name="connsiteY5" fmla="*/ 0 h 2558684"/>
                <a:gd name="connsiteX0" fmla="*/ 0 w 303611"/>
                <a:gd name="connsiteY0" fmla="*/ 2558682 h 2558684"/>
                <a:gd name="connsiteX1" fmla="*/ 303611 w 303611"/>
                <a:gd name="connsiteY1" fmla="*/ 2210359 h 2558684"/>
                <a:gd name="connsiteX2" fmla="*/ 291816 w 303611"/>
                <a:gd name="connsiteY2" fmla="*/ 234548 h 2558684"/>
                <a:gd name="connsiteX3" fmla="*/ 191722 w 303611"/>
                <a:gd name="connsiteY3" fmla="*/ 178588 h 2558684"/>
                <a:gd name="connsiteX4" fmla="*/ 95052 w 303611"/>
                <a:gd name="connsiteY4" fmla="*/ 119204 h 2558684"/>
                <a:gd name="connsiteX5" fmla="*/ 95052 w 303611"/>
                <a:gd name="connsiteY5" fmla="*/ 0 h 2558684"/>
                <a:gd name="connsiteX0" fmla="*/ 0 w 303611"/>
                <a:gd name="connsiteY0" fmla="*/ 2393525 h 2393525"/>
                <a:gd name="connsiteX1" fmla="*/ 303611 w 303611"/>
                <a:gd name="connsiteY1" fmla="*/ 2210359 h 2393525"/>
                <a:gd name="connsiteX2" fmla="*/ 291816 w 303611"/>
                <a:gd name="connsiteY2" fmla="*/ 234548 h 2393525"/>
                <a:gd name="connsiteX3" fmla="*/ 191722 w 303611"/>
                <a:gd name="connsiteY3" fmla="*/ 178588 h 2393525"/>
                <a:gd name="connsiteX4" fmla="*/ 95052 w 303611"/>
                <a:gd name="connsiteY4" fmla="*/ 119204 h 2393525"/>
                <a:gd name="connsiteX5" fmla="*/ 95052 w 303611"/>
                <a:gd name="connsiteY5" fmla="*/ 0 h 23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611" h="2393525">
                  <a:moveTo>
                    <a:pt x="0" y="2393525"/>
                  </a:moveTo>
                  <a:lnTo>
                    <a:pt x="303611" y="2210359"/>
                  </a:lnTo>
                  <a:cubicBezTo>
                    <a:pt x="299679" y="1551755"/>
                    <a:pt x="295748" y="893152"/>
                    <a:pt x="291816" y="234548"/>
                  </a:cubicBezTo>
                  <a:lnTo>
                    <a:pt x="191722" y="178588"/>
                  </a:lnTo>
                  <a:lnTo>
                    <a:pt x="95052" y="119204"/>
                  </a:lnTo>
                  <a:lnTo>
                    <a:pt x="95052" y="0"/>
                  </a:lnTo>
                </a:path>
              </a:pathLst>
            </a:custGeom>
            <a:noFill/>
            <a:ln w="12700" cap="flat">
              <a:solidFill>
                <a:srgbClr val="00E6DC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3" name="Freihandform: Form 3302">
              <a:extLst>
                <a:ext uri="{FF2B5EF4-FFF2-40B4-BE49-F238E27FC236}">
                  <a16:creationId xmlns:a16="http://schemas.microsoft.com/office/drawing/2014/main" id="{BCB87658-2961-6A97-F5A5-EE56354051A1}"/>
                </a:ext>
              </a:extLst>
            </p:cNvPr>
            <p:cNvSpPr/>
            <p:nvPr/>
          </p:nvSpPr>
          <p:spPr>
            <a:xfrm>
              <a:off x="9583754" y="3560992"/>
              <a:ext cx="173584" cy="90606"/>
            </a:xfrm>
            <a:custGeom>
              <a:avLst/>
              <a:gdLst>
                <a:gd name="connsiteX0" fmla="*/ 0 w 859948"/>
                <a:gd name="connsiteY0" fmla="*/ 448866 h 448866"/>
                <a:gd name="connsiteX1" fmla="*/ 781144 w 859948"/>
                <a:gd name="connsiteY1" fmla="*/ 0 h 448866"/>
                <a:gd name="connsiteX2" fmla="*/ 859949 w 859948"/>
                <a:gd name="connsiteY2" fmla="*/ 45565 h 44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9948" h="448866">
                  <a:moveTo>
                    <a:pt x="0" y="448866"/>
                  </a:moveTo>
                  <a:lnTo>
                    <a:pt x="781144" y="0"/>
                  </a:lnTo>
                  <a:lnTo>
                    <a:pt x="859949" y="45565"/>
                  </a:lnTo>
                </a:path>
              </a:pathLst>
            </a:custGeom>
            <a:noFill/>
            <a:ln w="12700" cap="flat">
              <a:solidFill>
                <a:srgbClr val="805C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4" name="Freihandform: Form 3303">
              <a:extLst>
                <a:ext uri="{FF2B5EF4-FFF2-40B4-BE49-F238E27FC236}">
                  <a16:creationId xmlns:a16="http://schemas.microsoft.com/office/drawing/2014/main" id="{EDDE3876-5903-B000-07EB-05474716F7E6}"/>
                </a:ext>
              </a:extLst>
            </p:cNvPr>
            <p:cNvSpPr/>
            <p:nvPr/>
          </p:nvSpPr>
          <p:spPr>
            <a:xfrm>
              <a:off x="9611397" y="3595294"/>
              <a:ext cx="123412" cy="63139"/>
            </a:xfrm>
            <a:custGeom>
              <a:avLst/>
              <a:gdLst>
                <a:gd name="connsiteX0" fmla="*/ 0 w 611394"/>
                <a:gd name="connsiteY0" fmla="*/ 312794 h 312793"/>
                <a:gd name="connsiteX1" fmla="*/ 546097 w 611394"/>
                <a:gd name="connsiteY1" fmla="*/ 0 h 312793"/>
                <a:gd name="connsiteX2" fmla="*/ 611395 w 611394"/>
                <a:gd name="connsiteY2" fmla="*/ 38967 h 31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1394" h="312793">
                  <a:moveTo>
                    <a:pt x="0" y="312794"/>
                  </a:moveTo>
                  <a:lnTo>
                    <a:pt x="546097" y="0"/>
                  </a:lnTo>
                  <a:lnTo>
                    <a:pt x="611395" y="38967"/>
                  </a:lnTo>
                </a:path>
              </a:pathLst>
            </a:custGeom>
            <a:noFill/>
            <a:ln w="12700" cap="flat">
              <a:solidFill>
                <a:srgbClr val="B4A8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5" name="Freihandform: Form 3304">
              <a:extLst>
                <a:ext uri="{FF2B5EF4-FFF2-40B4-BE49-F238E27FC236}">
                  <a16:creationId xmlns:a16="http://schemas.microsoft.com/office/drawing/2014/main" id="{83AFC206-AB3B-977D-5383-D2CEBE6F9EF9}"/>
                </a:ext>
              </a:extLst>
            </p:cNvPr>
            <p:cNvSpPr/>
            <p:nvPr/>
          </p:nvSpPr>
          <p:spPr>
            <a:xfrm>
              <a:off x="9532049" y="3501484"/>
              <a:ext cx="296557" cy="642474"/>
            </a:xfrm>
            <a:custGeom>
              <a:avLst/>
              <a:gdLst>
                <a:gd name="connsiteX0" fmla="*/ 0 w 1469164"/>
                <a:gd name="connsiteY0" fmla="*/ 0 h 4456918"/>
                <a:gd name="connsiteX1" fmla="*/ 0 w 1469164"/>
                <a:gd name="connsiteY1" fmla="*/ 450796 h 4456918"/>
                <a:gd name="connsiteX2" fmla="*/ 980584 w 1469164"/>
                <a:gd name="connsiteY2" fmla="*/ 1012144 h 4456918"/>
                <a:gd name="connsiteX3" fmla="*/ 980584 w 1469164"/>
                <a:gd name="connsiteY3" fmla="*/ 1906640 h 4456918"/>
                <a:gd name="connsiteX4" fmla="*/ 1469165 w 1469164"/>
                <a:gd name="connsiteY4" fmla="*/ 1629390 h 4456918"/>
                <a:gd name="connsiteX5" fmla="*/ 1469165 w 1469164"/>
                <a:gd name="connsiteY5" fmla="*/ 2300231 h 4456918"/>
                <a:gd name="connsiteX6" fmla="*/ 688768 w 1469164"/>
                <a:gd name="connsiteY6" fmla="*/ 2749782 h 4456918"/>
                <a:gd name="connsiteX7" fmla="*/ 688768 w 1469164"/>
                <a:gd name="connsiteY7" fmla="*/ 4456918 h 4456918"/>
                <a:gd name="connsiteX0" fmla="*/ 0 w 1469164"/>
                <a:gd name="connsiteY0" fmla="*/ 0 h 3808089"/>
                <a:gd name="connsiteX1" fmla="*/ 0 w 1469164"/>
                <a:gd name="connsiteY1" fmla="*/ 450796 h 3808089"/>
                <a:gd name="connsiteX2" fmla="*/ 980584 w 1469164"/>
                <a:gd name="connsiteY2" fmla="*/ 1012144 h 3808089"/>
                <a:gd name="connsiteX3" fmla="*/ 980584 w 1469164"/>
                <a:gd name="connsiteY3" fmla="*/ 1906640 h 3808089"/>
                <a:gd name="connsiteX4" fmla="*/ 1469165 w 1469164"/>
                <a:gd name="connsiteY4" fmla="*/ 1629390 h 3808089"/>
                <a:gd name="connsiteX5" fmla="*/ 1469165 w 1469164"/>
                <a:gd name="connsiteY5" fmla="*/ 2300231 h 3808089"/>
                <a:gd name="connsiteX6" fmla="*/ 688768 w 1469164"/>
                <a:gd name="connsiteY6" fmla="*/ 2749782 h 3808089"/>
                <a:gd name="connsiteX7" fmla="*/ 688769 w 1469164"/>
                <a:gd name="connsiteY7" fmla="*/ 3808089 h 3808089"/>
                <a:gd name="connsiteX0" fmla="*/ 0 w 1469164"/>
                <a:gd name="connsiteY0" fmla="*/ 0 h 3182857"/>
                <a:gd name="connsiteX1" fmla="*/ 0 w 1469164"/>
                <a:gd name="connsiteY1" fmla="*/ 450796 h 3182857"/>
                <a:gd name="connsiteX2" fmla="*/ 980584 w 1469164"/>
                <a:gd name="connsiteY2" fmla="*/ 1012144 h 3182857"/>
                <a:gd name="connsiteX3" fmla="*/ 980584 w 1469164"/>
                <a:gd name="connsiteY3" fmla="*/ 1906640 h 3182857"/>
                <a:gd name="connsiteX4" fmla="*/ 1469165 w 1469164"/>
                <a:gd name="connsiteY4" fmla="*/ 1629390 h 3182857"/>
                <a:gd name="connsiteX5" fmla="*/ 1469165 w 1469164"/>
                <a:gd name="connsiteY5" fmla="*/ 2300231 h 3182857"/>
                <a:gd name="connsiteX6" fmla="*/ 688768 w 1469164"/>
                <a:gd name="connsiteY6" fmla="*/ 2749782 h 3182857"/>
                <a:gd name="connsiteX7" fmla="*/ 688769 w 1469164"/>
                <a:gd name="connsiteY7" fmla="*/ 3182857 h 318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9164" h="3182857">
                  <a:moveTo>
                    <a:pt x="0" y="0"/>
                  </a:moveTo>
                  <a:lnTo>
                    <a:pt x="0" y="450796"/>
                  </a:lnTo>
                  <a:lnTo>
                    <a:pt x="980584" y="1012144"/>
                  </a:lnTo>
                  <a:lnTo>
                    <a:pt x="980584" y="1906640"/>
                  </a:lnTo>
                  <a:lnTo>
                    <a:pt x="1469165" y="1629390"/>
                  </a:lnTo>
                  <a:lnTo>
                    <a:pt x="1469165" y="2300231"/>
                  </a:lnTo>
                  <a:lnTo>
                    <a:pt x="688768" y="2749782"/>
                  </a:lnTo>
                  <a:cubicBezTo>
                    <a:pt x="688768" y="3318827"/>
                    <a:pt x="688769" y="2613812"/>
                    <a:pt x="688769" y="3182857"/>
                  </a:cubicBezTo>
                </a:path>
              </a:pathLst>
            </a:custGeom>
            <a:noFill/>
            <a:ln w="12700" cap="flat">
              <a:solidFill>
                <a:srgbClr val="00FFB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4" name="Freihandform: Form 3323">
              <a:extLst>
                <a:ext uri="{FF2B5EF4-FFF2-40B4-BE49-F238E27FC236}">
                  <a16:creationId xmlns:a16="http://schemas.microsoft.com/office/drawing/2014/main" id="{F0C07C61-02DB-9420-B6C2-78D92476C486}"/>
                </a:ext>
              </a:extLst>
            </p:cNvPr>
            <p:cNvSpPr/>
            <p:nvPr/>
          </p:nvSpPr>
          <p:spPr>
            <a:xfrm>
              <a:off x="9480168" y="3526463"/>
              <a:ext cx="18659" cy="505664"/>
            </a:xfrm>
            <a:custGeom>
              <a:avLst/>
              <a:gdLst>
                <a:gd name="connsiteX0" fmla="*/ 369750 w 369749"/>
                <a:gd name="connsiteY0" fmla="*/ 0 h 3682870"/>
                <a:gd name="connsiteX1" fmla="*/ 369750 w 369749"/>
                <a:gd name="connsiteY1" fmla="*/ 387491 h 3682870"/>
                <a:gd name="connsiteX2" fmla="*/ 277312 w 369749"/>
                <a:gd name="connsiteY2" fmla="*/ 448555 h 3682870"/>
                <a:gd name="connsiteX3" fmla="*/ 277312 w 369749"/>
                <a:gd name="connsiteY3" fmla="*/ 2823607 h 3682870"/>
                <a:gd name="connsiteX4" fmla="*/ 0 w 369749"/>
                <a:gd name="connsiteY4" fmla="*/ 2995472 h 3682870"/>
                <a:gd name="connsiteX5" fmla="*/ 0 w 369749"/>
                <a:gd name="connsiteY5" fmla="*/ 3682871 h 3682870"/>
                <a:gd name="connsiteX6" fmla="*/ 300967 w 369749"/>
                <a:gd name="connsiteY6" fmla="*/ 3501606 h 3682870"/>
                <a:gd name="connsiteX0" fmla="*/ 369750 w 369749"/>
                <a:gd name="connsiteY0" fmla="*/ 0 h 3682870"/>
                <a:gd name="connsiteX1" fmla="*/ 369750 w 369749"/>
                <a:gd name="connsiteY1" fmla="*/ 387491 h 3682870"/>
                <a:gd name="connsiteX2" fmla="*/ 277312 w 369749"/>
                <a:gd name="connsiteY2" fmla="*/ 448555 h 3682870"/>
                <a:gd name="connsiteX3" fmla="*/ 277312 w 369749"/>
                <a:gd name="connsiteY3" fmla="*/ 2823607 h 3682870"/>
                <a:gd name="connsiteX4" fmla="*/ 0 w 369749"/>
                <a:gd name="connsiteY4" fmla="*/ 2995472 h 3682870"/>
                <a:gd name="connsiteX5" fmla="*/ 0 w 369749"/>
                <a:gd name="connsiteY5" fmla="*/ 3682871 h 3682870"/>
                <a:gd name="connsiteX0" fmla="*/ 369750 w 369749"/>
                <a:gd name="connsiteY0" fmla="*/ 0 h 2995474"/>
                <a:gd name="connsiteX1" fmla="*/ 369750 w 369749"/>
                <a:gd name="connsiteY1" fmla="*/ 387491 h 2995474"/>
                <a:gd name="connsiteX2" fmla="*/ 277312 w 369749"/>
                <a:gd name="connsiteY2" fmla="*/ 448555 h 2995474"/>
                <a:gd name="connsiteX3" fmla="*/ 277312 w 369749"/>
                <a:gd name="connsiteY3" fmla="*/ 2823607 h 2995474"/>
                <a:gd name="connsiteX4" fmla="*/ 0 w 369749"/>
                <a:gd name="connsiteY4" fmla="*/ 2995472 h 2995474"/>
                <a:gd name="connsiteX0" fmla="*/ 92439 w 92438"/>
                <a:gd name="connsiteY0" fmla="*/ 0 h 2823608"/>
                <a:gd name="connsiteX1" fmla="*/ 92439 w 92438"/>
                <a:gd name="connsiteY1" fmla="*/ 387491 h 2823608"/>
                <a:gd name="connsiteX2" fmla="*/ 1 w 92438"/>
                <a:gd name="connsiteY2" fmla="*/ 448555 h 2823608"/>
                <a:gd name="connsiteX3" fmla="*/ 1 w 92438"/>
                <a:gd name="connsiteY3" fmla="*/ 2823607 h 2823608"/>
                <a:gd name="connsiteX0" fmla="*/ 92439 w 92438"/>
                <a:gd name="connsiteY0" fmla="*/ 0 h 2505091"/>
                <a:gd name="connsiteX1" fmla="*/ 92439 w 92438"/>
                <a:gd name="connsiteY1" fmla="*/ 387491 h 2505091"/>
                <a:gd name="connsiteX2" fmla="*/ 1 w 92438"/>
                <a:gd name="connsiteY2" fmla="*/ 448555 h 2505091"/>
                <a:gd name="connsiteX3" fmla="*/ 0 w 92438"/>
                <a:gd name="connsiteY3" fmla="*/ 2505091 h 2505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38" h="2505091">
                  <a:moveTo>
                    <a:pt x="92439" y="0"/>
                  </a:moveTo>
                  <a:lnTo>
                    <a:pt x="92439" y="387491"/>
                  </a:lnTo>
                  <a:lnTo>
                    <a:pt x="1" y="448555"/>
                  </a:lnTo>
                  <a:cubicBezTo>
                    <a:pt x="1" y="1134067"/>
                    <a:pt x="0" y="1819579"/>
                    <a:pt x="0" y="2505091"/>
                  </a:cubicBezTo>
                </a:path>
              </a:pathLst>
            </a:custGeom>
            <a:noFill/>
            <a:ln w="12700" cap="flat">
              <a:solidFill>
                <a:srgbClr val="00FFB9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5" name="Freihandform: Form 3324">
              <a:extLst>
                <a:ext uri="{FF2B5EF4-FFF2-40B4-BE49-F238E27FC236}">
                  <a16:creationId xmlns:a16="http://schemas.microsoft.com/office/drawing/2014/main" id="{55172A0C-B314-B2E1-86C7-84C91B0B6B84}"/>
                </a:ext>
              </a:extLst>
            </p:cNvPr>
            <p:cNvSpPr/>
            <p:nvPr/>
          </p:nvSpPr>
          <p:spPr>
            <a:xfrm>
              <a:off x="9755643" y="3568143"/>
              <a:ext cx="51165" cy="44316"/>
            </a:xfrm>
            <a:custGeom>
              <a:avLst/>
              <a:gdLst>
                <a:gd name="connsiteX0" fmla="*/ 0 w 253471"/>
                <a:gd name="connsiteY0" fmla="*/ 0 h 219546"/>
                <a:gd name="connsiteX1" fmla="*/ 126736 w 253471"/>
                <a:gd name="connsiteY1" fmla="*/ 73328 h 219546"/>
                <a:gd name="connsiteX2" fmla="*/ 253472 w 253471"/>
                <a:gd name="connsiteY2" fmla="*/ 62 h 219546"/>
                <a:gd name="connsiteX3" fmla="*/ 253472 w 253471"/>
                <a:gd name="connsiteY3" fmla="*/ 146468 h 219546"/>
                <a:gd name="connsiteX4" fmla="*/ 126736 w 253471"/>
                <a:gd name="connsiteY4" fmla="*/ 219547 h 219546"/>
                <a:gd name="connsiteX5" fmla="*/ 0 w 253471"/>
                <a:gd name="connsiteY5" fmla="*/ 146406 h 219546"/>
                <a:gd name="connsiteX6" fmla="*/ 0 w 253471"/>
                <a:gd name="connsiteY6" fmla="*/ 0 h 21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471" h="219546">
                  <a:moveTo>
                    <a:pt x="0" y="0"/>
                  </a:moveTo>
                  <a:lnTo>
                    <a:pt x="126736" y="73328"/>
                  </a:lnTo>
                  <a:lnTo>
                    <a:pt x="253472" y="62"/>
                  </a:lnTo>
                  <a:lnTo>
                    <a:pt x="253472" y="146468"/>
                  </a:lnTo>
                  <a:lnTo>
                    <a:pt x="126736" y="219547"/>
                  </a:lnTo>
                  <a:lnTo>
                    <a:pt x="0" y="1464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6" name="Freihandform: Form 3325">
              <a:extLst>
                <a:ext uri="{FF2B5EF4-FFF2-40B4-BE49-F238E27FC236}">
                  <a16:creationId xmlns:a16="http://schemas.microsoft.com/office/drawing/2014/main" id="{3F1D84D7-E0F5-2726-14DF-732EBF30EDC5}"/>
                </a:ext>
              </a:extLst>
            </p:cNvPr>
            <p:cNvSpPr/>
            <p:nvPr/>
          </p:nvSpPr>
          <p:spPr>
            <a:xfrm>
              <a:off x="9755667" y="3553380"/>
              <a:ext cx="51140" cy="29565"/>
            </a:xfrm>
            <a:custGeom>
              <a:avLst/>
              <a:gdLst>
                <a:gd name="connsiteX0" fmla="*/ 126612 w 253347"/>
                <a:gd name="connsiteY0" fmla="*/ 0 h 146468"/>
                <a:gd name="connsiteX1" fmla="*/ 253347 w 253347"/>
                <a:gd name="connsiteY1" fmla="*/ 73203 h 146468"/>
                <a:gd name="connsiteX2" fmla="*/ 126612 w 253347"/>
                <a:gd name="connsiteY2" fmla="*/ 146468 h 146468"/>
                <a:gd name="connsiteX3" fmla="*/ 0 w 253347"/>
                <a:gd name="connsiteY3" fmla="*/ 73888 h 146468"/>
                <a:gd name="connsiteX4" fmla="*/ 126612 w 253347"/>
                <a:gd name="connsiteY4" fmla="*/ 0 h 14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347" h="146468">
                  <a:moveTo>
                    <a:pt x="126612" y="0"/>
                  </a:moveTo>
                  <a:lnTo>
                    <a:pt x="253347" y="73203"/>
                  </a:lnTo>
                  <a:lnTo>
                    <a:pt x="126612" y="146468"/>
                  </a:lnTo>
                  <a:lnTo>
                    <a:pt x="0" y="73888"/>
                  </a:lnTo>
                  <a:lnTo>
                    <a:pt x="126612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7" name="Freihandform: Form 3326">
              <a:extLst>
                <a:ext uri="{FF2B5EF4-FFF2-40B4-BE49-F238E27FC236}">
                  <a16:creationId xmlns:a16="http://schemas.microsoft.com/office/drawing/2014/main" id="{230A824D-D9C8-B8EE-27CB-CDA78C394148}"/>
                </a:ext>
              </a:extLst>
            </p:cNvPr>
            <p:cNvSpPr/>
            <p:nvPr/>
          </p:nvSpPr>
          <p:spPr>
            <a:xfrm>
              <a:off x="9781223" y="3568155"/>
              <a:ext cx="25581" cy="44304"/>
            </a:xfrm>
            <a:custGeom>
              <a:avLst/>
              <a:gdLst>
                <a:gd name="connsiteX0" fmla="*/ 0 w 126735"/>
                <a:gd name="connsiteY0" fmla="*/ 73265 h 219484"/>
                <a:gd name="connsiteX1" fmla="*/ 0 w 126735"/>
                <a:gd name="connsiteY1" fmla="*/ 219485 h 219484"/>
                <a:gd name="connsiteX2" fmla="*/ 126736 w 126735"/>
                <a:gd name="connsiteY2" fmla="*/ 146406 h 219484"/>
                <a:gd name="connsiteX3" fmla="*/ 126736 w 126735"/>
                <a:gd name="connsiteY3" fmla="*/ 0 h 219484"/>
                <a:gd name="connsiteX4" fmla="*/ 0 w 126735"/>
                <a:gd name="connsiteY4" fmla="*/ 73265 h 21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735" h="219484">
                  <a:moveTo>
                    <a:pt x="0" y="73265"/>
                  </a:moveTo>
                  <a:lnTo>
                    <a:pt x="0" y="219485"/>
                  </a:lnTo>
                  <a:lnTo>
                    <a:pt x="126736" y="146406"/>
                  </a:lnTo>
                  <a:lnTo>
                    <a:pt x="126736" y="0"/>
                  </a:lnTo>
                  <a:lnTo>
                    <a:pt x="0" y="73265"/>
                  </a:lnTo>
                  <a:close/>
                </a:path>
              </a:pathLst>
            </a:custGeom>
            <a:solidFill>
              <a:srgbClr val="00BE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8" name="Freihandform: Form 3327">
              <a:extLst>
                <a:ext uri="{FF2B5EF4-FFF2-40B4-BE49-F238E27FC236}">
                  <a16:creationId xmlns:a16="http://schemas.microsoft.com/office/drawing/2014/main" id="{51F9BBCC-5438-59E5-77D4-A5B8BD75D653}"/>
                </a:ext>
              </a:extLst>
            </p:cNvPr>
            <p:cNvSpPr/>
            <p:nvPr/>
          </p:nvSpPr>
          <p:spPr>
            <a:xfrm>
              <a:off x="9765770" y="3545173"/>
              <a:ext cx="29829" cy="29829"/>
            </a:xfrm>
            <a:custGeom>
              <a:avLst/>
              <a:gdLst>
                <a:gd name="connsiteX0" fmla="*/ 147776 w 147775"/>
                <a:gd name="connsiteY0" fmla="*/ 73888 h 147775"/>
                <a:gd name="connsiteX1" fmla="*/ 73888 w 147775"/>
                <a:gd name="connsiteY1" fmla="*/ 147775 h 147775"/>
                <a:gd name="connsiteX2" fmla="*/ 0 w 147775"/>
                <a:gd name="connsiteY2" fmla="*/ 73888 h 147775"/>
                <a:gd name="connsiteX3" fmla="*/ 73888 w 147775"/>
                <a:gd name="connsiteY3" fmla="*/ 0 h 147775"/>
                <a:gd name="connsiteX4" fmla="*/ 147776 w 147775"/>
                <a:gd name="connsiteY4" fmla="*/ 73888 h 1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775" h="147775">
                  <a:moveTo>
                    <a:pt x="147776" y="73888"/>
                  </a:moveTo>
                  <a:cubicBezTo>
                    <a:pt x="147776" y="114695"/>
                    <a:pt x="114695" y="147775"/>
                    <a:pt x="73888" y="147775"/>
                  </a:cubicBezTo>
                  <a:cubicBezTo>
                    <a:pt x="33081" y="147775"/>
                    <a:pt x="0" y="114695"/>
                    <a:pt x="0" y="73888"/>
                  </a:cubicBezTo>
                  <a:cubicBezTo>
                    <a:pt x="0" y="33081"/>
                    <a:pt x="33081" y="0"/>
                    <a:pt x="73888" y="0"/>
                  </a:cubicBezTo>
                  <a:cubicBezTo>
                    <a:pt x="114695" y="0"/>
                    <a:pt x="147776" y="33081"/>
                    <a:pt x="147776" y="73888"/>
                  </a:cubicBezTo>
                  <a:close/>
                </a:path>
              </a:pathLst>
            </a:custGeom>
            <a:solidFill>
              <a:srgbClr val="00646E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9" name="Freihandform: Form 3328">
              <a:extLst>
                <a:ext uri="{FF2B5EF4-FFF2-40B4-BE49-F238E27FC236}">
                  <a16:creationId xmlns:a16="http://schemas.microsoft.com/office/drawing/2014/main" id="{4AAD4B5B-45D7-BFA8-D9EC-FF19E71214ED}"/>
                </a:ext>
              </a:extLst>
            </p:cNvPr>
            <p:cNvSpPr/>
            <p:nvPr/>
          </p:nvSpPr>
          <p:spPr>
            <a:xfrm>
              <a:off x="9727132" y="3604821"/>
              <a:ext cx="28573" cy="24740"/>
            </a:xfrm>
            <a:custGeom>
              <a:avLst/>
              <a:gdLst>
                <a:gd name="connsiteX0" fmla="*/ 0 w 141550"/>
                <a:gd name="connsiteY0" fmla="*/ 0 h 122565"/>
                <a:gd name="connsiteX1" fmla="*/ 70775 w 141550"/>
                <a:gd name="connsiteY1" fmla="*/ 40959 h 122565"/>
                <a:gd name="connsiteX2" fmla="*/ 141551 w 141550"/>
                <a:gd name="connsiteY2" fmla="*/ 62 h 122565"/>
                <a:gd name="connsiteX3" fmla="*/ 141551 w 141550"/>
                <a:gd name="connsiteY3" fmla="*/ 81793 h 122565"/>
                <a:gd name="connsiteX4" fmla="*/ 70775 w 141550"/>
                <a:gd name="connsiteY4" fmla="*/ 122565 h 122565"/>
                <a:gd name="connsiteX5" fmla="*/ 0 w 141550"/>
                <a:gd name="connsiteY5" fmla="*/ 81731 h 122565"/>
                <a:gd name="connsiteX6" fmla="*/ 0 w 141550"/>
                <a:gd name="connsiteY6" fmla="*/ 0 h 12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550" h="122565">
                  <a:moveTo>
                    <a:pt x="0" y="0"/>
                  </a:moveTo>
                  <a:lnTo>
                    <a:pt x="70775" y="40959"/>
                  </a:lnTo>
                  <a:lnTo>
                    <a:pt x="141551" y="62"/>
                  </a:lnTo>
                  <a:lnTo>
                    <a:pt x="141551" y="81793"/>
                  </a:lnTo>
                  <a:lnTo>
                    <a:pt x="70775" y="122565"/>
                  </a:lnTo>
                  <a:lnTo>
                    <a:pt x="0" y="817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0" name="Freihandform: Form 3329">
              <a:extLst>
                <a:ext uri="{FF2B5EF4-FFF2-40B4-BE49-F238E27FC236}">
                  <a16:creationId xmlns:a16="http://schemas.microsoft.com/office/drawing/2014/main" id="{F70BB300-E7C5-3336-6D21-52FBC105F031}"/>
                </a:ext>
              </a:extLst>
            </p:cNvPr>
            <p:cNvSpPr/>
            <p:nvPr/>
          </p:nvSpPr>
          <p:spPr>
            <a:xfrm>
              <a:off x="9727146" y="3596575"/>
              <a:ext cx="28560" cy="16510"/>
            </a:xfrm>
            <a:custGeom>
              <a:avLst/>
              <a:gdLst>
                <a:gd name="connsiteX0" fmla="*/ 70713 w 141488"/>
                <a:gd name="connsiteY0" fmla="*/ 0 h 81793"/>
                <a:gd name="connsiteX1" fmla="*/ 141489 w 141488"/>
                <a:gd name="connsiteY1" fmla="*/ 40897 h 81793"/>
                <a:gd name="connsiteX2" fmla="*/ 70713 w 141488"/>
                <a:gd name="connsiteY2" fmla="*/ 81793 h 81793"/>
                <a:gd name="connsiteX3" fmla="*/ 0 w 141488"/>
                <a:gd name="connsiteY3" fmla="*/ 41270 h 81793"/>
                <a:gd name="connsiteX4" fmla="*/ 70713 w 141488"/>
                <a:gd name="connsiteY4" fmla="*/ 0 h 8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488" h="81793">
                  <a:moveTo>
                    <a:pt x="70713" y="0"/>
                  </a:moveTo>
                  <a:lnTo>
                    <a:pt x="141489" y="40897"/>
                  </a:lnTo>
                  <a:lnTo>
                    <a:pt x="70713" y="81793"/>
                  </a:lnTo>
                  <a:lnTo>
                    <a:pt x="0" y="41270"/>
                  </a:lnTo>
                  <a:lnTo>
                    <a:pt x="70713" y="0"/>
                  </a:lnTo>
                  <a:close/>
                </a:path>
              </a:pathLst>
            </a:custGeom>
            <a:solidFill>
              <a:srgbClr val="00E6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1" name="Freihandform: Form 3330">
              <a:extLst>
                <a:ext uri="{FF2B5EF4-FFF2-40B4-BE49-F238E27FC236}">
                  <a16:creationId xmlns:a16="http://schemas.microsoft.com/office/drawing/2014/main" id="{3570A293-B200-498D-AFED-647E2617605F}"/>
                </a:ext>
              </a:extLst>
            </p:cNvPr>
            <p:cNvSpPr/>
            <p:nvPr/>
          </p:nvSpPr>
          <p:spPr>
            <a:xfrm>
              <a:off x="9741420" y="3604830"/>
              <a:ext cx="14286" cy="24727"/>
            </a:xfrm>
            <a:custGeom>
              <a:avLst/>
              <a:gdLst>
                <a:gd name="connsiteX0" fmla="*/ 0 w 70775"/>
                <a:gd name="connsiteY0" fmla="*/ 40897 h 122503"/>
                <a:gd name="connsiteX1" fmla="*/ 0 w 70775"/>
                <a:gd name="connsiteY1" fmla="*/ 122503 h 122503"/>
                <a:gd name="connsiteX2" fmla="*/ 70776 w 70775"/>
                <a:gd name="connsiteY2" fmla="*/ 81731 h 122503"/>
                <a:gd name="connsiteX3" fmla="*/ 70776 w 70775"/>
                <a:gd name="connsiteY3" fmla="*/ 0 h 122503"/>
                <a:gd name="connsiteX4" fmla="*/ 0 w 70775"/>
                <a:gd name="connsiteY4" fmla="*/ 40897 h 12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75" h="122503">
                  <a:moveTo>
                    <a:pt x="0" y="40897"/>
                  </a:moveTo>
                  <a:lnTo>
                    <a:pt x="0" y="122503"/>
                  </a:lnTo>
                  <a:lnTo>
                    <a:pt x="70776" y="81731"/>
                  </a:lnTo>
                  <a:lnTo>
                    <a:pt x="70776" y="0"/>
                  </a:lnTo>
                  <a:lnTo>
                    <a:pt x="0" y="40897"/>
                  </a:lnTo>
                  <a:close/>
                </a:path>
              </a:pathLst>
            </a:custGeom>
            <a:solidFill>
              <a:srgbClr val="00BEDC"/>
            </a:solidFill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247" name="Grafik 1070">
            <a:extLst>
              <a:ext uri="{FF2B5EF4-FFF2-40B4-BE49-F238E27FC236}">
                <a16:creationId xmlns:a16="http://schemas.microsoft.com/office/drawing/2014/main" id="{8FDC4A75-D88C-929F-22A5-1F19B7B656CA}"/>
              </a:ext>
            </a:extLst>
          </p:cNvPr>
          <p:cNvGrpSpPr/>
          <p:nvPr/>
        </p:nvGrpSpPr>
        <p:grpSpPr>
          <a:xfrm>
            <a:off x="10097759" y="2881859"/>
            <a:ext cx="903174" cy="765460"/>
            <a:chOff x="8142443" y="3579399"/>
            <a:chExt cx="960120" cy="813721"/>
          </a:xfrm>
        </p:grpSpPr>
        <p:sp>
          <p:nvSpPr>
            <p:cNvPr id="3258" name="Freihandform: Form 3257">
              <a:extLst>
                <a:ext uri="{FF2B5EF4-FFF2-40B4-BE49-F238E27FC236}">
                  <a16:creationId xmlns:a16="http://schemas.microsoft.com/office/drawing/2014/main" id="{97783420-44DD-F00E-0D3B-534E173C98E0}"/>
                </a:ext>
              </a:extLst>
            </p:cNvPr>
            <p:cNvSpPr/>
            <p:nvPr/>
          </p:nvSpPr>
          <p:spPr>
            <a:xfrm>
              <a:off x="8616787" y="3579399"/>
              <a:ext cx="485775" cy="336042"/>
            </a:xfrm>
            <a:custGeom>
              <a:avLst/>
              <a:gdLst>
                <a:gd name="connsiteX0" fmla="*/ 367093 w 485775"/>
                <a:gd name="connsiteY0" fmla="*/ 336042 h 336042"/>
                <a:gd name="connsiteX1" fmla="*/ 0 w 485775"/>
                <a:gd name="connsiteY1" fmla="*/ 127159 h 336042"/>
                <a:gd name="connsiteX2" fmla="*/ 118681 w 485775"/>
                <a:gd name="connsiteY2" fmla="*/ 0 h 336042"/>
                <a:gd name="connsiteX3" fmla="*/ 485775 w 485775"/>
                <a:gd name="connsiteY3" fmla="*/ 208883 h 336042"/>
                <a:gd name="connsiteX4" fmla="*/ 367093 w 485775"/>
                <a:gd name="connsiteY4" fmla="*/ 336042 h 336042"/>
                <a:gd name="connsiteX5" fmla="*/ 367093 w 485775"/>
                <a:gd name="connsiteY5" fmla="*/ 336042 h 336042"/>
                <a:gd name="connsiteX6" fmla="*/ 367093 w 485775"/>
                <a:gd name="connsiteY6" fmla="*/ 336042 h 336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5775" h="336042">
                  <a:moveTo>
                    <a:pt x="367093" y="336042"/>
                  </a:moveTo>
                  <a:lnTo>
                    <a:pt x="0" y="127159"/>
                  </a:lnTo>
                  <a:lnTo>
                    <a:pt x="118681" y="0"/>
                  </a:lnTo>
                  <a:lnTo>
                    <a:pt x="485775" y="208883"/>
                  </a:lnTo>
                  <a:lnTo>
                    <a:pt x="367093" y="336042"/>
                  </a:lnTo>
                  <a:lnTo>
                    <a:pt x="367093" y="336042"/>
                  </a:lnTo>
                  <a:lnTo>
                    <a:pt x="367093" y="336042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59" name="Freihandform: Form 3258">
              <a:extLst>
                <a:ext uri="{FF2B5EF4-FFF2-40B4-BE49-F238E27FC236}">
                  <a16:creationId xmlns:a16="http://schemas.microsoft.com/office/drawing/2014/main" id="{2522FC0C-F9DA-33E2-8A46-29A370CE56AE}"/>
                </a:ext>
              </a:extLst>
            </p:cNvPr>
            <p:cNvSpPr/>
            <p:nvPr/>
          </p:nvSpPr>
          <p:spPr>
            <a:xfrm>
              <a:off x="8497915" y="3647978"/>
              <a:ext cx="485775" cy="336042"/>
            </a:xfrm>
            <a:custGeom>
              <a:avLst/>
              <a:gdLst>
                <a:gd name="connsiteX0" fmla="*/ 367094 w 485775"/>
                <a:gd name="connsiteY0" fmla="*/ 336042 h 336042"/>
                <a:gd name="connsiteX1" fmla="*/ 0 w 485775"/>
                <a:gd name="connsiteY1" fmla="*/ 127159 h 336042"/>
                <a:gd name="connsiteX2" fmla="*/ 118681 w 485775"/>
                <a:gd name="connsiteY2" fmla="*/ 0 h 336042"/>
                <a:gd name="connsiteX3" fmla="*/ 485775 w 485775"/>
                <a:gd name="connsiteY3" fmla="*/ 208883 h 336042"/>
                <a:gd name="connsiteX4" fmla="*/ 367094 w 485775"/>
                <a:gd name="connsiteY4" fmla="*/ 336042 h 336042"/>
                <a:gd name="connsiteX5" fmla="*/ 367094 w 485775"/>
                <a:gd name="connsiteY5" fmla="*/ 336042 h 336042"/>
                <a:gd name="connsiteX6" fmla="*/ 367094 w 485775"/>
                <a:gd name="connsiteY6" fmla="*/ 336042 h 336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5775" h="336042">
                  <a:moveTo>
                    <a:pt x="367094" y="336042"/>
                  </a:moveTo>
                  <a:lnTo>
                    <a:pt x="0" y="127159"/>
                  </a:lnTo>
                  <a:lnTo>
                    <a:pt x="118681" y="0"/>
                  </a:lnTo>
                  <a:lnTo>
                    <a:pt x="485775" y="208883"/>
                  </a:lnTo>
                  <a:lnTo>
                    <a:pt x="367094" y="336042"/>
                  </a:lnTo>
                  <a:lnTo>
                    <a:pt x="367094" y="336042"/>
                  </a:lnTo>
                  <a:lnTo>
                    <a:pt x="367094" y="336042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0" name="Freihandform: Form 3259">
              <a:extLst>
                <a:ext uri="{FF2B5EF4-FFF2-40B4-BE49-F238E27FC236}">
                  <a16:creationId xmlns:a16="http://schemas.microsoft.com/office/drawing/2014/main" id="{1D6E93E7-592C-6EB0-80FC-DFF9D9C82ED5}"/>
                </a:ext>
              </a:extLst>
            </p:cNvPr>
            <p:cNvSpPr/>
            <p:nvPr/>
          </p:nvSpPr>
          <p:spPr>
            <a:xfrm>
              <a:off x="8380186" y="3716559"/>
              <a:ext cx="484631" cy="336041"/>
            </a:xfrm>
            <a:custGeom>
              <a:avLst/>
              <a:gdLst>
                <a:gd name="connsiteX0" fmla="*/ 366236 w 484631"/>
                <a:gd name="connsiteY0" fmla="*/ 336042 h 336041"/>
                <a:gd name="connsiteX1" fmla="*/ 0 w 484631"/>
                <a:gd name="connsiteY1" fmla="*/ 127159 h 336041"/>
                <a:gd name="connsiteX2" fmla="*/ 118396 w 484631"/>
                <a:gd name="connsiteY2" fmla="*/ 0 h 336041"/>
                <a:gd name="connsiteX3" fmla="*/ 484632 w 484631"/>
                <a:gd name="connsiteY3" fmla="*/ 208883 h 336041"/>
                <a:gd name="connsiteX4" fmla="*/ 366236 w 484631"/>
                <a:gd name="connsiteY4" fmla="*/ 336042 h 336041"/>
                <a:gd name="connsiteX5" fmla="*/ 366236 w 484631"/>
                <a:gd name="connsiteY5" fmla="*/ 336042 h 336041"/>
                <a:gd name="connsiteX6" fmla="*/ 366236 w 484631"/>
                <a:gd name="connsiteY6" fmla="*/ 336042 h 33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4631" h="336041">
                  <a:moveTo>
                    <a:pt x="366236" y="336042"/>
                  </a:moveTo>
                  <a:lnTo>
                    <a:pt x="0" y="127159"/>
                  </a:lnTo>
                  <a:lnTo>
                    <a:pt x="118396" y="0"/>
                  </a:lnTo>
                  <a:lnTo>
                    <a:pt x="484632" y="208883"/>
                  </a:lnTo>
                  <a:lnTo>
                    <a:pt x="366236" y="336042"/>
                  </a:lnTo>
                  <a:lnTo>
                    <a:pt x="366236" y="336042"/>
                  </a:lnTo>
                  <a:lnTo>
                    <a:pt x="366236" y="336042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1" name="Freihandform: Form 3260">
              <a:extLst>
                <a:ext uri="{FF2B5EF4-FFF2-40B4-BE49-F238E27FC236}">
                  <a16:creationId xmlns:a16="http://schemas.microsoft.com/office/drawing/2014/main" id="{9957FC89-9930-BBAB-6921-DEBFBD9A9865}"/>
                </a:ext>
              </a:extLst>
            </p:cNvPr>
            <p:cNvSpPr/>
            <p:nvPr/>
          </p:nvSpPr>
          <p:spPr>
            <a:xfrm>
              <a:off x="8142443" y="3978211"/>
              <a:ext cx="366903" cy="414908"/>
            </a:xfrm>
            <a:custGeom>
              <a:avLst/>
              <a:gdLst>
                <a:gd name="connsiteX0" fmla="*/ 366903 w 366903"/>
                <a:gd name="connsiteY0" fmla="*/ 414909 h 414908"/>
                <a:gd name="connsiteX1" fmla="*/ 476 w 366903"/>
                <a:gd name="connsiteY1" fmla="*/ 205740 h 414908"/>
                <a:gd name="connsiteX2" fmla="*/ 0 w 366903"/>
                <a:gd name="connsiteY2" fmla="*/ 0 h 414908"/>
                <a:gd name="connsiteX3" fmla="*/ 366427 w 366903"/>
                <a:gd name="connsiteY3" fmla="*/ 209169 h 414908"/>
                <a:gd name="connsiteX4" fmla="*/ 366903 w 366903"/>
                <a:gd name="connsiteY4" fmla="*/ 414909 h 414908"/>
                <a:gd name="connsiteX5" fmla="*/ 366903 w 366903"/>
                <a:gd name="connsiteY5" fmla="*/ 414909 h 414908"/>
                <a:gd name="connsiteX6" fmla="*/ 366903 w 366903"/>
                <a:gd name="connsiteY6" fmla="*/ 414909 h 41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6903" h="414908">
                  <a:moveTo>
                    <a:pt x="366903" y="414909"/>
                  </a:moveTo>
                  <a:lnTo>
                    <a:pt x="476" y="205740"/>
                  </a:lnTo>
                  <a:lnTo>
                    <a:pt x="0" y="0"/>
                  </a:lnTo>
                  <a:lnTo>
                    <a:pt x="366427" y="209169"/>
                  </a:lnTo>
                  <a:lnTo>
                    <a:pt x="366903" y="414909"/>
                  </a:lnTo>
                  <a:lnTo>
                    <a:pt x="366903" y="414909"/>
                  </a:lnTo>
                  <a:lnTo>
                    <a:pt x="366903" y="414909"/>
                  </a:lnTo>
                  <a:close/>
                </a:path>
              </a:pathLst>
            </a:custGeom>
            <a:solidFill>
              <a:srgbClr val="CCCC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2" name="Freihandform: Form 3261">
              <a:extLst>
                <a:ext uri="{FF2B5EF4-FFF2-40B4-BE49-F238E27FC236}">
                  <a16:creationId xmlns:a16="http://schemas.microsoft.com/office/drawing/2014/main" id="{BA71D767-7A0B-EAE8-8761-75053157D004}"/>
                </a:ext>
              </a:extLst>
            </p:cNvPr>
            <p:cNvSpPr/>
            <p:nvPr/>
          </p:nvSpPr>
          <p:spPr>
            <a:xfrm>
              <a:off x="8261314" y="3785138"/>
              <a:ext cx="484632" cy="336041"/>
            </a:xfrm>
            <a:custGeom>
              <a:avLst/>
              <a:gdLst>
                <a:gd name="connsiteX0" fmla="*/ 366236 w 484632"/>
                <a:gd name="connsiteY0" fmla="*/ 336042 h 336041"/>
                <a:gd name="connsiteX1" fmla="*/ 0 w 484632"/>
                <a:gd name="connsiteY1" fmla="*/ 127159 h 336041"/>
                <a:gd name="connsiteX2" fmla="*/ 118396 w 484632"/>
                <a:gd name="connsiteY2" fmla="*/ 0 h 336041"/>
                <a:gd name="connsiteX3" fmla="*/ 484632 w 484632"/>
                <a:gd name="connsiteY3" fmla="*/ 208883 h 336041"/>
                <a:gd name="connsiteX4" fmla="*/ 366236 w 484632"/>
                <a:gd name="connsiteY4" fmla="*/ 336042 h 336041"/>
                <a:gd name="connsiteX5" fmla="*/ 366236 w 484632"/>
                <a:gd name="connsiteY5" fmla="*/ 336042 h 336041"/>
                <a:gd name="connsiteX6" fmla="*/ 366236 w 484632"/>
                <a:gd name="connsiteY6" fmla="*/ 336042 h 33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4632" h="336041">
                  <a:moveTo>
                    <a:pt x="366236" y="336042"/>
                  </a:moveTo>
                  <a:lnTo>
                    <a:pt x="0" y="127159"/>
                  </a:lnTo>
                  <a:lnTo>
                    <a:pt x="118396" y="0"/>
                  </a:lnTo>
                  <a:lnTo>
                    <a:pt x="484632" y="208883"/>
                  </a:lnTo>
                  <a:lnTo>
                    <a:pt x="366236" y="336042"/>
                  </a:lnTo>
                  <a:lnTo>
                    <a:pt x="366236" y="336042"/>
                  </a:lnTo>
                  <a:lnTo>
                    <a:pt x="366236" y="336042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3" name="Freihandform: Form 3262">
              <a:extLst>
                <a:ext uri="{FF2B5EF4-FFF2-40B4-BE49-F238E27FC236}">
                  <a16:creationId xmlns:a16="http://schemas.microsoft.com/office/drawing/2014/main" id="{BFF25336-42DB-53ED-8C90-B9730363930B}"/>
                </a:ext>
              </a:extLst>
            </p:cNvPr>
            <p:cNvSpPr/>
            <p:nvPr/>
          </p:nvSpPr>
          <p:spPr>
            <a:xfrm>
              <a:off x="8142443" y="3853718"/>
              <a:ext cx="484632" cy="336041"/>
            </a:xfrm>
            <a:custGeom>
              <a:avLst/>
              <a:gdLst>
                <a:gd name="connsiteX0" fmla="*/ 366236 w 484632"/>
                <a:gd name="connsiteY0" fmla="*/ 336042 h 336041"/>
                <a:gd name="connsiteX1" fmla="*/ 0 w 484632"/>
                <a:gd name="connsiteY1" fmla="*/ 127159 h 336041"/>
                <a:gd name="connsiteX2" fmla="*/ 118396 w 484632"/>
                <a:gd name="connsiteY2" fmla="*/ 0 h 336041"/>
                <a:gd name="connsiteX3" fmla="*/ 484632 w 484632"/>
                <a:gd name="connsiteY3" fmla="*/ 208883 h 336041"/>
                <a:gd name="connsiteX4" fmla="*/ 366236 w 484632"/>
                <a:gd name="connsiteY4" fmla="*/ 336042 h 336041"/>
                <a:gd name="connsiteX5" fmla="*/ 366236 w 484632"/>
                <a:gd name="connsiteY5" fmla="*/ 336042 h 336041"/>
                <a:gd name="connsiteX6" fmla="*/ 366236 w 484632"/>
                <a:gd name="connsiteY6" fmla="*/ 336042 h 33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4632" h="336041">
                  <a:moveTo>
                    <a:pt x="366236" y="336042"/>
                  </a:moveTo>
                  <a:lnTo>
                    <a:pt x="0" y="127159"/>
                  </a:lnTo>
                  <a:lnTo>
                    <a:pt x="118396" y="0"/>
                  </a:lnTo>
                  <a:lnTo>
                    <a:pt x="484632" y="208883"/>
                  </a:lnTo>
                  <a:lnTo>
                    <a:pt x="366236" y="336042"/>
                  </a:lnTo>
                  <a:lnTo>
                    <a:pt x="366236" y="336042"/>
                  </a:lnTo>
                  <a:lnTo>
                    <a:pt x="366236" y="336042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4" name="Freihandform: Form 3263">
              <a:extLst>
                <a:ext uri="{FF2B5EF4-FFF2-40B4-BE49-F238E27FC236}">
                  <a16:creationId xmlns:a16="http://schemas.microsoft.com/office/drawing/2014/main" id="{34804C10-F028-B8B8-1ED9-E0F6168A54C0}"/>
                </a:ext>
              </a:extLst>
            </p:cNvPr>
            <p:cNvSpPr/>
            <p:nvPr/>
          </p:nvSpPr>
          <p:spPr>
            <a:xfrm>
              <a:off x="8509346" y="3786187"/>
              <a:ext cx="593217" cy="606933"/>
            </a:xfrm>
            <a:custGeom>
              <a:avLst/>
              <a:gdLst>
                <a:gd name="connsiteX0" fmla="*/ 592550 w 593217"/>
                <a:gd name="connsiteY0" fmla="*/ 0 h 606933"/>
                <a:gd name="connsiteX1" fmla="*/ 592646 w 593217"/>
                <a:gd name="connsiteY1" fmla="*/ 58769 h 606933"/>
                <a:gd name="connsiteX2" fmla="*/ 593217 w 593217"/>
                <a:gd name="connsiteY2" fmla="*/ 264319 h 606933"/>
                <a:gd name="connsiteX3" fmla="*/ 120015 w 593217"/>
                <a:gd name="connsiteY3" fmla="*/ 537972 h 606933"/>
                <a:gd name="connsiteX4" fmla="*/ 108204 w 593217"/>
                <a:gd name="connsiteY4" fmla="*/ 532638 h 606933"/>
                <a:gd name="connsiteX5" fmla="*/ 18288 w 593217"/>
                <a:gd name="connsiteY5" fmla="*/ 584454 h 606933"/>
                <a:gd name="connsiteX6" fmla="*/ 18288 w 593217"/>
                <a:gd name="connsiteY6" fmla="*/ 596741 h 606933"/>
                <a:gd name="connsiteX7" fmla="*/ 476 w 593217"/>
                <a:gd name="connsiteY7" fmla="*/ 606933 h 606933"/>
                <a:gd name="connsiteX8" fmla="*/ 0 w 593217"/>
                <a:gd name="connsiteY8" fmla="*/ 401384 h 606933"/>
                <a:gd name="connsiteX9" fmla="*/ 118396 w 593217"/>
                <a:gd name="connsiteY9" fmla="*/ 274130 h 606933"/>
                <a:gd name="connsiteX10" fmla="*/ 118586 w 593217"/>
                <a:gd name="connsiteY10" fmla="*/ 332804 h 606933"/>
                <a:gd name="connsiteX11" fmla="*/ 236887 w 593217"/>
                <a:gd name="connsiteY11" fmla="*/ 205550 h 606933"/>
                <a:gd name="connsiteX12" fmla="*/ 237077 w 593217"/>
                <a:gd name="connsiteY12" fmla="*/ 264319 h 606933"/>
                <a:gd name="connsiteX13" fmla="*/ 355473 w 593217"/>
                <a:gd name="connsiteY13" fmla="*/ 137065 h 606933"/>
                <a:gd name="connsiteX14" fmla="*/ 355664 w 593217"/>
                <a:gd name="connsiteY14" fmla="*/ 195739 h 606933"/>
                <a:gd name="connsiteX15" fmla="*/ 473964 w 593217"/>
                <a:gd name="connsiteY15" fmla="*/ 68485 h 606933"/>
                <a:gd name="connsiteX16" fmla="*/ 474155 w 593217"/>
                <a:gd name="connsiteY16" fmla="*/ 127254 h 606933"/>
                <a:gd name="connsiteX17" fmla="*/ 592550 w 593217"/>
                <a:gd name="connsiteY17" fmla="*/ 0 h 606933"/>
                <a:gd name="connsiteX18" fmla="*/ 592550 w 593217"/>
                <a:gd name="connsiteY18" fmla="*/ 0 h 606933"/>
                <a:gd name="connsiteX19" fmla="*/ 592550 w 593217"/>
                <a:gd name="connsiteY19" fmla="*/ 0 h 606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3217" h="606933">
                  <a:moveTo>
                    <a:pt x="592550" y="0"/>
                  </a:moveTo>
                  <a:lnTo>
                    <a:pt x="592646" y="58769"/>
                  </a:lnTo>
                  <a:lnTo>
                    <a:pt x="593217" y="264319"/>
                  </a:lnTo>
                  <a:lnTo>
                    <a:pt x="120015" y="537972"/>
                  </a:lnTo>
                  <a:lnTo>
                    <a:pt x="108204" y="532638"/>
                  </a:lnTo>
                  <a:lnTo>
                    <a:pt x="18288" y="584454"/>
                  </a:lnTo>
                  <a:lnTo>
                    <a:pt x="18288" y="596741"/>
                  </a:lnTo>
                  <a:lnTo>
                    <a:pt x="476" y="606933"/>
                  </a:lnTo>
                  <a:lnTo>
                    <a:pt x="0" y="401384"/>
                  </a:lnTo>
                  <a:lnTo>
                    <a:pt x="118396" y="274130"/>
                  </a:lnTo>
                  <a:lnTo>
                    <a:pt x="118586" y="332804"/>
                  </a:lnTo>
                  <a:lnTo>
                    <a:pt x="236887" y="205550"/>
                  </a:lnTo>
                  <a:lnTo>
                    <a:pt x="237077" y="264319"/>
                  </a:lnTo>
                  <a:lnTo>
                    <a:pt x="355473" y="137065"/>
                  </a:lnTo>
                  <a:lnTo>
                    <a:pt x="355664" y="195739"/>
                  </a:lnTo>
                  <a:lnTo>
                    <a:pt x="473964" y="68485"/>
                  </a:lnTo>
                  <a:lnTo>
                    <a:pt x="474155" y="127254"/>
                  </a:lnTo>
                  <a:lnTo>
                    <a:pt x="592550" y="0"/>
                  </a:lnTo>
                  <a:lnTo>
                    <a:pt x="592550" y="0"/>
                  </a:lnTo>
                  <a:lnTo>
                    <a:pt x="592550" y="0"/>
                  </a:lnTo>
                  <a:close/>
                </a:path>
              </a:pathLst>
            </a:custGeom>
            <a:solidFill>
              <a:srgbClr val="E5E5E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5" name="Freihandform: Form 3264">
              <a:extLst>
                <a:ext uri="{FF2B5EF4-FFF2-40B4-BE49-F238E27FC236}">
                  <a16:creationId xmlns:a16="http://schemas.microsoft.com/office/drawing/2014/main" id="{F4E9AA7A-094D-CCBA-362A-2C46A8FB132C}"/>
                </a:ext>
              </a:extLst>
            </p:cNvPr>
            <p:cNvSpPr/>
            <p:nvPr/>
          </p:nvSpPr>
          <p:spPr>
            <a:xfrm>
              <a:off x="8159587" y="4023931"/>
              <a:ext cx="101726" cy="101726"/>
            </a:xfrm>
            <a:custGeom>
              <a:avLst/>
              <a:gdLst>
                <a:gd name="connsiteX0" fmla="*/ 0 w 101726"/>
                <a:gd name="connsiteY0" fmla="*/ 0 h 101726"/>
                <a:gd name="connsiteX1" fmla="*/ 0 w 101726"/>
                <a:gd name="connsiteY1" fmla="*/ 43624 h 101726"/>
                <a:gd name="connsiteX2" fmla="*/ 101727 w 101726"/>
                <a:gd name="connsiteY2" fmla="*/ 101727 h 101726"/>
                <a:gd name="connsiteX3" fmla="*/ 101727 w 101726"/>
                <a:gd name="connsiteY3" fmla="*/ 58102 h 101726"/>
                <a:gd name="connsiteX4" fmla="*/ 0 w 101726"/>
                <a:gd name="connsiteY4" fmla="*/ 0 h 101726"/>
                <a:gd name="connsiteX5" fmla="*/ 0 w 101726"/>
                <a:gd name="connsiteY5" fmla="*/ 0 h 101726"/>
                <a:gd name="connsiteX6" fmla="*/ 0 w 101726"/>
                <a:gd name="connsiteY6" fmla="*/ 0 h 101726"/>
                <a:gd name="connsiteX7" fmla="*/ 0 w 101726"/>
                <a:gd name="connsiteY7" fmla="*/ 0 h 101726"/>
                <a:gd name="connsiteX8" fmla="*/ 0 w 101726"/>
                <a:gd name="connsiteY8" fmla="*/ 0 h 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6" h="101726">
                  <a:moveTo>
                    <a:pt x="0" y="0"/>
                  </a:moveTo>
                  <a:lnTo>
                    <a:pt x="0" y="43624"/>
                  </a:lnTo>
                  <a:lnTo>
                    <a:pt x="101727" y="101727"/>
                  </a:lnTo>
                  <a:lnTo>
                    <a:pt x="101727" y="5810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7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6" name="Freihandform: Form 3265">
              <a:extLst>
                <a:ext uri="{FF2B5EF4-FFF2-40B4-BE49-F238E27FC236}">
                  <a16:creationId xmlns:a16="http://schemas.microsoft.com/office/drawing/2014/main" id="{9E18F6D5-1AB9-EA10-D81F-DD485169A48D}"/>
                </a:ext>
              </a:extLst>
            </p:cNvPr>
            <p:cNvSpPr/>
            <p:nvPr/>
          </p:nvSpPr>
          <p:spPr>
            <a:xfrm>
              <a:off x="8159587" y="4045648"/>
              <a:ext cx="101726" cy="80009"/>
            </a:xfrm>
            <a:custGeom>
              <a:avLst/>
              <a:gdLst>
                <a:gd name="connsiteX0" fmla="*/ 0 w 101726"/>
                <a:gd name="connsiteY0" fmla="*/ 21812 h 80009"/>
                <a:gd name="connsiteX1" fmla="*/ 38100 w 101726"/>
                <a:gd name="connsiteY1" fmla="*/ 0 h 80009"/>
                <a:gd name="connsiteX2" fmla="*/ 101727 w 101726"/>
                <a:gd name="connsiteY2" fmla="*/ 36385 h 80009"/>
                <a:gd name="connsiteX3" fmla="*/ 101727 w 101726"/>
                <a:gd name="connsiteY3" fmla="*/ 80010 h 80009"/>
                <a:gd name="connsiteX4" fmla="*/ 0 w 101726"/>
                <a:gd name="connsiteY4" fmla="*/ 21812 h 80009"/>
                <a:gd name="connsiteX5" fmla="*/ 0 w 101726"/>
                <a:gd name="connsiteY5" fmla="*/ 21812 h 80009"/>
                <a:gd name="connsiteX6" fmla="*/ 0 w 101726"/>
                <a:gd name="connsiteY6" fmla="*/ 21812 h 80009"/>
                <a:gd name="connsiteX7" fmla="*/ 0 w 101726"/>
                <a:gd name="connsiteY7" fmla="*/ 21812 h 80009"/>
                <a:gd name="connsiteX8" fmla="*/ 0 w 101726"/>
                <a:gd name="connsiteY8" fmla="*/ 21812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6" h="80009">
                  <a:moveTo>
                    <a:pt x="0" y="21812"/>
                  </a:moveTo>
                  <a:lnTo>
                    <a:pt x="38100" y="0"/>
                  </a:lnTo>
                  <a:lnTo>
                    <a:pt x="101727" y="36385"/>
                  </a:lnTo>
                  <a:lnTo>
                    <a:pt x="101727" y="80010"/>
                  </a:lnTo>
                  <a:lnTo>
                    <a:pt x="0" y="21812"/>
                  </a:lnTo>
                  <a:lnTo>
                    <a:pt x="0" y="21812"/>
                  </a:lnTo>
                  <a:lnTo>
                    <a:pt x="0" y="21812"/>
                  </a:lnTo>
                  <a:lnTo>
                    <a:pt x="0" y="21812"/>
                  </a:lnTo>
                  <a:lnTo>
                    <a:pt x="0" y="21812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7" name="Freihandform: Form 3266">
              <a:extLst>
                <a:ext uri="{FF2B5EF4-FFF2-40B4-BE49-F238E27FC236}">
                  <a16:creationId xmlns:a16="http://schemas.microsoft.com/office/drawing/2014/main" id="{63017E86-277E-474F-4747-6115FB4A5D6B}"/>
                </a:ext>
              </a:extLst>
            </p:cNvPr>
            <p:cNvSpPr/>
            <p:nvPr/>
          </p:nvSpPr>
          <p:spPr>
            <a:xfrm>
              <a:off x="8273888" y="4089082"/>
              <a:ext cx="101726" cy="102870"/>
            </a:xfrm>
            <a:custGeom>
              <a:avLst/>
              <a:gdLst>
                <a:gd name="connsiteX0" fmla="*/ 0 w 101726"/>
                <a:gd name="connsiteY0" fmla="*/ 0 h 102870"/>
                <a:gd name="connsiteX1" fmla="*/ 0 w 101726"/>
                <a:gd name="connsiteY1" fmla="*/ 44101 h 102870"/>
                <a:gd name="connsiteX2" fmla="*/ 101727 w 101726"/>
                <a:gd name="connsiteY2" fmla="*/ 102870 h 102870"/>
                <a:gd name="connsiteX3" fmla="*/ 101727 w 101726"/>
                <a:gd name="connsiteY3" fmla="*/ 58769 h 102870"/>
                <a:gd name="connsiteX4" fmla="*/ 0 w 101726"/>
                <a:gd name="connsiteY4" fmla="*/ 0 h 102870"/>
                <a:gd name="connsiteX5" fmla="*/ 0 w 101726"/>
                <a:gd name="connsiteY5" fmla="*/ 0 h 102870"/>
                <a:gd name="connsiteX6" fmla="*/ 0 w 101726"/>
                <a:gd name="connsiteY6" fmla="*/ 0 h 102870"/>
                <a:gd name="connsiteX7" fmla="*/ 0 w 101726"/>
                <a:gd name="connsiteY7" fmla="*/ 0 h 102870"/>
                <a:gd name="connsiteX8" fmla="*/ 0 w 101726"/>
                <a:gd name="connsiteY8" fmla="*/ 0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6" h="102870">
                  <a:moveTo>
                    <a:pt x="0" y="0"/>
                  </a:moveTo>
                  <a:lnTo>
                    <a:pt x="0" y="44101"/>
                  </a:lnTo>
                  <a:lnTo>
                    <a:pt x="101727" y="102870"/>
                  </a:lnTo>
                  <a:lnTo>
                    <a:pt x="101727" y="5876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7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8" name="Freihandform: Form 3267">
              <a:extLst>
                <a:ext uri="{FF2B5EF4-FFF2-40B4-BE49-F238E27FC236}">
                  <a16:creationId xmlns:a16="http://schemas.microsoft.com/office/drawing/2014/main" id="{DBA6FDBC-2571-55D5-A660-5C1281ADE1AB}"/>
                </a:ext>
              </a:extLst>
            </p:cNvPr>
            <p:cNvSpPr/>
            <p:nvPr/>
          </p:nvSpPr>
          <p:spPr>
            <a:xfrm>
              <a:off x="8273888" y="4110799"/>
              <a:ext cx="101726" cy="81153"/>
            </a:xfrm>
            <a:custGeom>
              <a:avLst/>
              <a:gdLst>
                <a:gd name="connsiteX0" fmla="*/ 0 w 101726"/>
                <a:gd name="connsiteY0" fmla="*/ 22098 h 81153"/>
                <a:gd name="connsiteX1" fmla="*/ 38195 w 101726"/>
                <a:gd name="connsiteY1" fmla="*/ 0 h 81153"/>
                <a:gd name="connsiteX2" fmla="*/ 101727 w 101726"/>
                <a:gd name="connsiteY2" fmla="*/ 36862 h 81153"/>
                <a:gd name="connsiteX3" fmla="*/ 101727 w 101726"/>
                <a:gd name="connsiteY3" fmla="*/ 81153 h 81153"/>
                <a:gd name="connsiteX4" fmla="*/ 0 w 101726"/>
                <a:gd name="connsiteY4" fmla="*/ 22098 h 81153"/>
                <a:gd name="connsiteX5" fmla="*/ 0 w 101726"/>
                <a:gd name="connsiteY5" fmla="*/ 22098 h 81153"/>
                <a:gd name="connsiteX6" fmla="*/ 0 w 101726"/>
                <a:gd name="connsiteY6" fmla="*/ 22098 h 81153"/>
                <a:gd name="connsiteX7" fmla="*/ 0 w 101726"/>
                <a:gd name="connsiteY7" fmla="*/ 22098 h 81153"/>
                <a:gd name="connsiteX8" fmla="*/ 0 w 101726"/>
                <a:gd name="connsiteY8" fmla="*/ 22098 h 8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6" h="81153">
                  <a:moveTo>
                    <a:pt x="0" y="22098"/>
                  </a:moveTo>
                  <a:lnTo>
                    <a:pt x="38195" y="0"/>
                  </a:lnTo>
                  <a:lnTo>
                    <a:pt x="101727" y="36862"/>
                  </a:lnTo>
                  <a:lnTo>
                    <a:pt x="101727" y="81153"/>
                  </a:lnTo>
                  <a:lnTo>
                    <a:pt x="0" y="22098"/>
                  </a:lnTo>
                  <a:lnTo>
                    <a:pt x="0" y="22098"/>
                  </a:lnTo>
                  <a:lnTo>
                    <a:pt x="0" y="22098"/>
                  </a:lnTo>
                  <a:lnTo>
                    <a:pt x="0" y="22098"/>
                  </a:lnTo>
                  <a:lnTo>
                    <a:pt x="0" y="22098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9" name="Freihandform: Form 3268">
              <a:extLst>
                <a:ext uri="{FF2B5EF4-FFF2-40B4-BE49-F238E27FC236}">
                  <a16:creationId xmlns:a16="http://schemas.microsoft.com/office/drawing/2014/main" id="{517620ED-DC78-49A6-E690-D687CA4FC894}"/>
                </a:ext>
              </a:extLst>
            </p:cNvPr>
            <p:cNvSpPr/>
            <p:nvPr/>
          </p:nvSpPr>
          <p:spPr>
            <a:xfrm>
              <a:off x="8388187" y="4155375"/>
              <a:ext cx="101727" cy="101727"/>
            </a:xfrm>
            <a:custGeom>
              <a:avLst/>
              <a:gdLst>
                <a:gd name="connsiteX0" fmla="*/ 0 w 101727"/>
                <a:gd name="connsiteY0" fmla="*/ 0 h 101727"/>
                <a:gd name="connsiteX1" fmla="*/ 0 w 101727"/>
                <a:gd name="connsiteY1" fmla="*/ 43625 h 101727"/>
                <a:gd name="connsiteX2" fmla="*/ 101727 w 101727"/>
                <a:gd name="connsiteY2" fmla="*/ 101727 h 101727"/>
                <a:gd name="connsiteX3" fmla="*/ 101727 w 101727"/>
                <a:gd name="connsiteY3" fmla="*/ 58103 h 101727"/>
                <a:gd name="connsiteX4" fmla="*/ 0 w 101727"/>
                <a:gd name="connsiteY4" fmla="*/ 0 h 101727"/>
                <a:gd name="connsiteX5" fmla="*/ 0 w 101727"/>
                <a:gd name="connsiteY5" fmla="*/ 0 h 101727"/>
                <a:gd name="connsiteX6" fmla="*/ 0 w 101727"/>
                <a:gd name="connsiteY6" fmla="*/ 0 h 101727"/>
                <a:gd name="connsiteX7" fmla="*/ 0 w 101727"/>
                <a:gd name="connsiteY7" fmla="*/ 0 h 101727"/>
                <a:gd name="connsiteX8" fmla="*/ 0 w 101727"/>
                <a:gd name="connsiteY8" fmla="*/ 0 h 10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7" h="101727">
                  <a:moveTo>
                    <a:pt x="0" y="0"/>
                  </a:moveTo>
                  <a:lnTo>
                    <a:pt x="0" y="43625"/>
                  </a:lnTo>
                  <a:lnTo>
                    <a:pt x="101727" y="101727"/>
                  </a:lnTo>
                  <a:lnTo>
                    <a:pt x="101727" y="5810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7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0" name="Freihandform: Form 3269">
              <a:extLst>
                <a:ext uri="{FF2B5EF4-FFF2-40B4-BE49-F238E27FC236}">
                  <a16:creationId xmlns:a16="http://schemas.microsoft.com/office/drawing/2014/main" id="{8DA2147B-3056-B6C4-F966-8FF40E0F7B96}"/>
                </a:ext>
              </a:extLst>
            </p:cNvPr>
            <p:cNvSpPr/>
            <p:nvPr/>
          </p:nvSpPr>
          <p:spPr>
            <a:xfrm>
              <a:off x="8388187" y="4177092"/>
              <a:ext cx="101727" cy="80010"/>
            </a:xfrm>
            <a:custGeom>
              <a:avLst/>
              <a:gdLst>
                <a:gd name="connsiteX0" fmla="*/ 0 w 101727"/>
                <a:gd name="connsiteY0" fmla="*/ 21812 h 80010"/>
                <a:gd name="connsiteX1" fmla="*/ 38195 w 101727"/>
                <a:gd name="connsiteY1" fmla="*/ 0 h 80010"/>
                <a:gd name="connsiteX2" fmla="*/ 101727 w 101727"/>
                <a:gd name="connsiteY2" fmla="*/ 36386 h 80010"/>
                <a:gd name="connsiteX3" fmla="*/ 101727 w 101727"/>
                <a:gd name="connsiteY3" fmla="*/ 80010 h 80010"/>
                <a:gd name="connsiteX4" fmla="*/ 0 w 101727"/>
                <a:gd name="connsiteY4" fmla="*/ 21812 h 80010"/>
                <a:gd name="connsiteX5" fmla="*/ 0 w 101727"/>
                <a:gd name="connsiteY5" fmla="*/ 21812 h 80010"/>
                <a:gd name="connsiteX6" fmla="*/ 0 w 101727"/>
                <a:gd name="connsiteY6" fmla="*/ 21812 h 80010"/>
                <a:gd name="connsiteX7" fmla="*/ 0 w 101727"/>
                <a:gd name="connsiteY7" fmla="*/ 21812 h 80010"/>
                <a:gd name="connsiteX8" fmla="*/ 0 w 101727"/>
                <a:gd name="connsiteY8" fmla="*/ 21812 h 80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7" h="80010">
                  <a:moveTo>
                    <a:pt x="0" y="21812"/>
                  </a:moveTo>
                  <a:lnTo>
                    <a:pt x="38195" y="0"/>
                  </a:lnTo>
                  <a:lnTo>
                    <a:pt x="101727" y="36386"/>
                  </a:lnTo>
                  <a:lnTo>
                    <a:pt x="101727" y="80010"/>
                  </a:lnTo>
                  <a:lnTo>
                    <a:pt x="0" y="21812"/>
                  </a:lnTo>
                  <a:lnTo>
                    <a:pt x="0" y="21812"/>
                  </a:lnTo>
                  <a:lnTo>
                    <a:pt x="0" y="21812"/>
                  </a:lnTo>
                  <a:lnTo>
                    <a:pt x="0" y="21812"/>
                  </a:lnTo>
                  <a:lnTo>
                    <a:pt x="0" y="21812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1" name="Freihandform: Form 3270">
              <a:extLst>
                <a:ext uri="{FF2B5EF4-FFF2-40B4-BE49-F238E27FC236}">
                  <a16:creationId xmlns:a16="http://schemas.microsoft.com/office/drawing/2014/main" id="{A291EAFB-B0F6-449F-B80C-685F91B3A860}"/>
                </a:ext>
              </a:extLst>
            </p:cNvPr>
            <p:cNvSpPr/>
            <p:nvPr/>
          </p:nvSpPr>
          <p:spPr>
            <a:xfrm>
              <a:off x="8756234" y="4023931"/>
              <a:ext cx="101727" cy="101726"/>
            </a:xfrm>
            <a:custGeom>
              <a:avLst/>
              <a:gdLst>
                <a:gd name="connsiteX0" fmla="*/ 101727 w 101727"/>
                <a:gd name="connsiteY0" fmla="*/ 0 h 101726"/>
                <a:gd name="connsiteX1" fmla="*/ 101727 w 101727"/>
                <a:gd name="connsiteY1" fmla="*/ 43624 h 101726"/>
                <a:gd name="connsiteX2" fmla="*/ 0 w 101727"/>
                <a:gd name="connsiteY2" fmla="*/ 101727 h 101726"/>
                <a:gd name="connsiteX3" fmla="*/ 0 w 101727"/>
                <a:gd name="connsiteY3" fmla="*/ 58102 h 101726"/>
                <a:gd name="connsiteX4" fmla="*/ 101727 w 101727"/>
                <a:gd name="connsiteY4" fmla="*/ 0 h 101726"/>
                <a:gd name="connsiteX5" fmla="*/ 101727 w 101727"/>
                <a:gd name="connsiteY5" fmla="*/ 0 h 101726"/>
                <a:gd name="connsiteX6" fmla="*/ 101727 w 101727"/>
                <a:gd name="connsiteY6" fmla="*/ 0 h 101726"/>
                <a:gd name="connsiteX7" fmla="*/ 101727 w 101727"/>
                <a:gd name="connsiteY7" fmla="*/ 0 h 101726"/>
                <a:gd name="connsiteX8" fmla="*/ 101727 w 101727"/>
                <a:gd name="connsiteY8" fmla="*/ 0 h 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7" h="101726">
                  <a:moveTo>
                    <a:pt x="101727" y="0"/>
                  </a:moveTo>
                  <a:lnTo>
                    <a:pt x="101727" y="43624"/>
                  </a:lnTo>
                  <a:lnTo>
                    <a:pt x="0" y="101727"/>
                  </a:lnTo>
                  <a:lnTo>
                    <a:pt x="0" y="58102"/>
                  </a:lnTo>
                  <a:lnTo>
                    <a:pt x="101727" y="0"/>
                  </a:lnTo>
                  <a:lnTo>
                    <a:pt x="101727" y="0"/>
                  </a:lnTo>
                  <a:lnTo>
                    <a:pt x="101727" y="0"/>
                  </a:lnTo>
                  <a:lnTo>
                    <a:pt x="101727" y="0"/>
                  </a:lnTo>
                  <a:lnTo>
                    <a:pt x="101727" y="0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2" name="Freihandform: Form 3271">
              <a:extLst>
                <a:ext uri="{FF2B5EF4-FFF2-40B4-BE49-F238E27FC236}">
                  <a16:creationId xmlns:a16="http://schemas.microsoft.com/office/drawing/2014/main" id="{E8E729A6-828D-B445-9B17-02AA63C15555}"/>
                </a:ext>
              </a:extLst>
            </p:cNvPr>
            <p:cNvSpPr/>
            <p:nvPr/>
          </p:nvSpPr>
          <p:spPr>
            <a:xfrm>
              <a:off x="8756234" y="4045648"/>
              <a:ext cx="101727" cy="80009"/>
            </a:xfrm>
            <a:custGeom>
              <a:avLst/>
              <a:gdLst>
                <a:gd name="connsiteX0" fmla="*/ 101727 w 101727"/>
                <a:gd name="connsiteY0" fmla="*/ 21812 h 80009"/>
                <a:gd name="connsiteX1" fmla="*/ 63627 w 101727"/>
                <a:gd name="connsiteY1" fmla="*/ 0 h 80009"/>
                <a:gd name="connsiteX2" fmla="*/ 0 w 101727"/>
                <a:gd name="connsiteY2" fmla="*/ 36385 h 80009"/>
                <a:gd name="connsiteX3" fmla="*/ 0 w 101727"/>
                <a:gd name="connsiteY3" fmla="*/ 80010 h 80009"/>
                <a:gd name="connsiteX4" fmla="*/ 101727 w 101727"/>
                <a:gd name="connsiteY4" fmla="*/ 21812 h 80009"/>
                <a:gd name="connsiteX5" fmla="*/ 101727 w 101727"/>
                <a:gd name="connsiteY5" fmla="*/ 21812 h 80009"/>
                <a:gd name="connsiteX6" fmla="*/ 101727 w 101727"/>
                <a:gd name="connsiteY6" fmla="*/ 21812 h 80009"/>
                <a:gd name="connsiteX7" fmla="*/ 101727 w 101727"/>
                <a:gd name="connsiteY7" fmla="*/ 21812 h 80009"/>
                <a:gd name="connsiteX8" fmla="*/ 101727 w 101727"/>
                <a:gd name="connsiteY8" fmla="*/ 21812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7" h="80009">
                  <a:moveTo>
                    <a:pt x="101727" y="21812"/>
                  </a:moveTo>
                  <a:lnTo>
                    <a:pt x="63627" y="0"/>
                  </a:lnTo>
                  <a:lnTo>
                    <a:pt x="0" y="36385"/>
                  </a:lnTo>
                  <a:lnTo>
                    <a:pt x="0" y="80010"/>
                  </a:lnTo>
                  <a:lnTo>
                    <a:pt x="101727" y="21812"/>
                  </a:lnTo>
                  <a:lnTo>
                    <a:pt x="101727" y="21812"/>
                  </a:lnTo>
                  <a:lnTo>
                    <a:pt x="101727" y="21812"/>
                  </a:lnTo>
                  <a:lnTo>
                    <a:pt x="101727" y="21812"/>
                  </a:lnTo>
                  <a:lnTo>
                    <a:pt x="101727" y="21812"/>
                  </a:lnTo>
                  <a:close/>
                </a:path>
              </a:pathLst>
            </a:custGeom>
            <a:solidFill>
              <a:srgbClr val="CCCC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3" name="Freihandform: Form 3272">
              <a:extLst>
                <a:ext uri="{FF2B5EF4-FFF2-40B4-BE49-F238E27FC236}">
                  <a16:creationId xmlns:a16="http://schemas.microsoft.com/office/drawing/2014/main" id="{8CE0436F-69DA-F24F-0B62-D9755155A648}"/>
                </a:ext>
              </a:extLst>
            </p:cNvPr>
            <p:cNvSpPr/>
            <p:nvPr/>
          </p:nvSpPr>
          <p:spPr>
            <a:xfrm>
              <a:off x="8641933" y="4089082"/>
              <a:ext cx="100584" cy="102870"/>
            </a:xfrm>
            <a:custGeom>
              <a:avLst/>
              <a:gdLst>
                <a:gd name="connsiteX0" fmla="*/ 100584 w 100584"/>
                <a:gd name="connsiteY0" fmla="*/ 0 h 102870"/>
                <a:gd name="connsiteX1" fmla="*/ 100584 w 100584"/>
                <a:gd name="connsiteY1" fmla="*/ 44101 h 102870"/>
                <a:gd name="connsiteX2" fmla="*/ 0 w 100584"/>
                <a:gd name="connsiteY2" fmla="*/ 102870 h 102870"/>
                <a:gd name="connsiteX3" fmla="*/ 0 w 100584"/>
                <a:gd name="connsiteY3" fmla="*/ 58769 h 102870"/>
                <a:gd name="connsiteX4" fmla="*/ 100584 w 100584"/>
                <a:gd name="connsiteY4" fmla="*/ 0 h 102870"/>
                <a:gd name="connsiteX5" fmla="*/ 100584 w 100584"/>
                <a:gd name="connsiteY5" fmla="*/ 0 h 102870"/>
                <a:gd name="connsiteX6" fmla="*/ 100584 w 100584"/>
                <a:gd name="connsiteY6" fmla="*/ 0 h 102870"/>
                <a:gd name="connsiteX7" fmla="*/ 100584 w 100584"/>
                <a:gd name="connsiteY7" fmla="*/ 0 h 102870"/>
                <a:gd name="connsiteX8" fmla="*/ 100584 w 100584"/>
                <a:gd name="connsiteY8" fmla="*/ 0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584" h="102870">
                  <a:moveTo>
                    <a:pt x="100584" y="0"/>
                  </a:moveTo>
                  <a:lnTo>
                    <a:pt x="100584" y="44101"/>
                  </a:lnTo>
                  <a:lnTo>
                    <a:pt x="0" y="102870"/>
                  </a:lnTo>
                  <a:lnTo>
                    <a:pt x="0" y="58769"/>
                  </a:lnTo>
                  <a:lnTo>
                    <a:pt x="100584" y="0"/>
                  </a:lnTo>
                  <a:lnTo>
                    <a:pt x="100584" y="0"/>
                  </a:lnTo>
                  <a:lnTo>
                    <a:pt x="100584" y="0"/>
                  </a:lnTo>
                  <a:lnTo>
                    <a:pt x="100584" y="0"/>
                  </a:lnTo>
                  <a:lnTo>
                    <a:pt x="100584" y="0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4" name="Freihandform: Form 3273">
              <a:extLst>
                <a:ext uri="{FF2B5EF4-FFF2-40B4-BE49-F238E27FC236}">
                  <a16:creationId xmlns:a16="http://schemas.microsoft.com/office/drawing/2014/main" id="{BD6E1C01-80F0-A393-217B-8D7D4773FA89}"/>
                </a:ext>
              </a:extLst>
            </p:cNvPr>
            <p:cNvSpPr/>
            <p:nvPr/>
          </p:nvSpPr>
          <p:spPr>
            <a:xfrm>
              <a:off x="8641933" y="4110799"/>
              <a:ext cx="100584" cy="81153"/>
            </a:xfrm>
            <a:custGeom>
              <a:avLst/>
              <a:gdLst>
                <a:gd name="connsiteX0" fmla="*/ 100584 w 100584"/>
                <a:gd name="connsiteY0" fmla="*/ 22098 h 81153"/>
                <a:gd name="connsiteX1" fmla="*/ 62865 w 100584"/>
                <a:gd name="connsiteY1" fmla="*/ 0 h 81153"/>
                <a:gd name="connsiteX2" fmla="*/ 0 w 100584"/>
                <a:gd name="connsiteY2" fmla="*/ 36862 h 81153"/>
                <a:gd name="connsiteX3" fmla="*/ 0 w 100584"/>
                <a:gd name="connsiteY3" fmla="*/ 81153 h 81153"/>
                <a:gd name="connsiteX4" fmla="*/ 100584 w 100584"/>
                <a:gd name="connsiteY4" fmla="*/ 22098 h 81153"/>
                <a:gd name="connsiteX5" fmla="*/ 100584 w 100584"/>
                <a:gd name="connsiteY5" fmla="*/ 22098 h 81153"/>
                <a:gd name="connsiteX6" fmla="*/ 100584 w 100584"/>
                <a:gd name="connsiteY6" fmla="*/ 22098 h 81153"/>
                <a:gd name="connsiteX7" fmla="*/ 100584 w 100584"/>
                <a:gd name="connsiteY7" fmla="*/ 22098 h 81153"/>
                <a:gd name="connsiteX8" fmla="*/ 100584 w 100584"/>
                <a:gd name="connsiteY8" fmla="*/ 22098 h 8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584" h="81153">
                  <a:moveTo>
                    <a:pt x="100584" y="22098"/>
                  </a:moveTo>
                  <a:lnTo>
                    <a:pt x="62865" y="0"/>
                  </a:lnTo>
                  <a:lnTo>
                    <a:pt x="0" y="36862"/>
                  </a:lnTo>
                  <a:lnTo>
                    <a:pt x="0" y="81153"/>
                  </a:lnTo>
                  <a:lnTo>
                    <a:pt x="100584" y="22098"/>
                  </a:lnTo>
                  <a:lnTo>
                    <a:pt x="100584" y="22098"/>
                  </a:lnTo>
                  <a:lnTo>
                    <a:pt x="100584" y="22098"/>
                  </a:lnTo>
                  <a:lnTo>
                    <a:pt x="100584" y="22098"/>
                  </a:lnTo>
                  <a:lnTo>
                    <a:pt x="100584" y="22098"/>
                  </a:lnTo>
                  <a:close/>
                </a:path>
              </a:pathLst>
            </a:custGeom>
            <a:solidFill>
              <a:srgbClr val="CCCC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5" name="Freihandform: Form 3274">
              <a:extLst>
                <a:ext uri="{FF2B5EF4-FFF2-40B4-BE49-F238E27FC236}">
                  <a16:creationId xmlns:a16="http://schemas.microsoft.com/office/drawing/2014/main" id="{4FEC7637-B666-B0B6-2210-E12D60D0B8F4}"/>
                </a:ext>
              </a:extLst>
            </p:cNvPr>
            <p:cNvSpPr/>
            <p:nvPr/>
          </p:nvSpPr>
          <p:spPr>
            <a:xfrm>
              <a:off x="8983690" y="3892486"/>
              <a:ext cx="101727" cy="101726"/>
            </a:xfrm>
            <a:custGeom>
              <a:avLst/>
              <a:gdLst>
                <a:gd name="connsiteX0" fmla="*/ 101727 w 101727"/>
                <a:gd name="connsiteY0" fmla="*/ 0 h 101726"/>
                <a:gd name="connsiteX1" fmla="*/ 101727 w 101727"/>
                <a:gd name="connsiteY1" fmla="*/ 43625 h 101726"/>
                <a:gd name="connsiteX2" fmla="*/ 0 w 101727"/>
                <a:gd name="connsiteY2" fmla="*/ 101727 h 101726"/>
                <a:gd name="connsiteX3" fmla="*/ 0 w 101727"/>
                <a:gd name="connsiteY3" fmla="*/ 58102 h 101726"/>
                <a:gd name="connsiteX4" fmla="*/ 101727 w 101727"/>
                <a:gd name="connsiteY4" fmla="*/ 0 h 101726"/>
                <a:gd name="connsiteX5" fmla="*/ 101727 w 101727"/>
                <a:gd name="connsiteY5" fmla="*/ 0 h 101726"/>
                <a:gd name="connsiteX6" fmla="*/ 101727 w 101727"/>
                <a:gd name="connsiteY6" fmla="*/ 0 h 101726"/>
                <a:gd name="connsiteX7" fmla="*/ 101727 w 101727"/>
                <a:gd name="connsiteY7" fmla="*/ 0 h 101726"/>
                <a:gd name="connsiteX8" fmla="*/ 101727 w 101727"/>
                <a:gd name="connsiteY8" fmla="*/ 0 h 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7" h="101726">
                  <a:moveTo>
                    <a:pt x="101727" y="0"/>
                  </a:moveTo>
                  <a:lnTo>
                    <a:pt x="101727" y="43625"/>
                  </a:lnTo>
                  <a:lnTo>
                    <a:pt x="0" y="101727"/>
                  </a:lnTo>
                  <a:lnTo>
                    <a:pt x="0" y="58102"/>
                  </a:lnTo>
                  <a:lnTo>
                    <a:pt x="101727" y="0"/>
                  </a:lnTo>
                  <a:lnTo>
                    <a:pt x="101727" y="0"/>
                  </a:lnTo>
                  <a:lnTo>
                    <a:pt x="101727" y="0"/>
                  </a:lnTo>
                  <a:lnTo>
                    <a:pt x="101727" y="0"/>
                  </a:lnTo>
                  <a:lnTo>
                    <a:pt x="101727" y="0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6" name="Freihandform: Form 3275">
              <a:extLst>
                <a:ext uri="{FF2B5EF4-FFF2-40B4-BE49-F238E27FC236}">
                  <a16:creationId xmlns:a16="http://schemas.microsoft.com/office/drawing/2014/main" id="{8DD4891F-B5EA-4620-2B3E-3371E4FB7B5C}"/>
                </a:ext>
              </a:extLst>
            </p:cNvPr>
            <p:cNvSpPr/>
            <p:nvPr/>
          </p:nvSpPr>
          <p:spPr>
            <a:xfrm>
              <a:off x="8983690" y="3914203"/>
              <a:ext cx="101727" cy="80009"/>
            </a:xfrm>
            <a:custGeom>
              <a:avLst/>
              <a:gdLst>
                <a:gd name="connsiteX0" fmla="*/ 101727 w 101727"/>
                <a:gd name="connsiteY0" fmla="*/ 21812 h 80009"/>
                <a:gd name="connsiteX1" fmla="*/ 63532 w 101727"/>
                <a:gd name="connsiteY1" fmla="*/ 0 h 80009"/>
                <a:gd name="connsiteX2" fmla="*/ 0 w 101727"/>
                <a:gd name="connsiteY2" fmla="*/ 36385 h 80009"/>
                <a:gd name="connsiteX3" fmla="*/ 0 w 101727"/>
                <a:gd name="connsiteY3" fmla="*/ 80010 h 80009"/>
                <a:gd name="connsiteX4" fmla="*/ 101727 w 101727"/>
                <a:gd name="connsiteY4" fmla="*/ 21812 h 80009"/>
                <a:gd name="connsiteX5" fmla="*/ 101727 w 101727"/>
                <a:gd name="connsiteY5" fmla="*/ 21812 h 80009"/>
                <a:gd name="connsiteX6" fmla="*/ 101727 w 101727"/>
                <a:gd name="connsiteY6" fmla="*/ 21812 h 80009"/>
                <a:gd name="connsiteX7" fmla="*/ 101727 w 101727"/>
                <a:gd name="connsiteY7" fmla="*/ 21812 h 80009"/>
                <a:gd name="connsiteX8" fmla="*/ 101727 w 101727"/>
                <a:gd name="connsiteY8" fmla="*/ 21812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27" h="80009">
                  <a:moveTo>
                    <a:pt x="101727" y="21812"/>
                  </a:moveTo>
                  <a:lnTo>
                    <a:pt x="63532" y="0"/>
                  </a:lnTo>
                  <a:lnTo>
                    <a:pt x="0" y="36385"/>
                  </a:lnTo>
                  <a:lnTo>
                    <a:pt x="0" y="80010"/>
                  </a:lnTo>
                  <a:lnTo>
                    <a:pt x="101727" y="21812"/>
                  </a:lnTo>
                  <a:lnTo>
                    <a:pt x="101727" y="21812"/>
                  </a:lnTo>
                  <a:lnTo>
                    <a:pt x="101727" y="21812"/>
                  </a:lnTo>
                  <a:lnTo>
                    <a:pt x="101727" y="21812"/>
                  </a:lnTo>
                  <a:lnTo>
                    <a:pt x="101727" y="21812"/>
                  </a:lnTo>
                  <a:close/>
                </a:path>
              </a:pathLst>
            </a:custGeom>
            <a:solidFill>
              <a:srgbClr val="CCCC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7" name="Freihandform: Form 3276">
              <a:extLst>
                <a:ext uri="{FF2B5EF4-FFF2-40B4-BE49-F238E27FC236}">
                  <a16:creationId xmlns:a16="http://schemas.microsoft.com/office/drawing/2014/main" id="{7ED5E292-73C7-02F7-DB30-1EE68FFF9B17}"/>
                </a:ext>
              </a:extLst>
            </p:cNvPr>
            <p:cNvSpPr/>
            <p:nvPr/>
          </p:nvSpPr>
          <p:spPr>
            <a:xfrm>
              <a:off x="8870534" y="3957637"/>
              <a:ext cx="100583" cy="102870"/>
            </a:xfrm>
            <a:custGeom>
              <a:avLst/>
              <a:gdLst>
                <a:gd name="connsiteX0" fmla="*/ 100584 w 100583"/>
                <a:gd name="connsiteY0" fmla="*/ 0 h 102870"/>
                <a:gd name="connsiteX1" fmla="*/ 100584 w 100583"/>
                <a:gd name="connsiteY1" fmla="*/ 44101 h 102870"/>
                <a:gd name="connsiteX2" fmla="*/ 0 w 100583"/>
                <a:gd name="connsiteY2" fmla="*/ 102870 h 102870"/>
                <a:gd name="connsiteX3" fmla="*/ 0 w 100583"/>
                <a:gd name="connsiteY3" fmla="*/ 58769 h 102870"/>
                <a:gd name="connsiteX4" fmla="*/ 100584 w 100583"/>
                <a:gd name="connsiteY4" fmla="*/ 0 h 102870"/>
                <a:gd name="connsiteX5" fmla="*/ 100584 w 100583"/>
                <a:gd name="connsiteY5" fmla="*/ 0 h 102870"/>
                <a:gd name="connsiteX6" fmla="*/ 100584 w 100583"/>
                <a:gd name="connsiteY6" fmla="*/ 0 h 102870"/>
                <a:gd name="connsiteX7" fmla="*/ 100584 w 100583"/>
                <a:gd name="connsiteY7" fmla="*/ 0 h 102870"/>
                <a:gd name="connsiteX8" fmla="*/ 100584 w 100583"/>
                <a:gd name="connsiteY8" fmla="*/ 0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583" h="102870">
                  <a:moveTo>
                    <a:pt x="100584" y="0"/>
                  </a:moveTo>
                  <a:lnTo>
                    <a:pt x="100584" y="44101"/>
                  </a:lnTo>
                  <a:lnTo>
                    <a:pt x="0" y="102870"/>
                  </a:lnTo>
                  <a:lnTo>
                    <a:pt x="0" y="58769"/>
                  </a:lnTo>
                  <a:lnTo>
                    <a:pt x="100584" y="0"/>
                  </a:lnTo>
                  <a:lnTo>
                    <a:pt x="100584" y="0"/>
                  </a:lnTo>
                  <a:lnTo>
                    <a:pt x="100584" y="0"/>
                  </a:lnTo>
                  <a:lnTo>
                    <a:pt x="100584" y="0"/>
                  </a:lnTo>
                  <a:lnTo>
                    <a:pt x="100584" y="0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8" name="Freihandform: Form 3277">
              <a:extLst>
                <a:ext uri="{FF2B5EF4-FFF2-40B4-BE49-F238E27FC236}">
                  <a16:creationId xmlns:a16="http://schemas.microsoft.com/office/drawing/2014/main" id="{3EE840DF-9920-4A25-2A00-4D8906A4C564}"/>
                </a:ext>
              </a:extLst>
            </p:cNvPr>
            <p:cNvSpPr/>
            <p:nvPr/>
          </p:nvSpPr>
          <p:spPr>
            <a:xfrm>
              <a:off x="8870534" y="3980496"/>
              <a:ext cx="100583" cy="80010"/>
            </a:xfrm>
            <a:custGeom>
              <a:avLst/>
              <a:gdLst>
                <a:gd name="connsiteX0" fmla="*/ 100584 w 100583"/>
                <a:gd name="connsiteY0" fmla="*/ 21812 h 80010"/>
                <a:gd name="connsiteX1" fmla="*/ 62865 w 100583"/>
                <a:gd name="connsiteY1" fmla="*/ 0 h 80010"/>
                <a:gd name="connsiteX2" fmla="*/ 0 w 100583"/>
                <a:gd name="connsiteY2" fmla="*/ 36386 h 80010"/>
                <a:gd name="connsiteX3" fmla="*/ 0 w 100583"/>
                <a:gd name="connsiteY3" fmla="*/ 80010 h 80010"/>
                <a:gd name="connsiteX4" fmla="*/ 100584 w 100583"/>
                <a:gd name="connsiteY4" fmla="*/ 21812 h 80010"/>
                <a:gd name="connsiteX5" fmla="*/ 100584 w 100583"/>
                <a:gd name="connsiteY5" fmla="*/ 21812 h 80010"/>
                <a:gd name="connsiteX6" fmla="*/ 100584 w 100583"/>
                <a:gd name="connsiteY6" fmla="*/ 21812 h 80010"/>
                <a:gd name="connsiteX7" fmla="*/ 100584 w 100583"/>
                <a:gd name="connsiteY7" fmla="*/ 21812 h 80010"/>
                <a:gd name="connsiteX8" fmla="*/ 100584 w 100583"/>
                <a:gd name="connsiteY8" fmla="*/ 21812 h 80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583" h="80010">
                  <a:moveTo>
                    <a:pt x="100584" y="21812"/>
                  </a:moveTo>
                  <a:lnTo>
                    <a:pt x="62865" y="0"/>
                  </a:lnTo>
                  <a:lnTo>
                    <a:pt x="0" y="36386"/>
                  </a:lnTo>
                  <a:lnTo>
                    <a:pt x="0" y="80010"/>
                  </a:lnTo>
                  <a:lnTo>
                    <a:pt x="100584" y="21812"/>
                  </a:lnTo>
                  <a:lnTo>
                    <a:pt x="100584" y="21812"/>
                  </a:lnTo>
                  <a:lnTo>
                    <a:pt x="100584" y="21812"/>
                  </a:lnTo>
                  <a:lnTo>
                    <a:pt x="100584" y="21812"/>
                  </a:lnTo>
                  <a:lnTo>
                    <a:pt x="100584" y="21812"/>
                  </a:lnTo>
                  <a:close/>
                </a:path>
              </a:pathLst>
            </a:custGeom>
            <a:solidFill>
              <a:srgbClr val="CCCC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9" name="Freihandform: Form 3278">
              <a:extLst>
                <a:ext uri="{FF2B5EF4-FFF2-40B4-BE49-F238E27FC236}">
                  <a16:creationId xmlns:a16="http://schemas.microsoft.com/office/drawing/2014/main" id="{EEBC3CE7-AD64-AA40-A637-458FEA478D1E}"/>
                </a:ext>
              </a:extLst>
            </p:cNvPr>
            <p:cNvSpPr/>
            <p:nvPr/>
          </p:nvSpPr>
          <p:spPr>
            <a:xfrm>
              <a:off x="8617550" y="4155375"/>
              <a:ext cx="11810" cy="168783"/>
            </a:xfrm>
            <a:custGeom>
              <a:avLst/>
              <a:gdLst>
                <a:gd name="connsiteX0" fmla="*/ 11811 w 11810"/>
                <a:gd name="connsiteY0" fmla="*/ 0 h 168783"/>
                <a:gd name="connsiteX1" fmla="*/ 11811 w 11810"/>
                <a:gd name="connsiteY1" fmla="*/ 168783 h 168783"/>
                <a:gd name="connsiteX2" fmla="*/ 0 w 11810"/>
                <a:gd name="connsiteY2" fmla="*/ 163449 h 168783"/>
                <a:gd name="connsiteX3" fmla="*/ 0 w 11810"/>
                <a:gd name="connsiteY3" fmla="*/ 6858 h 168783"/>
                <a:gd name="connsiteX4" fmla="*/ 11811 w 11810"/>
                <a:gd name="connsiteY4" fmla="*/ 0 h 16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10" h="168783">
                  <a:moveTo>
                    <a:pt x="11811" y="0"/>
                  </a:moveTo>
                  <a:lnTo>
                    <a:pt x="11811" y="168783"/>
                  </a:lnTo>
                  <a:lnTo>
                    <a:pt x="0" y="163449"/>
                  </a:lnTo>
                  <a:lnTo>
                    <a:pt x="0" y="6858"/>
                  </a:lnTo>
                  <a:lnTo>
                    <a:pt x="11811" y="0"/>
                  </a:lnTo>
                  <a:close/>
                </a:path>
              </a:pathLst>
            </a:custGeom>
            <a:solidFill>
              <a:srgbClr val="66667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0" name="Freihandform: Form 3279">
              <a:extLst>
                <a:ext uri="{FF2B5EF4-FFF2-40B4-BE49-F238E27FC236}">
                  <a16:creationId xmlns:a16="http://schemas.microsoft.com/office/drawing/2014/main" id="{5A7936C3-A7D8-1C47-C653-83C6F28CDDA4}"/>
                </a:ext>
              </a:extLst>
            </p:cNvPr>
            <p:cNvSpPr/>
            <p:nvPr/>
          </p:nvSpPr>
          <p:spPr>
            <a:xfrm>
              <a:off x="8527633" y="4162233"/>
              <a:ext cx="89916" cy="208407"/>
            </a:xfrm>
            <a:custGeom>
              <a:avLst/>
              <a:gdLst>
                <a:gd name="connsiteX0" fmla="*/ 89916 w 89916"/>
                <a:gd name="connsiteY0" fmla="*/ 0 h 208407"/>
                <a:gd name="connsiteX1" fmla="*/ 89916 w 89916"/>
                <a:gd name="connsiteY1" fmla="*/ 156591 h 208407"/>
                <a:gd name="connsiteX2" fmla="*/ 0 w 89916"/>
                <a:gd name="connsiteY2" fmla="*/ 208407 h 208407"/>
                <a:gd name="connsiteX3" fmla="*/ 0 w 89916"/>
                <a:gd name="connsiteY3" fmla="*/ 51816 h 208407"/>
                <a:gd name="connsiteX4" fmla="*/ 89916 w 89916"/>
                <a:gd name="connsiteY4" fmla="*/ 0 h 20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16" h="208407">
                  <a:moveTo>
                    <a:pt x="89916" y="0"/>
                  </a:moveTo>
                  <a:lnTo>
                    <a:pt x="89916" y="156591"/>
                  </a:lnTo>
                  <a:lnTo>
                    <a:pt x="0" y="208407"/>
                  </a:lnTo>
                  <a:lnTo>
                    <a:pt x="0" y="51816"/>
                  </a:lnTo>
                  <a:lnTo>
                    <a:pt x="89916" y="0"/>
                  </a:lnTo>
                  <a:close/>
                </a:path>
              </a:pathLst>
            </a:custGeom>
            <a:solidFill>
              <a:srgbClr val="999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48" name="Freihandform: Form 3247">
            <a:extLst>
              <a:ext uri="{FF2B5EF4-FFF2-40B4-BE49-F238E27FC236}">
                <a16:creationId xmlns:a16="http://schemas.microsoft.com/office/drawing/2014/main" id="{B5C90D01-909F-ED3E-66D2-5A36D9A4EE33}"/>
              </a:ext>
            </a:extLst>
          </p:cNvPr>
          <p:cNvSpPr/>
          <p:nvPr/>
        </p:nvSpPr>
        <p:spPr>
          <a:xfrm>
            <a:off x="10164684" y="3197128"/>
            <a:ext cx="834124" cy="331365"/>
          </a:xfrm>
          <a:custGeom>
            <a:avLst/>
            <a:gdLst>
              <a:gd name="connsiteX0" fmla="*/ 1751706 w 1751706"/>
              <a:gd name="connsiteY0" fmla="*/ 1291012 h 1941187"/>
              <a:gd name="connsiteX1" fmla="*/ 683104 w 1751706"/>
              <a:gd name="connsiteY1" fmla="*/ 1941187 h 1941187"/>
              <a:gd name="connsiteX2" fmla="*/ 391350 w 1751706"/>
              <a:gd name="connsiteY2" fmla="*/ 1773804 h 1941187"/>
              <a:gd name="connsiteX3" fmla="*/ 391350 w 1751706"/>
              <a:gd name="connsiteY3" fmla="*/ 638348 h 1941187"/>
              <a:gd name="connsiteX4" fmla="*/ 0 w 1751706"/>
              <a:gd name="connsiteY4" fmla="*/ 416685 h 1941187"/>
              <a:gd name="connsiteX5" fmla="*/ 0 w 1751706"/>
              <a:gd name="connsiteY5" fmla="*/ 72830 h 1941187"/>
              <a:gd name="connsiteX6" fmla="*/ 149519 w 1751706"/>
              <a:gd name="connsiteY6" fmla="*/ 0 h 1941187"/>
              <a:gd name="connsiteX0" fmla="*/ 1751706 w 1751706"/>
              <a:gd name="connsiteY0" fmla="*/ 1291012 h 1941187"/>
              <a:gd name="connsiteX1" fmla="*/ 683104 w 1751706"/>
              <a:gd name="connsiteY1" fmla="*/ 1941187 h 1941187"/>
              <a:gd name="connsiteX2" fmla="*/ 391350 w 1751706"/>
              <a:gd name="connsiteY2" fmla="*/ 1773804 h 1941187"/>
              <a:gd name="connsiteX3" fmla="*/ 391350 w 1751706"/>
              <a:gd name="connsiteY3" fmla="*/ 638348 h 1941187"/>
              <a:gd name="connsiteX4" fmla="*/ 6118 w 1751706"/>
              <a:gd name="connsiteY4" fmla="*/ 1059146 h 1941187"/>
              <a:gd name="connsiteX5" fmla="*/ 0 w 1751706"/>
              <a:gd name="connsiteY5" fmla="*/ 72830 h 1941187"/>
              <a:gd name="connsiteX6" fmla="*/ 149519 w 1751706"/>
              <a:gd name="connsiteY6" fmla="*/ 0 h 1941187"/>
              <a:gd name="connsiteX0" fmla="*/ 1751706 w 1751706"/>
              <a:gd name="connsiteY0" fmla="*/ 1291012 h 1941187"/>
              <a:gd name="connsiteX1" fmla="*/ 683104 w 1751706"/>
              <a:gd name="connsiteY1" fmla="*/ 1941187 h 1941187"/>
              <a:gd name="connsiteX2" fmla="*/ 391350 w 1751706"/>
              <a:gd name="connsiteY2" fmla="*/ 1773804 h 1941187"/>
              <a:gd name="connsiteX3" fmla="*/ 391349 w 1751706"/>
              <a:gd name="connsiteY3" fmla="*/ 1537793 h 1941187"/>
              <a:gd name="connsiteX4" fmla="*/ 6118 w 1751706"/>
              <a:gd name="connsiteY4" fmla="*/ 1059146 h 1941187"/>
              <a:gd name="connsiteX5" fmla="*/ 0 w 1751706"/>
              <a:gd name="connsiteY5" fmla="*/ 72830 h 1941187"/>
              <a:gd name="connsiteX6" fmla="*/ 149519 w 1751706"/>
              <a:gd name="connsiteY6" fmla="*/ 0 h 1941187"/>
              <a:gd name="connsiteX0" fmla="*/ 2094360 w 2094360"/>
              <a:gd name="connsiteY0" fmla="*/ 1291012 h 1941187"/>
              <a:gd name="connsiteX1" fmla="*/ 1025758 w 2094360"/>
              <a:gd name="connsiteY1" fmla="*/ 1941187 h 1941187"/>
              <a:gd name="connsiteX2" fmla="*/ 734004 w 2094360"/>
              <a:gd name="connsiteY2" fmla="*/ 1773804 h 1941187"/>
              <a:gd name="connsiteX3" fmla="*/ 734003 w 2094360"/>
              <a:gd name="connsiteY3" fmla="*/ 1537793 h 1941187"/>
              <a:gd name="connsiteX4" fmla="*/ 8 w 2094360"/>
              <a:gd name="connsiteY4" fmla="*/ 1120331 h 1941187"/>
              <a:gd name="connsiteX5" fmla="*/ 342654 w 2094360"/>
              <a:gd name="connsiteY5" fmla="*/ 72830 h 1941187"/>
              <a:gd name="connsiteX6" fmla="*/ 492173 w 2094360"/>
              <a:gd name="connsiteY6" fmla="*/ 0 h 1941187"/>
              <a:gd name="connsiteX0" fmla="*/ 2143309 w 2143309"/>
              <a:gd name="connsiteY0" fmla="*/ 1291012 h 1941187"/>
              <a:gd name="connsiteX1" fmla="*/ 1074707 w 2143309"/>
              <a:gd name="connsiteY1" fmla="*/ 1941187 h 1941187"/>
              <a:gd name="connsiteX2" fmla="*/ 782953 w 2143309"/>
              <a:gd name="connsiteY2" fmla="*/ 1773804 h 1941187"/>
              <a:gd name="connsiteX3" fmla="*/ 782952 w 2143309"/>
              <a:gd name="connsiteY3" fmla="*/ 1537793 h 1941187"/>
              <a:gd name="connsiteX4" fmla="*/ 7 w 2143309"/>
              <a:gd name="connsiteY4" fmla="*/ 1089738 h 1941187"/>
              <a:gd name="connsiteX5" fmla="*/ 391603 w 2143309"/>
              <a:gd name="connsiteY5" fmla="*/ 72830 h 1941187"/>
              <a:gd name="connsiteX6" fmla="*/ 541122 w 2143309"/>
              <a:gd name="connsiteY6" fmla="*/ 0 h 1941187"/>
              <a:gd name="connsiteX0" fmla="*/ 2145753 w 2145753"/>
              <a:gd name="connsiteY0" fmla="*/ 1291012 h 1941187"/>
              <a:gd name="connsiteX1" fmla="*/ 1077151 w 2145753"/>
              <a:gd name="connsiteY1" fmla="*/ 1941187 h 1941187"/>
              <a:gd name="connsiteX2" fmla="*/ 785397 w 2145753"/>
              <a:gd name="connsiteY2" fmla="*/ 1773804 h 1941187"/>
              <a:gd name="connsiteX3" fmla="*/ 785396 w 2145753"/>
              <a:gd name="connsiteY3" fmla="*/ 1537793 h 1941187"/>
              <a:gd name="connsiteX4" fmla="*/ 2451 w 2145753"/>
              <a:gd name="connsiteY4" fmla="*/ 1089738 h 1941187"/>
              <a:gd name="connsiteX5" fmla="*/ 543566 w 2145753"/>
              <a:gd name="connsiteY5" fmla="*/ 0 h 1941187"/>
              <a:gd name="connsiteX0" fmla="*/ 2143302 w 2143302"/>
              <a:gd name="connsiteY0" fmla="*/ 201274 h 851449"/>
              <a:gd name="connsiteX1" fmla="*/ 1074700 w 2143302"/>
              <a:gd name="connsiteY1" fmla="*/ 851449 h 851449"/>
              <a:gd name="connsiteX2" fmla="*/ 782946 w 2143302"/>
              <a:gd name="connsiteY2" fmla="*/ 684066 h 851449"/>
              <a:gd name="connsiteX3" fmla="*/ 782945 w 2143302"/>
              <a:gd name="connsiteY3" fmla="*/ 448055 h 851449"/>
              <a:gd name="connsiteX4" fmla="*/ 0 w 2143302"/>
              <a:gd name="connsiteY4" fmla="*/ 0 h 851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43302" h="851449">
                <a:moveTo>
                  <a:pt x="2143302" y="201274"/>
                </a:moveTo>
                <a:lnTo>
                  <a:pt x="1074700" y="851449"/>
                </a:lnTo>
                <a:lnTo>
                  <a:pt x="782946" y="684066"/>
                </a:lnTo>
                <a:cubicBezTo>
                  <a:pt x="782946" y="605396"/>
                  <a:pt x="782945" y="526725"/>
                  <a:pt x="782945" y="448055"/>
                </a:cubicBezTo>
                <a:lnTo>
                  <a:pt x="0" y="0"/>
                </a:lnTo>
              </a:path>
            </a:pathLst>
          </a:custGeom>
          <a:noFill/>
          <a:ln w="12700" cap="flat">
            <a:solidFill>
              <a:srgbClr val="805CFF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49" name="Freihandform: Form 3248">
            <a:extLst>
              <a:ext uri="{FF2B5EF4-FFF2-40B4-BE49-F238E27FC236}">
                <a16:creationId xmlns:a16="http://schemas.microsoft.com/office/drawing/2014/main" id="{4B282555-0CBC-4B8A-CFF8-E0CC27545F9C}"/>
              </a:ext>
            </a:extLst>
          </p:cNvPr>
          <p:cNvSpPr/>
          <p:nvPr/>
        </p:nvSpPr>
        <p:spPr>
          <a:xfrm>
            <a:off x="10197786" y="3179610"/>
            <a:ext cx="801000" cy="304647"/>
          </a:xfrm>
          <a:custGeom>
            <a:avLst/>
            <a:gdLst>
              <a:gd name="connsiteX0" fmla="*/ 98413 w 1654351"/>
              <a:gd name="connsiteY0" fmla="*/ 0 h 1759175"/>
              <a:gd name="connsiteX1" fmla="*/ 1681 w 1654351"/>
              <a:gd name="connsiteY1" fmla="*/ 61065 h 1759175"/>
              <a:gd name="connsiteX2" fmla="*/ 0 w 1654351"/>
              <a:gd name="connsiteY2" fmla="*/ 284969 h 1759175"/>
              <a:gd name="connsiteX3" fmla="*/ 393591 w 1654351"/>
              <a:gd name="connsiteY3" fmla="*/ 512297 h 1759175"/>
              <a:gd name="connsiteX4" fmla="*/ 393591 w 1654351"/>
              <a:gd name="connsiteY4" fmla="*/ 1647690 h 1759175"/>
              <a:gd name="connsiteX5" fmla="*/ 588674 w 1654351"/>
              <a:gd name="connsiteY5" fmla="*/ 1759176 h 1759175"/>
              <a:gd name="connsiteX6" fmla="*/ 1654351 w 1654351"/>
              <a:gd name="connsiteY6" fmla="*/ 1144793 h 1759175"/>
              <a:gd name="connsiteX0" fmla="*/ 98413 w 1654351"/>
              <a:gd name="connsiteY0" fmla="*/ 0 h 1759175"/>
              <a:gd name="connsiteX1" fmla="*/ 1681 w 1654351"/>
              <a:gd name="connsiteY1" fmla="*/ 61065 h 1759175"/>
              <a:gd name="connsiteX2" fmla="*/ 0 w 1654351"/>
              <a:gd name="connsiteY2" fmla="*/ 284969 h 1759175"/>
              <a:gd name="connsiteX3" fmla="*/ 393591 w 1654351"/>
              <a:gd name="connsiteY3" fmla="*/ 1423979 h 1759175"/>
              <a:gd name="connsiteX4" fmla="*/ 393591 w 1654351"/>
              <a:gd name="connsiteY4" fmla="*/ 1647690 h 1759175"/>
              <a:gd name="connsiteX5" fmla="*/ 588674 w 1654351"/>
              <a:gd name="connsiteY5" fmla="*/ 1759176 h 1759175"/>
              <a:gd name="connsiteX6" fmla="*/ 1654351 w 1654351"/>
              <a:gd name="connsiteY6" fmla="*/ 1144793 h 1759175"/>
              <a:gd name="connsiteX0" fmla="*/ 502246 w 2058184"/>
              <a:gd name="connsiteY0" fmla="*/ 0 h 1759175"/>
              <a:gd name="connsiteX1" fmla="*/ 405514 w 2058184"/>
              <a:gd name="connsiteY1" fmla="*/ 61065 h 1759175"/>
              <a:gd name="connsiteX2" fmla="*/ 0 w 2058184"/>
              <a:gd name="connsiteY2" fmla="*/ 976379 h 1759175"/>
              <a:gd name="connsiteX3" fmla="*/ 797424 w 2058184"/>
              <a:gd name="connsiteY3" fmla="*/ 1423979 h 1759175"/>
              <a:gd name="connsiteX4" fmla="*/ 797424 w 2058184"/>
              <a:gd name="connsiteY4" fmla="*/ 1647690 h 1759175"/>
              <a:gd name="connsiteX5" fmla="*/ 992507 w 2058184"/>
              <a:gd name="connsiteY5" fmla="*/ 1759176 h 1759175"/>
              <a:gd name="connsiteX6" fmla="*/ 2058184 w 2058184"/>
              <a:gd name="connsiteY6" fmla="*/ 1144793 h 1759175"/>
              <a:gd name="connsiteX0" fmla="*/ 502246 w 2058184"/>
              <a:gd name="connsiteY0" fmla="*/ 0 h 1759175"/>
              <a:gd name="connsiteX1" fmla="*/ 0 w 2058184"/>
              <a:gd name="connsiteY1" fmla="*/ 976379 h 1759175"/>
              <a:gd name="connsiteX2" fmla="*/ 797424 w 2058184"/>
              <a:gd name="connsiteY2" fmla="*/ 1423979 h 1759175"/>
              <a:gd name="connsiteX3" fmla="*/ 797424 w 2058184"/>
              <a:gd name="connsiteY3" fmla="*/ 1647690 h 1759175"/>
              <a:gd name="connsiteX4" fmla="*/ 992507 w 2058184"/>
              <a:gd name="connsiteY4" fmla="*/ 1759176 h 1759175"/>
              <a:gd name="connsiteX5" fmla="*/ 2058184 w 2058184"/>
              <a:gd name="connsiteY5" fmla="*/ 1144793 h 1759175"/>
              <a:gd name="connsiteX0" fmla="*/ 0 w 2058184"/>
              <a:gd name="connsiteY0" fmla="*/ 0 h 782796"/>
              <a:gd name="connsiteX1" fmla="*/ 797424 w 2058184"/>
              <a:gd name="connsiteY1" fmla="*/ 447600 h 782796"/>
              <a:gd name="connsiteX2" fmla="*/ 797424 w 2058184"/>
              <a:gd name="connsiteY2" fmla="*/ 671311 h 782796"/>
              <a:gd name="connsiteX3" fmla="*/ 992507 w 2058184"/>
              <a:gd name="connsiteY3" fmla="*/ 782797 h 782796"/>
              <a:gd name="connsiteX4" fmla="*/ 2058184 w 2058184"/>
              <a:gd name="connsiteY4" fmla="*/ 168414 h 78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8184" h="782796">
                <a:moveTo>
                  <a:pt x="0" y="0"/>
                </a:moveTo>
                <a:lnTo>
                  <a:pt x="797424" y="447600"/>
                </a:lnTo>
                <a:lnTo>
                  <a:pt x="797424" y="671311"/>
                </a:lnTo>
                <a:lnTo>
                  <a:pt x="992507" y="782797"/>
                </a:lnTo>
                <a:lnTo>
                  <a:pt x="2058184" y="168414"/>
                </a:lnTo>
              </a:path>
            </a:pathLst>
          </a:custGeom>
          <a:noFill/>
          <a:ln w="12700" cap="flat">
            <a:solidFill>
              <a:srgbClr val="B4A8FF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50" name="Freihandform: Form 3249">
            <a:extLst>
              <a:ext uri="{FF2B5EF4-FFF2-40B4-BE49-F238E27FC236}">
                <a16:creationId xmlns:a16="http://schemas.microsoft.com/office/drawing/2014/main" id="{7D501626-72A4-97B1-DFCF-CD368D79893B}"/>
              </a:ext>
            </a:extLst>
          </p:cNvPr>
          <p:cNvSpPr/>
          <p:nvPr/>
        </p:nvSpPr>
        <p:spPr>
          <a:xfrm>
            <a:off x="10648880" y="3102053"/>
            <a:ext cx="78785" cy="391117"/>
          </a:xfrm>
          <a:custGeom>
            <a:avLst/>
            <a:gdLst>
              <a:gd name="connsiteX0" fmla="*/ 144414 w 291815"/>
              <a:gd name="connsiteY0" fmla="*/ 3550408 h 3550408"/>
              <a:gd name="connsiteX1" fmla="*/ 0 w 291815"/>
              <a:gd name="connsiteY1" fmla="*/ 3459527 h 3550408"/>
              <a:gd name="connsiteX2" fmla="*/ 0 w 291815"/>
              <a:gd name="connsiteY2" fmla="*/ 2558682 h 3550408"/>
              <a:gd name="connsiteX3" fmla="*/ 291816 w 291815"/>
              <a:gd name="connsiteY3" fmla="*/ 2387315 h 3550408"/>
              <a:gd name="connsiteX4" fmla="*/ 291816 w 291815"/>
              <a:gd name="connsiteY4" fmla="*/ 234548 h 3550408"/>
              <a:gd name="connsiteX5" fmla="*/ 191722 w 291815"/>
              <a:gd name="connsiteY5" fmla="*/ 178588 h 3550408"/>
              <a:gd name="connsiteX6" fmla="*/ 95052 w 291815"/>
              <a:gd name="connsiteY6" fmla="*/ 119204 h 3550408"/>
              <a:gd name="connsiteX7" fmla="*/ 95052 w 291815"/>
              <a:gd name="connsiteY7" fmla="*/ 0 h 3550408"/>
              <a:gd name="connsiteX0" fmla="*/ 0 w 291815"/>
              <a:gd name="connsiteY0" fmla="*/ 3459527 h 3459526"/>
              <a:gd name="connsiteX1" fmla="*/ 0 w 291815"/>
              <a:gd name="connsiteY1" fmla="*/ 2558682 h 3459526"/>
              <a:gd name="connsiteX2" fmla="*/ 291816 w 291815"/>
              <a:gd name="connsiteY2" fmla="*/ 2387315 h 3459526"/>
              <a:gd name="connsiteX3" fmla="*/ 291816 w 291815"/>
              <a:gd name="connsiteY3" fmla="*/ 234548 h 3459526"/>
              <a:gd name="connsiteX4" fmla="*/ 191722 w 291815"/>
              <a:gd name="connsiteY4" fmla="*/ 178588 h 3459526"/>
              <a:gd name="connsiteX5" fmla="*/ 95052 w 291815"/>
              <a:gd name="connsiteY5" fmla="*/ 119204 h 3459526"/>
              <a:gd name="connsiteX6" fmla="*/ 95052 w 291815"/>
              <a:gd name="connsiteY6" fmla="*/ 0 h 3459526"/>
              <a:gd name="connsiteX0" fmla="*/ 0 w 291815"/>
              <a:gd name="connsiteY0" fmla="*/ 3058435 h 3058435"/>
              <a:gd name="connsiteX1" fmla="*/ 0 w 291815"/>
              <a:gd name="connsiteY1" fmla="*/ 2558682 h 3058435"/>
              <a:gd name="connsiteX2" fmla="*/ 291816 w 291815"/>
              <a:gd name="connsiteY2" fmla="*/ 2387315 h 3058435"/>
              <a:gd name="connsiteX3" fmla="*/ 291816 w 291815"/>
              <a:gd name="connsiteY3" fmla="*/ 234548 h 3058435"/>
              <a:gd name="connsiteX4" fmla="*/ 191722 w 291815"/>
              <a:gd name="connsiteY4" fmla="*/ 178588 h 3058435"/>
              <a:gd name="connsiteX5" fmla="*/ 95052 w 291815"/>
              <a:gd name="connsiteY5" fmla="*/ 119204 h 3058435"/>
              <a:gd name="connsiteX6" fmla="*/ 95052 w 291815"/>
              <a:gd name="connsiteY6" fmla="*/ 0 h 3058435"/>
              <a:gd name="connsiteX0" fmla="*/ 0 w 291815"/>
              <a:gd name="connsiteY0" fmla="*/ 2558682 h 2558684"/>
              <a:gd name="connsiteX1" fmla="*/ 291816 w 291815"/>
              <a:gd name="connsiteY1" fmla="*/ 2387315 h 2558684"/>
              <a:gd name="connsiteX2" fmla="*/ 291816 w 291815"/>
              <a:gd name="connsiteY2" fmla="*/ 234548 h 2558684"/>
              <a:gd name="connsiteX3" fmla="*/ 191722 w 291815"/>
              <a:gd name="connsiteY3" fmla="*/ 178588 h 2558684"/>
              <a:gd name="connsiteX4" fmla="*/ 95052 w 291815"/>
              <a:gd name="connsiteY4" fmla="*/ 119204 h 2558684"/>
              <a:gd name="connsiteX5" fmla="*/ 95052 w 291815"/>
              <a:gd name="connsiteY5" fmla="*/ 0 h 2558684"/>
              <a:gd name="connsiteX0" fmla="*/ 0 w 303611"/>
              <a:gd name="connsiteY0" fmla="*/ 2558682 h 2558684"/>
              <a:gd name="connsiteX1" fmla="*/ 303611 w 303611"/>
              <a:gd name="connsiteY1" fmla="*/ 2210359 h 2558684"/>
              <a:gd name="connsiteX2" fmla="*/ 291816 w 303611"/>
              <a:gd name="connsiteY2" fmla="*/ 234548 h 2558684"/>
              <a:gd name="connsiteX3" fmla="*/ 191722 w 303611"/>
              <a:gd name="connsiteY3" fmla="*/ 178588 h 2558684"/>
              <a:gd name="connsiteX4" fmla="*/ 95052 w 303611"/>
              <a:gd name="connsiteY4" fmla="*/ 119204 h 2558684"/>
              <a:gd name="connsiteX5" fmla="*/ 95052 w 303611"/>
              <a:gd name="connsiteY5" fmla="*/ 0 h 2558684"/>
              <a:gd name="connsiteX0" fmla="*/ 0 w 303611"/>
              <a:gd name="connsiteY0" fmla="*/ 2393525 h 2393525"/>
              <a:gd name="connsiteX1" fmla="*/ 303611 w 303611"/>
              <a:gd name="connsiteY1" fmla="*/ 2210359 h 2393525"/>
              <a:gd name="connsiteX2" fmla="*/ 291816 w 303611"/>
              <a:gd name="connsiteY2" fmla="*/ 234548 h 2393525"/>
              <a:gd name="connsiteX3" fmla="*/ 191722 w 303611"/>
              <a:gd name="connsiteY3" fmla="*/ 178588 h 2393525"/>
              <a:gd name="connsiteX4" fmla="*/ 95052 w 303611"/>
              <a:gd name="connsiteY4" fmla="*/ 119204 h 2393525"/>
              <a:gd name="connsiteX5" fmla="*/ 95052 w 303611"/>
              <a:gd name="connsiteY5" fmla="*/ 0 h 2393525"/>
              <a:gd name="connsiteX0" fmla="*/ 208559 w 208559"/>
              <a:gd name="connsiteY0" fmla="*/ 2210359 h 2210360"/>
              <a:gd name="connsiteX1" fmla="*/ 196764 w 208559"/>
              <a:gd name="connsiteY1" fmla="*/ 234548 h 2210360"/>
              <a:gd name="connsiteX2" fmla="*/ 96670 w 208559"/>
              <a:gd name="connsiteY2" fmla="*/ 178588 h 2210360"/>
              <a:gd name="connsiteX3" fmla="*/ 0 w 208559"/>
              <a:gd name="connsiteY3" fmla="*/ 119204 h 2210360"/>
              <a:gd name="connsiteX4" fmla="*/ 0 w 208559"/>
              <a:gd name="connsiteY4" fmla="*/ 0 h 2210360"/>
              <a:gd name="connsiteX0" fmla="*/ 202441 w 202441"/>
              <a:gd name="connsiteY0" fmla="*/ 1004982 h 1004982"/>
              <a:gd name="connsiteX1" fmla="*/ 196764 w 202441"/>
              <a:gd name="connsiteY1" fmla="*/ 234548 h 1004982"/>
              <a:gd name="connsiteX2" fmla="*/ 96670 w 202441"/>
              <a:gd name="connsiteY2" fmla="*/ 178588 h 1004982"/>
              <a:gd name="connsiteX3" fmla="*/ 0 w 202441"/>
              <a:gd name="connsiteY3" fmla="*/ 119204 h 1004982"/>
              <a:gd name="connsiteX4" fmla="*/ 0 w 202441"/>
              <a:gd name="connsiteY4" fmla="*/ 0 h 1004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441" h="1004982">
                <a:moveTo>
                  <a:pt x="202441" y="1004982"/>
                </a:moveTo>
                <a:cubicBezTo>
                  <a:pt x="198509" y="346378"/>
                  <a:pt x="200696" y="893152"/>
                  <a:pt x="196764" y="234548"/>
                </a:cubicBezTo>
                <a:lnTo>
                  <a:pt x="96670" y="178588"/>
                </a:lnTo>
                <a:lnTo>
                  <a:pt x="0" y="119204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rgbClr val="00E6DC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53" name="Freihandform: Form 3252">
            <a:extLst>
              <a:ext uri="{FF2B5EF4-FFF2-40B4-BE49-F238E27FC236}">
                <a16:creationId xmlns:a16="http://schemas.microsoft.com/office/drawing/2014/main" id="{D4971824-9598-3D75-FE8C-C0D60525154C}"/>
              </a:ext>
            </a:extLst>
          </p:cNvPr>
          <p:cNvSpPr/>
          <p:nvPr/>
        </p:nvSpPr>
        <p:spPr>
          <a:xfrm>
            <a:off x="10328182" y="3076066"/>
            <a:ext cx="469373" cy="442758"/>
          </a:xfrm>
          <a:custGeom>
            <a:avLst/>
            <a:gdLst>
              <a:gd name="connsiteX0" fmla="*/ 0 w 1469164"/>
              <a:gd name="connsiteY0" fmla="*/ 0 h 4456918"/>
              <a:gd name="connsiteX1" fmla="*/ 0 w 1469164"/>
              <a:gd name="connsiteY1" fmla="*/ 450796 h 4456918"/>
              <a:gd name="connsiteX2" fmla="*/ 980584 w 1469164"/>
              <a:gd name="connsiteY2" fmla="*/ 1012144 h 4456918"/>
              <a:gd name="connsiteX3" fmla="*/ 980584 w 1469164"/>
              <a:gd name="connsiteY3" fmla="*/ 1906640 h 4456918"/>
              <a:gd name="connsiteX4" fmla="*/ 1469165 w 1469164"/>
              <a:gd name="connsiteY4" fmla="*/ 1629390 h 4456918"/>
              <a:gd name="connsiteX5" fmla="*/ 1469165 w 1469164"/>
              <a:gd name="connsiteY5" fmla="*/ 2300231 h 4456918"/>
              <a:gd name="connsiteX6" fmla="*/ 688768 w 1469164"/>
              <a:gd name="connsiteY6" fmla="*/ 2749782 h 4456918"/>
              <a:gd name="connsiteX7" fmla="*/ 688768 w 1469164"/>
              <a:gd name="connsiteY7" fmla="*/ 4456918 h 4456918"/>
              <a:gd name="connsiteX0" fmla="*/ 0 w 1469164"/>
              <a:gd name="connsiteY0" fmla="*/ 0 h 3808089"/>
              <a:gd name="connsiteX1" fmla="*/ 0 w 1469164"/>
              <a:gd name="connsiteY1" fmla="*/ 450796 h 3808089"/>
              <a:gd name="connsiteX2" fmla="*/ 980584 w 1469164"/>
              <a:gd name="connsiteY2" fmla="*/ 1012144 h 3808089"/>
              <a:gd name="connsiteX3" fmla="*/ 980584 w 1469164"/>
              <a:gd name="connsiteY3" fmla="*/ 1906640 h 3808089"/>
              <a:gd name="connsiteX4" fmla="*/ 1469165 w 1469164"/>
              <a:gd name="connsiteY4" fmla="*/ 1629390 h 3808089"/>
              <a:gd name="connsiteX5" fmla="*/ 1469165 w 1469164"/>
              <a:gd name="connsiteY5" fmla="*/ 2300231 h 3808089"/>
              <a:gd name="connsiteX6" fmla="*/ 688768 w 1469164"/>
              <a:gd name="connsiteY6" fmla="*/ 2749782 h 3808089"/>
              <a:gd name="connsiteX7" fmla="*/ 688769 w 1469164"/>
              <a:gd name="connsiteY7" fmla="*/ 3808089 h 3808089"/>
              <a:gd name="connsiteX0" fmla="*/ 0 w 1469164"/>
              <a:gd name="connsiteY0" fmla="*/ 0 h 3182857"/>
              <a:gd name="connsiteX1" fmla="*/ 0 w 1469164"/>
              <a:gd name="connsiteY1" fmla="*/ 450796 h 3182857"/>
              <a:gd name="connsiteX2" fmla="*/ 980584 w 1469164"/>
              <a:gd name="connsiteY2" fmla="*/ 1012144 h 3182857"/>
              <a:gd name="connsiteX3" fmla="*/ 980584 w 1469164"/>
              <a:gd name="connsiteY3" fmla="*/ 1906640 h 3182857"/>
              <a:gd name="connsiteX4" fmla="*/ 1469165 w 1469164"/>
              <a:gd name="connsiteY4" fmla="*/ 1629390 h 3182857"/>
              <a:gd name="connsiteX5" fmla="*/ 1469165 w 1469164"/>
              <a:gd name="connsiteY5" fmla="*/ 2300231 h 3182857"/>
              <a:gd name="connsiteX6" fmla="*/ 688768 w 1469164"/>
              <a:gd name="connsiteY6" fmla="*/ 2749782 h 3182857"/>
              <a:gd name="connsiteX7" fmla="*/ 688769 w 1469164"/>
              <a:gd name="connsiteY7" fmla="*/ 3182857 h 3182857"/>
              <a:gd name="connsiteX0" fmla="*/ 0 w 1469164"/>
              <a:gd name="connsiteY0" fmla="*/ 0 h 3182857"/>
              <a:gd name="connsiteX1" fmla="*/ 85660 w 1469164"/>
              <a:gd name="connsiteY1" fmla="*/ 542576 h 3182857"/>
              <a:gd name="connsiteX2" fmla="*/ 980584 w 1469164"/>
              <a:gd name="connsiteY2" fmla="*/ 1012144 h 3182857"/>
              <a:gd name="connsiteX3" fmla="*/ 980584 w 1469164"/>
              <a:gd name="connsiteY3" fmla="*/ 1906640 h 3182857"/>
              <a:gd name="connsiteX4" fmla="*/ 1469165 w 1469164"/>
              <a:gd name="connsiteY4" fmla="*/ 1629390 h 3182857"/>
              <a:gd name="connsiteX5" fmla="*/ 1469165 w 1469164"/>
              <a:gd name="connsiteY5" fmla="*/ 2300231 h 3182857"/>
              <a:gd name="connsiteX6" fmla="*/ 688768 w 1469164"/>
              <a:gd name="connsiteY6" fmla="*/ 2749782 h 3182857"/>
              <a:gd name="connsiteX7" fmla="*/ 688769 w 1469164"/>
              <a:gd name="connsiteY7" fmla="*/ 3182857 h 3182857"/>
              <a:gd name="connsiteX0" fmla="*/ 0 w 1389622"/>
              <a:gd name="connsiteY0" fmla="*/ 0 h 2950349"/>
              <a:gd name="connsiteX1" fmla="*/ 6118 w 1389622"/>
              <a:gd name="connsiteY1" fmla="*/ 310068 h 2950349"/>
              <a:gd name="connsiteX2" fmla="*/ 901042 w 1389622"/>
              <a:gd name="connsiteY2" fmla="*/ 779636 h 2950349"/>
              <a:gd name="connsiteX3" fmla="*/ 901042 w 1389622"/>
              <a:gd name="connsiteY3" fmla="*/ 1674132 h 2950349"/>
              <a:gd name="connsiteX4" fmla="*/ 1389623 w 1389622"/>
              <a:gd name="connsiteY4" fmla="*/ 1396882 h 2950349"/>
              <a:gd name="connsiteX5" fmla="*/ 1389623 w 1389622"/>
              <a:gd name="connsiteY5" fmla="*/ 2067723 h 2950349"/>
              <a:gd name="connsiteX6" fmla="*/ 609226 w 1389622"/>
              <a:gd name="connsiteY6" fmla="*/ 2517274 h 2950349"/>
              <a:gd name="connsiteX7" fmla="*/ 609227 w 1389622"/>
              <a:gd name="connsiteY7" fmla="*/ 2950349 h 2950349"/>
              <a:gd name="connsiteX0" fmla="*/ 0 w 1383504"/>
              <a:gd name="connsiteY0" fmla="*/ -1 h 2640280"/>
              <a:gd name="connsiteX1" fmla="*/ 894924 w 1383504"/>
              <a:gd name="connsiteY1" fmla="*/ 469567 h 2640280"/>
              <a:gd name="connsiteX2" fmla="*/ 894924 w 1383504"/>
              <a:gd name="connsiteY2" fmla="*/ 1364063 h 2640280"/>
              <a:gd name="connsiteX3" fmla="*/ 1383505 w 1383504"/>
              <a:gd name="connsiteY3" fmla="*/ 1086813 h 2640280"/>
              <a:gd name="connsiteX4" fmla="*/ 1383505 w 1383504"/>
              <a:gd name="connsiteY4" fmla="*/ 1757654 h 2640280"/>
              <a:gd name="connsiteX5" fmla="*/ 603108 w 1383504"/>
              <a:gd name="connsiteY5" fmla="*/ 2207205 h 2640280"/>
              <a:gd name="connsiteX6" fmla="*/ 603109 w 1383504"/>
              <a:gd name="connsiteY6" fmla="*/ 2640280 h 2640280"/>
              <a:gd name="connsiteX0" fmla="*/ 0 w 1383504"/>
              <a:gd name="connsiteY0" fmla="*/ -1 h 2640280"/>
              <a:gd name="connsiteX1" fmla="*/ 894924 w 1383504"/>
              <a:gd name="connsiteY1" fmla="*/ 469567 h 2640280"/>
              <a:gd name="connsiteX2" fmla="*/ 894924 w 1383504"/>
              <a:gd name="connsiteY2" fmla="*/ 1364063 h 2640280"/>
              <a:gd name="connsiteX3" fmla="*/ 1383505 w 1383504"/>
              <a:gd name="connsiteY3" fmla="*/ 1086813 h 2640280"/>
              <a:gd name="connsiteX4" fmla="*/ 1383505 w 1383504"/>
              <a:gd name="connsiteY4" fmla="*/ 1757654 h 2640280"/>
              <a:gd name="connsiteX5" fmla="*/ 603109 w 1383504"/>
              <a:gd name="connsiteY5" fmla="*/ 2640280 h 2640280"/>
              <a:gd name="connsiteX0" fmla="*/ 0 w 1383504"/>
              <a:gd name="connsiteY0" fmla="*/ -1 h 1757654"/>
              <a:gd name="connsiteX1" fmla="*/ 894924 w 1383504"/>
              <a:gd name="connsiteY1" fmla="*/ 469567 h 1757654"/>
              <a:gd name="connsiteX2" fmla="*/ 894924 w 1383504"/>
              <a:gd name="connsiteY2" fmla="*/ 1364063 h 1757654"/>
              <a:gd name="connsiteX3" fmla="*/ 1383505 w 1383504"/>
              <a:gd name="connsiteY3" fmla="*/ 1086813 h 1757654"/>
              <a:gd name="connsiteX4" fmla="*/ 1383505 w 1383504"/>
              <a:gd name="connsiteY4" fmla="*/ 1757654 h 1757654"/>
              <a:gd name="connsiteX0" fmla="*/ 0 w 1383504"/>
              <a:gd name="connsiteY0" fmla="*/ -1 h 1364063"/>
              <a:gd name="connsiteX1" fmla="*/ 894924 w 1383504"/>
              <a:gd name="connsiteY1" fmla="*/ 469567 h 1364063"/>
              <a:gd name="connsiteX2" fmla="*/ 894924 w 1383504"/>
              <a:gd name="connsiteY2" fmla="*/ 1364063 h 1364063"/>
              <a:gd name="connsiteX3" fmla="*/ 1383505 w 1383504"/>
              <a:gd name="connsiteY3" fmla="*/ 1086813 h 1364063"/>
              <a:gd name="connsiteX0" fmla="*/ 0 w 1383504"/>
              <a:gd name="connsiteY0" fmla="*/ -1 h 1137673"/>
              <a:gd name="connsiteX1" fmla="*/ 894924 w 1383504"/>
              <a:gd name="connsiteY1" fmla="*/ 469567 h 1137673"/>
              <a:gd name="connsiteX2" fmla="*/ 888807 w 1383504"/>
              <a:gd name="connsiteY2" fmla="*/ 1137673 h 1137673"/>
              <a:gd name="connsiteX3" fmla="*/ 1383505 w 1383504"/>
              <a:gd name="connsiteY3" fmla="*/ 1086813 h 1137673"/>
              <a:gd name="connsiteX0" fmla="*/ 0 w 1206063"/>
              <a:gd name="connsiteY0" fmla="*/ -1 h 1137673"/>
              <a:gd name="connsiteX1" fmla="*/ 894924 w 1206063"/>
              <a:gd name="connsiteY1" fmla="*/ 469567 h 1137673"/>
              <a:gd name="connsiteX2" fmla="*/ 888807 w 1206063"/>
              <a:gd name="connsiteY2" fmla="*/ 1137673 h 1137673"/>
              <a:gd name="connsiteX3" fmla="*/ 1206063 w 1206063"/>
              <a:gd name="connsiteY3" fmla="*/ 952203 h 1137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063" h="1137673">
                <a:moveTo>
                  <a:pt x="0" y="-1"/>
                </a:moveTo>
                <a:lnTo>
                  <a:pt x="894924" y="469567"/>
                </a:lnTo>
                <a:lnTo>
                  <a:pt x="888807" y="1137673"/>
                </a:lnTo>
                <a:lnTo>
                  <a:pt x="1206063" y="952203"/>
                </a:lnTo>
              </a:path>
            </a:pathLst>
          </a:custGeom>
          <a:noFill/>
          <a:ln w="12700" cap="flat">
            <a:solidFill>
              <a:srgbClr val="00FFB9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54" name="Freihandform: Form 3253">
            <a:extLst>
              <a:ext uri="{FF2B5EF4-FFF2-40B4-BE49-F238E27FC236}">
                <a16:creationId xmlns:a16="http://schemas.microsoft.com/office/drawing/2014/main" id="{34B4ACA3-DA8A-73F5-2886-711C856A44A0}"/>
              </a:ext>
            </a:extLst>
          </p:cNvPr>
          <p:cNvSpPr/>
          <p:nvPr/>
        </p:nvSpPr>
        <p:spPr>
          <a:xfrm>
            <a:off x="10194818" y="3141941"/>
            <a:ext cx="35975" cy="358183"/>
          </a:xfrm>
          <a:custGeom>
            <a:avLst/>
            <a:gdLst>
              <a:gd name="connsiteX0" fmla="*/ 369750 w 369749"/>
              <a:gd name="connsiteY0" fmla="*/ 0 h 3682870"/>
              <a:gd name="connsiteX1" fmla="*/ 369750 w 369749"/>
              <a:gd name="connsiteY1" fmla="*/ 387491 h 3682870"/>
              <a:gd name="connsiteX2" fmla="*/ 277312 w 369749"/>
              <a:gd name="connsiteY2" fmla="*/ 448555 h 3682870"/>
              <a:gd name="connsiteX3" fmla="*/ 277312 w 369749"/>
              <a:gd name="connsiteY3" fmla="*/ 2823607 h 3682870"/>
              <a:gd name="connsiteX4" fmla="*/ 0 w 369749"/>
              <a:gd name="connsiteY4" fmla="*/ 2995472 h 3682870"/>
              <a:gd name="connsiteX5" fmla="*/ 0 w 369749"/>
              <a:gd name="connsiteY5" fmla="*/ 3682871 h 3682870"/>
              <a:gd name="connsiteX6" fmla="*/ 300967 w 369749"/>
              <a:gd name="connsiteY6" fmla="*/ 3501606 h 3682870"/>
              <a:gd name="connsiteX0" fmla="*/ 369750 w 369749"/>
              <a:gd name="connsiteY0" fmla="*/ 0 h 3682870"/>
              <a:gd name="connsiteX1" fmla="*/ 369750 w 369749"/>
              <a:gd name="connsiteY1" fmla="*/ 387491 h 3682870"/>
              <a:gd name="connsiteX2" fmla="*/ 277312 w 369749"/>
              <a:gd name="connsiteY2" fmla="*/ 448555 h 3682870"/>
              <a:gd name="connsiteX3" fmla="*/ 277312 w 369749"/>
              <a:gd name="connsiteY3" fmla="*/ 2823607 h 3682870"/>
              <a:gd name="connsiteX4" fmla="*/ 0 w 369749"/>
              <a:gd name="connsiteY4" fmla="*/ 2995472 h 3682870"/>
              <a:gd name="connsiteX5" fmla="*/ 0 w 369749"/>
              <a:gd name="connsiteY5" fmla="*/ 3682871 h 3682870"/>
              <a:gd name="connsiteX0" fmla="*/ 369750 w 369749"/>
              <a:gd name="connsiteY0" fmla="*/ 0 h 2995474"/>
              <a:gd name="connsiteX1" fmla="*/ 369750 w 369749"/>
              <a:gd name="connsiteY1" fmla="*/ 387491 h 2995474"/>
              <a:gd name="connsiteX2" fmla="*/ 277312 w 369749"/>
              <a:gd name="connsiteY2" fmla="*/ 448555 h 2995474"/>
              <a:gd name="connsiteX3" fmla="*/ 277312 w 369749"/>
              <a:gd name="connsiteY3" fmla="*/ 2823607 h 2995474"/>
              <a:gd name="connsiteX4" fmla="*/ 0 w 369749"/>
              <a:gd name="connsiteY4" fmla="*/ 2995472 h 2995474"/>
              <a:gd name="connsiteX0" fmla="*/ 92439 w 92438"/>
              <a:gd name="connsiteY0" fmla="*/ 0 h 2823608"/>
              <a:gd name="connsiteX1" fmla="*/ 92439 w 92438"/>
              <a:gd name="connsiteY1" fmla="*/ 387491 h 2823608"/>
              <a:gd name="connsiteX2" fmla="*/ 1 w 92438"/>
              <a:gd name="connsiteY2" fmla="*/ 448555 h 2823608"/>
              <a:gd name="connsiteX3" fmla="*/ 1 w 92438"/>
              <a:gd name="connsiteY3" fmla="*/ 2823607 h 2823608"/>
              <a:gd name="connsiteX0" fmla="*/ 92439 w 92438"/>
              <a:gd name="connsiteY0" fmla="*/ 0 h 2505091"/>
              <a:gd name="connsiteX1" fmla="*/ 92439 w 92438"/>
              <a:gd name="connsiteY1" fmla="*/ 387491 h 2505091"/>
              <a:gd name="connsiteX2" fmla="*/ 1 w 92438"/>
              <a:gd name="connsiteY2" fmla="*/ 448555 h 2505091"/>
              <a:gd name="connsiteX3" fmla="*/ 0 w 92438"/>
              <a:gd name="connsiteY3" fmla="*/ 2505091 h 2505091"/>
              <a:gd name="connsiteX0" fmla="*/ 92439 w 92438"/>
              <a:gd name="connsiteY0" fmla="*/ 0 h 920357"/>
              <a:gd name="connsiteX1" fmla="*/ 92439 w 92438"/>
              <a:gd name="connsiteY1" fmla="*/ 387491 h 920357"/>
              <a:gd name="connsiteX2" fmla="*/ 1 w 92438"/>
              <a:gd name="connsiteY2" fmla="*/ 448555 h 920357"/>
              <a:gd name="connsiteX3" fmla="*/ 0 w 92438"/>
              <a:gd name="connsiteY3" fmla="*/ 920357 h 920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38" h="920357">
                <a:moveTo>
                  <a:pt x="92439" y="0"/>
                </a:moveTo>
                <a:lnTo>
                  <a:pt x="92439" y="387491"/>
                </a:lnTo>
                <a:lnTo>
                  <a:pt x="1" y="448555"/>
                </a:lnTo>
                <a:cubicBezTo>
                  <a:pt x="1" y="1134067"/>
                  <a:pt x="0" y="234845"/>
                  <a:pt x="0" y="920357"/>
                </a:cubicBezTo>
              </a:path>
            </a:pathLst>
          </a:custGeom>
          <a:noFill/>
          <a:ln w="12700" cap="flat">
            <a:solidFill>
              <a:srgbClr val="00FFB9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893F549-CB66-ED63-7868-18C0CCF78BA5}"/>
              </a:ext>
            </a:extLst>
          </p:cNvPr>
          <p:cNvGrpSpPr/>
          <p:nvPr/>
        </p:nvGrpSpPr>
        <p:grpSpPr>
          <a:xfrm>
            <a:off x="9784504" y="3468461"/>
            <a:ext cx="501605" cy="404339"/>
            <a:chOff x="9784504" y="4037077"/>
            <a:chExt cx="501605" cy="404339"/>
          </a:xfrm>
        </p:grpSpPr>
        <p:grpSp>
          <p:nvGrpSpPr>
            <p:cNvPr id="994" name="Gruppieren 993">
              <a:extLst>
                <a:ext uri="{FF2B5EF4-FFF2-40B4-BE49-F238E27FC236}">
                  <a16:creationId xmlns:a16="http://schemas.microsoft.com/office/drawing/2014/main" id="{8318AA8D-1E02-3978-2C13-8C5247ACF24D}"/>
                </a:ext>
              </a:extLst>
            </p:cNvPr>
            <p:cNvGrpSpPr/>
            <p:nvPr/>
          </p:nvGrpSpPr>
          <p:grpSpPr>
            <a:xfrm>
              <a:off x="9784504" y="4037077"/>
              <a:ext cx="88990" cy="206203"/>
              <a:chOff x="6610022" y="2456890"/>
              <a:chExt cx="450530" cy="1043958"/>
            </a:xfrm>
          </p:grpSpPr>
          <p:sp>
            <p:nvSpPr>
              <p:cNvPr id="974" name="Freihandform: Form 973">
                <a:extLst>
                  <a:ext uri="{FF2B5EF4-FFF2-40B4-BE49-F238E27FC236}">
                    <a16:creationId xmlns:a16="http://schemas.microsoft.com/office/drawing/2014/main" id="{306D2DEF-A49E-529F-D53D-CBC158C46476}"/>
                  </a:ext>
                </a:extLst>
              </p:cNvPr>
              <p:cNvSpPr/>
              <p:nvPr/>
            </p:nvSpPr>
            <p:spPr>
              <a:xfrm>
                <a:off x="6610022" y="2853639"/>
                <a:ext cx="224805" cy="647209"/>
              </a:xfrm>
              <a:custGeom>
                <a:avLst/>
                <a:gdLst>
                  <a:gd name="connsiteX0" fmla="*/ 225134 w 224805"/>
                  <a:gd name="connsiteY0" fmla="*/ 647068 h 647209"/>
                  <a:gd name="connsiteX1" fmla="*/ 329 w 224805"/>
                  <a:gd name="connsiteY1" fmla="*/ 517112 h 647209"/>
                  <a:gd name="connsiteX2" fmla="*/ 329 w 224805"/>
                  <a:gd name="connsiteY2" fmla="*/ -142 h 647209"/>
                  <a:gd name="connsiteX3" fmla="*/ 225134 w 224805"/>
                  <a:gd name="connsiteY3" fmla="*/ 129798 h 647209"/>
                  <a:gd name="connsiteX4" fmla="*/ 225134 w 224805"/>
                  <a:gd name="connsiteY4" fmla="*/ 647068 h 647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647209">
                    <a:moveTo>
                      <a:pt x="225134" y="647068"/>
                    </a:moveTo>
                    <a:lnTo>
                      <a:pt x="329" y="517112"/>
                    </a:lnTo>
                    <a:lnTo>
                      <a:pt x="329" y="-142"/>
                    </a:lnTo>
                    <a:lnTo>
                      <a:pt x="225134" y="129798"/>
                    </a:lnTo>
                    <a:lnTo>
                      <a:pt x="225134" y="647068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8" name="Freihandform: Form 977">
                <a:extLst>
                  <a:ext uri="{FF2B5EF4-FFF2-40B4-BE49-F238E27FC236}">
                    <a16:creationId xmlns:a16="http://schemas.microsoft.com/office/drawing/2014/main" id="{EF9070DF-E362-A000-E171-5586D81B2FC4}"/>
                  </a:ext>
                </a:extLst>
              </p:cNvPr>
              <p:cNvSpPr/>
              <p:nvPr/>
            </p:nvSpPr>
            <p:spPr>
              <a:xfrm>
                <a:off x="6610022" y="2786073"/>
                <a:ext cx="224805" cy="543746"/>
              </a:xfrm>
              <a:custGeom>
                <a:avLst/>
                <a:gdLst>
                  <a:gd name="connsiteX0" fmla="*/ 225134 w 224805"/>
                  <a:gd name="connsiteY0" fmla="*/ 543604 h 543746"/>
                  <a:gd name="connsiteX1" fmla="*/ 329 w 224805"/>
                  <a:gd name="connsiteY1" fmla="*/ 413648 h 543746"/>
                  <a:gd name="connsiteX2" fmla="*/ 329 w 224805"/>
                  <a:gd name="connsiteY2" fmla="*/ 361933 h 543746"/>
                  <a:gd name="connsiteX3" fmla="*/ 225134 w 224805"/>
                  <a:gd name="connsiteY3" fmla="*/ 491889 h 543746"/>
                  <a:gd name="connsiteX4" fmla="*/ 225134 w 224805"/>
                  <a:gd name="connsiteY4" fmla="*/ 543604 h 543746"/>
                  <a:gd name="connsiteX5" fmla="*/ 225134 w 224805"/>
                  <a:gd name="connsiteY5" fmla="*/ 401354 h 543746"/>
                  <a:gd name="connsiteX6" fmla="*/ 329 w 224805"/>
                  <a:gd name="connsiteY6" fmla="*/ 271414 h 543746"/>
                  <a:gd name="connsiteX7" fmla="*/ 329 w 224805"/>
                  <a:gd name="connsiteY7" fmla="*/ 323130 h 543746"/>
                  <a:gd name="connsiteX8" fmla="*/ 225134 w 224805"/>
                  <a:gd name="connsiteY8" fmla="*/ 453086 h 543746"/>
                  <a:gd name="connsiteX9" fmla="*/ 225134 w 224805"/>
                  <a:gd name="connsiteY9" fmla="*/ 401370 h 543746"/>
                  <a:gd name="connsiteX10" fmla="*/ 225134 w 224805"/>
                  <a:gd name="connsiteY10" fmla="*/ 310835 h 543746"/>
                  <a:gd name="connsiteX11" fmla="*/ 329 w 224805"/>
                  <a:gd name="connsiteY11" fmla="*/ 180895 h 543746"/>
                  <a:gd name="connsiteX12" fmla="*/ 329 w 224805"/>
                  <a:gd name="connsiteY12" fmla="*/ 232627 h 543746"/>
                  <a:gd name="connsiteX13" fmla="*/ 225134 w 224805"/>
                  <a:gd name="connsiteY13" fmla="*/ 362583 h 543746"/>
                  <a:gd name="connsiteX14" fmla="*/ 225134 w 224805"/>
                  <a:gd name="connsiteY14" fmla="*/ 310851 h 543746"/>
                  <a:gd name="connsiteX15" fmla="*/ 225134 w 224805"/>
                  <a:gd name="connsiteY15" fmla="*/ 129798 h 543746"/>
                  <a:gd name="connsiteX16" fmla="*/ 329 w 224805"/>
                  <a:gd name="connsiteY16" fmla="*/ -142 h 543746"/>
                  <a:gd name="connsiteX17" fmla="*/ 329 w 224805"/>
                  <a:gd name="connsiteY17" fmla="*/ 51574 h 543746"/>
                  <a:gd name="connsiteX18" fmla="*/ 225134 w 224805"/>
                  <a:gd name="connsiteY18" fmla="*/ 181530 h 543746"/>
                  <a:gd name="connsiteX19" fmla="*/ 225134 w 224805"/>
                  <a:gd name="connsiteY19" fmla="*/ 129814 h 543746"/>
                  <a:gd name="connsiteX20" fmla="*/ 225134 w 224805"/>
                  <a:gd name="connsiteY20" fmla="*/ 220317 h 543746"/>
                  <a:gd name="connsiteX21" fmla="*/ 329 w 224805"/>
                  <a:gd name="connsiteY21" fmla="*/ 90361 h 543746"/>
                  <a:gd name="connsiteX22" fmla="*/ 329 w 224805"/>
                  <a:gd name="connsiteY22" fmla="*/ 142093 h 543746"/>
                  <a:gd name="connsiteX23" fmla="*/ 225134 w 224805"/>
                  <a:gd name="connsiteY23" fmla="*/ 272049 h 543746"/>
                  <a:gd name="connsiteX24" fmla="*/ 225134 w 224805"/>
                  <a:gd name="connsiteY24" fmla="*/ 220317 h 543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46">
                    <a:moveTo>
                      <a:pt x="225134" y="543604"/>
                    </a:moveTo>
                    <a:lnTo>
                      <a:pt x="329" y="413648"/>
                    </a:lnTo>
                    <a:lnTo>
                      <a:pt x="329" y="361933"/>
                    </a:lnTo>
                    <a:lnTo>
                      <a:pt x="225134" y="491889"/>
                    </a:lnTo>
                    <a:lnTo>
                      <a:pt x="225134" y="543604"/>
                    </a:lnTo>
                    <a:close/>
                    <a:moveTo>
                      <a:pt x="225134" y="401354"/>
                    </a:moveTo>
                    <a:lnTo>
                      <a:pt x="329" y="271414"/>
                    </a:lnTo>
                    <a:lnTo>
                      <a:pt x="329" y="323130"/>
                    </a:lnTo>
                    <a:lnTo>
                      <a:pt x="225134" y="453086"/>
                    </a:lnTo>
                    <a:lnTo>
                      <a:pt x="225134" y="401370"/>
                    </a:lnTo>
                    <a:close/>
                    <a:moveTo>
                      <a:pt x="225134" y="310835"/>
                    </a:moveTo>
                    <a:lnTo>
                      <a:pt x="329" y="180895"/>
                    </a:lnTo>
                    <a:lnTo>
                      <a:pt x="329" y="232627"/>
                    </a:lnTo>
                    <a:lnTo>
                      <a:pt x="225134" y="362583"/>
                    </a:lnTo>
                    <a:lnTo>
                      <a:pt x="225134" y="310851"/>
                    </a:lnTo>
                    <a:close/>
                    <a:moveTo>
                      <a:pt x="225134" y="129798"/>
                    </a:moveTo>
                    <a:lnTo>
                      <a:pt x="329" y="-142"/>
                    </a:lnTo>
                    <a:lnTo>
                      <a:pt x="329" y="51574"/>
                    </a:lnTo>
                    <a:lnTo>
                      <a:pt x="225134" y="181530"/>
                    </a:lnTo>
                    <a:lnTo>
                      <a:pt x="225134" y="129814"/>
                    </a:lnTo>
                    <a:close/>
                    <a:moveTo>
                      <a:pt x="225134" y="220317"/>
                    </a:moveTo>
                    <a:lnTo>
                      <a:pt x="329" y="90361"/>
                    </a:lnTo>
                    <a:lnTo>
                      <a:pt x="329" y="142093"/>
                    </a:lnTo>
                    <a:lnTo>
                      <a:pt x="225134" y="272049"/>
                    </a:lnTo>
                    <a:lnTo>
                      <a:pt x="225134" y="220317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9" name="Freihandform: Form 948">
                <a:extLst>
                  <a:ext uri="{FF2B5EF4-FFF2-40B4-BE49-F238E27FC236}">
                    <a16:creationId xmlns:a16="http://schemas.microsoft.com/office/drawing/2014/main" id="{14DF9CBB-BE16-AFB8-DC18-324D31A6D28B}"/>
                  </a:ext>
                </a:extLst>
              </p:cNvPr>
              <p:cNvSpPr/>
              <p:nvPr/>
            </p:nvSpPr>
            <p:spPr>
              <a:xfrm>
                <a:off x="6610022" y="2582068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2" name="Freihandform: Form 951">
                <a:extLst>
                  <a:ext uri="{FF2B5EF4-FFF2-40B4-BE49-F238E27FC236}">
                    <a16:creationId xmlns:a16="http://schemas.microsoft.com/office/drawing/2014/main" id="{C565FC41-6458-DA48-4F95-00F0000E905A}"/>
                  </a:ext>
                </a:extLst>
              </p:cNvPr>
              <p:cNvSpPr/>
              <p:nvPr/>
            </p:nvSpPr>
            <p:spPr>
              <a:xfrm>
                <a:off x="6610022" y="2456890"/>
                <a:ext cx="450530" cy="259895"/>
              </a:xfrm>
              <a:custGeom>
                <a:avLst/>
                <a:gdLst>
                  <a:gd name="connsiteX0" fmla="*/ 225112 w 450530"/>
                  <a:gd name="connsiteY0" fmla="*/ 259871 h 259895"/>
                  <a:gd name="connsiteX1" fmla="*/ 307 w 450530"/>
                  <a:gd name="connsiteY1" fmla="*/ 129915 h 259895"/>
                  <a:gd name="connsiteX2" fmla="*/ 225112 w 450530"/>
                  <a:gd name="connsiteY2" fmla="*/ -25 h 259895"/>
                  <a:gd name="connsiteX3" fmla="*/ 450838 w 450530"/>
                  <a:gd name="connsiteY3" fmla="*/ 129930 h 259895"/>
                  <a:gd name="connsiteX4" fmla="*/ 225112 w 450530"/>
                  <a:gd name="connsiteY4" fmla="*/ 259871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530" h="259895">
                    <a:moveTo>
                      <a:pt x="225112" y="259871"/>
                    </a:moveTo>
                    <a:lnTo>
                      <a:pt x="307" y="129915"/>
                    </a:lnTo>
                    <a:lnTo>
                      <a:pt x="225112" y="-25"/>
                    </a:lnTo>
                    <a:lnTo>
                      <a:pt x="450838" y="129930"/>
                    </a:lnTo>
                    <a:lnTo>
                      <a:pt x="225112" y="259871"/>
                    </a:lnTo>
                    <a:close/>
                  </a:path>
                </a:pathLst>
              </a:custGeom>
              <a:solidFill>
                <a:srgbClr val="9999A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3" name="Freihandform: Form 952">
                <a:extLst>
                  <a:ext uri="{FF2B5EF4-FFF2-40B4-BE49-F238E27FC236}">
                    <a16:creationId xmlns:a16="http://schemas.microsoft.com/office/drawing/2014/main" id="{FD4895DC-88B0-C9FB-38E4-6EFC1E1413F5}"/>
                  </a:ext>
                </a:extLst>
              </p:cNvPr>
              <p:cNvSpPr/>
              <p:nvPr/>
            </p:nvSpPr>
            <p:spPr>
              <a:xfrm>
                <a:off x="6610022" y="2640942"/>
                <a:ext cx="224805" cy="543761"/>
              </a:xfrm>
              <a:custGeom>
                <a:avLst/>
                <a:gdLst>
                  <a:gd name="connsiteX0" fmla="*/ 225134 w 224805"/>
                  <a:gd name="connsiteY0" fmla="*/ 543673 h 543761"/>
                  <a:gd name="connsiteX1" fmla="*/ 329 w 224805"/>
                  <a:gd name="connsiteY1" fmla="*/ 413717 h 543761"/>
                  <a:gd name="connsiteX2" fmla="*/ 329 w 224805"/>
                  <a:gd name="connsiteY2" fmla="*/ 362002 h 543761"/>
                  <a:gd name="connsiteX3" fmla="*/ 225134 w 224805"/>
                  <a:gd name="connsiteY3" fmla="*/ 491957 h 543761"/>
                  <a:gd name="connsiteX4" fmla="*/ 225134 w 224805"/>
                  <a:gd name="connsiteY4" fmla="*/ 543673 h 543761"/>
                  <a:gd name="connsiteX5" fmla="*/ 225134 w 224805"/>
                  <a:gd name="connsiteY5" fmla="*/ 401423 h 543761"/>
                  <a:gd name="connsiteX6" fmla="*/ 329 w 224805"/>
                  <a:gd name="connsiteY6" fmla="*/ 271483 h 543761"/>
                  <a:gd name="connsiteX7" fmla="*/ 329 w 224805"/>
                  <a:gd name="connsiteY7" fmla="*/ 323199 h 543761"/>
                  <a:gd name="connsiteX8" fmla="*/ 225134 w 224805"/>
                  <a:gd name="connsiteY8" fmla="*/ 453155 h 543761"/>
                  <a:gd name="connsiteX9" fmla="*/ 225134 w 224805"/>
                  <a:gd name="connsiteY9" fmla="*/ 401439 h 543761"/>
                  <a:gd name="connsiteX10" fmla="*/ 225134 w 224805"/>
                  <a:gd name="connsiteY10" fmla="*/ 310904 h 543761"/>
                  <a:gd name="connsiteX11" fmla="*/ 329 w 224805"/>
                  <a:gd name="connsiteY11" fmla="*/ 180949 h 543761"/>
                  <a:gd name="connsiteX12" fmla="*/ 329 w 224805"/>
                  <a:gd name="connsiteY12" fmla="*/ 232680 h 543761"/>
                  <a:gd name="connsiteX13" fmla="*/ 225134 w 224805"/>
                  <a:gd name="connsiteY13" fmla="*/ 362636 h 543761"/>
                  <a:gd name="connsiteX14" fmla="*/ 225134 w 224805"/>
                  <a:gd name="connsiteY14" fmla="*/ 310904 h 543761"/>
                  <a:gd name="connsiteX15" fmla="*/ 225134 w 224805"/>
                  <a:gd name="connsiteY15" fmla="*/ 129867 h 543761"/>
                  <a:gd name="connsiteX16" fmla="*/ 329 w 224805"/>
                  <a:gd name="connsiteY16" fmla="*/ -89 h 543761"/>
                  <a:gd name="connsiteX17" fmla="*/ 329 w 224805"/>
                  <a:gd name="connsiteY17" fmla="*/ 51627 h 543761"/>
                  <a:gd name="connsiteX18" fmla="*/ 225134 w 224805"/>
                  <a:gd name="connsiteY18" fmla="*/ 181583 h 543761"/>
                  <a:gd name="connsiteX19" fmla="*/ 225134 w 224805"/>
                  <a:gd name="connsiteY19" fmla="*/ 129867 h 543761"/>
                  <a:gd name="connsiteX20" fmla="*/ 225134 w 224805"/>
                  <a:gd name="connsiteY20" fmla="*/ 220386 h 543761"/>
                  <a:gd name="connsiteX21" fmla="*/ 329 w 224805"/>
                  <a:gd name="connsiteY21" fmla="*/ 90430 h 543761"/>
                  <a:gd name="connsiteX22" fmla="*/ 329 w 224805"/>
                  <a:gd name="connsiteY22" fmla="*/ 142162 h 543761"/>
                  <a:gd name="connsiteX23" fmla="*/ 225134 w 224805"/>
                  <a:gd name="connsiteY23" fmla="*/ 272118 h 543761"/>
                  <a:gd name="connsiteX24" fmla="*/ 225134 w 224805"/>
                  <a:gd name="connsiteY24" fmla="*/ 220386 h 54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61">
                    <a:moveTo>
                      <a:pt x="225134" y="543673"/>
                    </a:moveTo>
                    <a:lnTo>
                      <a:pt x="329" y="413717"/>
                    </a:lnTo>
                    <a:lnTo>
                      <a:pt x="329" y="362002"/>
                    </a:lnTo>
                    <a:lnTo>
                      <a:pt x="225134" y="491957"/>
                    </a:lnTo>
                    <a:lnTo>
                      <a:pt x="225134" y="543673"/>
                    </a:lnTo>
                    <a:close/>
                    <a:moveTo>
                      <a:pt x="225134" y="401423"/>
                    </a:moveTo>
                    <a:lnTo>
                      <a:pt x="329" y="271483"/>
                    </a:lnTo>
                    <a:lnTo>
                      <a:pt x="329" y="323199"/>
                    </a:lnTo>
                    <a:lnTo>
                      <a:pt x="225134" y="453155"/>
                    </a:lnTo>
                    <a:lnTo>
                      <a:pt x="225134" y="401439"/>
                    </a:lnTo>
                    <a:close/>
                    <a:moveTo>
                      <a:pt x="225134" y="310904"/>
                    </a:moveTo>
                    <a:lnTo>
                      <a:pt x="329" y="180949"/>
                    </a:lnTo>
                    <a:lnTo>
                      <a:pt x="329" y="232680"/>
                    </a:lnTo>
                    <a:lnTo>
                      <a:pt x="225134" y="362636"/>
                    </a:lnTo>
                    <a:lnTo>
                      <a:pt x="225134" y="310904"/>
                    </a:lnTo>
                    <a:close/>
                    <a:moveTo>
                      <a:pt x="225134" y="129867"/>
                    </a:moveTo>
                    <a:lnTo>
                      <a:pt x="329" y="-89"/>
                    </a:lnTo>
                    <a:lnTo>
                      <a:pt x="329" y="51627"/>
                    </a:lnTo>
                    <a:lnTo>
                      <a:pt x="225134" y="181583"/>
                    </a:lnTo>
                    <a:lnTo>
                      <a:pt x="225134" y="129867"/>
                    </a:lnTo>
                    <a:close/>
                    <a:moveTo>
                      <a:pt x="225134" y="220386"/>
                    </a:moveTo>
                    <a:lnTo>
                      <a:pt x="329" y="90430"/>
                    </a:lnTo>
                    <a:lnTo>
                      <a:pt x="329" y="142162"/>
                    </a:lnTo>
                    <a:lnTo>
                      <a:pt x="225134" y="272118"/>
                    </a:lnTo>
                    <a:lnTo>
                      <a:pt x="225134" y="220386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9" name="Freihandform: Form 988">
                <a:extLst>
                  <a:ext uri="{FF2B5EF4-FFF2-40B4-BE49-F238E27FC236}">
                    <a16:creationId xmlns:a16="http://schemas.microsoft.com/office/drawing/2014/main" id="{C382BB6E-AC7B-6314-4C48-FAE554F7883B}"/>
                  </a:ext>
                </a:extLst>
              </p:cNvPr>
              <p:cNvSpPr/>
              <p:nvPr/>
            </p:nvSpPr>
            <p:spPr>
              <a:xfrm flipH="1">
                <a:off x="6834007" y="2582068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solidFill>
                <a:srgbClr val="66667E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0" name="Freihandform: Form 989">
                <a:extLst>
                  <a:ext uri="{FF2B5EF4-FFF2-40B4-BE49-F238E27FC236}">
                    <a16:creationId xmlns:a16="http://schemas.microsoft.com/office/drawing/2014/main" id="{2EF1C929-49B8-C45B-A6BE-0DB679A2209C}"/>
                  </a:ext>
                </a:extLst>
              </p:cNvPr>
              <p:cNvSpPr/>
              <p:nvPr/>
            </p:nvSpPr>
            <p:spPr>
              <a:xfrm flipH="1">
                <a:off x="6834007" y="2903647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solidFill>
                <a:srgbClr val="66667E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3" name="Freihandform: Form 992">
                <a:extLst>
                  <a:ext uri="{FF2B5EF4-FFF2-40B4-BE49-F238E27FC236}">
                    <a16:creationId xmlns:a16="http://schemas.microsoft.com/office/drawing/2014/main" id="{3FDE34E2-1D8D-90FE-BB42-9A0800CBA569}"/>
                  </a:ext>
                </a:extLst>
              </p:cNvPr>
              <p:cNvSpPr/>
              <p:nvPr/>
            </p:nvSpPr>
            <p:spPr>
              <a:xfrm>
                <a:off x="6877022" y="2713940"/>
                <a:ext cx="150048" cy="240077"/>
              </a:xfrm>
              <a:custGeom>
                <a:avLst/>
                <a:gdLst>
                  <a:gd name="connsiteX0" fmla="*/ 68563 w 171406"/>
                  <a:gd name="connsiteY0" fmla="*/ 274251 h 274250"/>
                  <a:gd name="connsiteX1" fmla="*/ 68563 w 171406"/>
                  <a:gd name="connsiteY1" fmla="*/ 154266 h 274250"/>
                  <a:gd name="connsiteX2" fmla="*/ 0 w 171406"/>
                  <a:gd name="connsiteY2" fmla="*/ 154266 h 274250"/>
                  <a:gd name="connsiteX3" fmla="*/ 102844 w 171406"/>
                  <a:gd name="connsiteY3" fmla="*/ 0 h 274250"/>
                  <a:gd name="connsiteX4" fmla="*/ 102844 w 171406"/>
                  <a:gd name="connsiteY4" fmla="*/ 119985 h 274250"/>
                  <a:gd name="connsiteX5" fmla="*/ 171407 w 171406"/>
                  <a:gd name="connsiteY5" fmla="*/ 119985 h 274250"/>
                  <a:gd name="connsiteX6" fmla="*/ 68563 w 171406"/>
                  <a:gd name="connsiteY6" fmla="*/ 274251 h 274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406" h="274250">
                    <a:moveTo>
                      <a:pt x="68563" y="274251"/>
                    </a:moveTo>
                    <a:lnTo>
                      <a:pt x="68563" y="154266"/>
                    </a:lnTo>
                    <a:lnTo>
                      <a:pt x="0" y="154266"/>
                    </a:lnTo>
                    <a:lnTo>
                      <a:pt x="102844" y="0"/>
                    </a:lnTo>
                    <a:lnTo>
                      <a:pt x="102844" y="119985"/>
                    </a:lnTo>
                    <a:lnTo>
                      <a:pt x="171407" y="119985"/>
                    </a:lnTo>
                    <a:lnTo>
                      <a:pt x="68563" y="274251"/>
                    </a:lnTo>
                    <a:close/>
                  </a:path>
                </a:pathLst>
              </a:custGeom>
              <a:solidFill>
                <a:schemeClr val="tx1"/>
              </a:solidFill>
              <a:ln w="6794" cap="flat">
                <a:noFill/>
                <a:prstDash val="solid"/>
                <a:miter/>
              </a:ln>
              <a:scene3d>
                <a:camera prst="isometricRightUp"/>
                <a:lightRig rig="threePt" dir="t"/>
              </a:scene3d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844" name="Grafik 843">
              <a:extLst>
                <a:ext uri="{FF2B5EF4-FFF2-40B4-BE49-F238E27FC236}">
                  <a16:creationId xmlns:a16="http://schemas.microsoft.com/office/drawing/2014/main" id="{849339BB-ACB8-7DBF-A908-15A3D0E9A1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flipH="1">
              <a:off x="9847640" y="4121797"/>
              <a:ext cx="200432" cy="182771"/>
            </a:xfrm>
            <a:prstGeom prst="rect">
              <a:avLst/>
            </a:prstGeom>
          </p:spPr>
        </p:pic>
        <p:grpSp>
          <p:nvGrpSpPr>
            <p:cNvPr id="995" name="Gruppieren 994">
              <a:extLst>
                <a:ext uri="{FF2B5EF4-FFF2-40B4-BE49-F238E27FC236}">
                  <a16:creationId xmlns:a16="http://schemas.microsoft.com/office/drawing/2014/main" id="{0DA98D92-4BBD-15A1-1F22-A98014FBFCF4}"/>
                </a:ext>
              </a:extLst>
            </p:cNvPr>
            <p:cNvGrpSpPr/>
            <p:nvPr/>
          </p:nvGrpSpPr>
          <p:grpSpPr>
            <a:xfrm>
              <a:off x="10022541" y="4173925"/>
              <a:ext cx="88990" cy="206203"/>
              <a:chOff x="6610022" y="2456890"/>
              <a:chExt cx="450530" cy="1043958"/>
            </a:xfrm>
          </p:grpSpPr>
          <p:sp>
            <p:nvSpPr>
              <p:cNvPr id="996" name="Freihandform: Form 995">
                <a:extLst>
                  <a:ext uri="{FF2B5EF4-FFF2-40B4-BE49-F238E27FC236}">
                    <a16:creationId xmlns:a16="http://schemas.microsoft.com/office/drawing/2014/main" id="{2DCD9A12-2604-44B7-FB85-008CBB3A5083}"/>
                  </a:ext>
                </a:extLst>
              </p:cNvPr>
              <p:cNvSpPr/>
              <p:nvPr/>
            </p:nvSpPr>
            <p:spPr>
              <a:xfrm>
                <a:off x="6610022" y="2853639"/>
                <a:ext cx="224805" cy="647209"/>
              </a:xfrm>
              <a:custGeom>
                <a:avLst/>
                <a:gdLst>
                  <a:gd name="connsiteX0" fmla="*/ 225134 w 224805"/>
                  <a:gd name="connsiteY0" fmla="*/ 647068 h 647209"/>
                  <a:gd name="connsiteX1" fmla="*/ 329 w 224805"/>
                  <a:gd name="connsiteY1" fmla="*/ 517112 h 647209"/>
                  <a:gd name="connsiteX2" fmla="*/ 329 w 224805"/>
                  <a:gd name="connsiteY2" fmla="*/ -142 h 647209"/>
                  <a:gd name="connsiteX3" fmla="*/ 225134 w 224805"/>
                  <a:gd name="connsiteY3" fmla="*/ 129798 h 647209"/>
                  <a:gd name="connsiteX4" fmla="*/ 225134 w 224805"/>
                  <a:gd name="connsiteY4" fmla="*/ 647068 h 647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647209">
                    <a:moveTo>
                      <a:pt x="225134" y="647068"/>
                    </a:moveTo>
                    <a:lnTo>
                      <a:pt x="329" y="517112"/>
                    </a:lnTo>
                    <a:lnTo>
                      <a:pt x="329" y="-142"/>
                    </a:lnTo>
                    <a:lnTo>
                      <a:pt x="225134" y="129798"/>
                    </a:lnTo>
                    <a:lnTo>
                      <a:pt x="225134" y="647068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7" name="Freihandform: Form 996">
                <a:extLst>
                  <a:ext uri="{FF2B5EF4-FFF2-40B4-BE49-F238E27FC236}">
                    <a16:creationId xmlns:a16="http://schemas.microsoft.com/office/drawing/2014/main" id="{3637B469-243B-E1D6-5D9B-6F0068AB6473}"/>
                  </a:ext>
                </a:extLst>
              </p:cNvPr>
              <p:cNvSpPr/>
              <p:nvPr/>
            </p:nvSpPr>
            <p:spPr>
              <a:xfrm>
                <a:off x="6610022" y="2786073"/>
                <a:ext cx="224805" cy="543746"/>
              </a:xfrm>
              <a:custGeom>
                <a:avLst/>
                <a:gdLst>
                  <a:gd name="connsiteX0" fmla="*/ 225134 w 224805"/>
                  <a:gd name="connsiteY0" fmla="*/ 543604 h 543746"/>
                  <a:gd name="connsiteX1" fmla="*/ 329 w 224805"/>
                  <a:gd name="connsiteY1" fmla="*/ 413648 h 543746"/>
                  <a:gd name="connsiteX2" fmla="*/ 329 w 224805"/>
                  <a:gd name="connsiteY2" fmla="*/ 361933 h 543746"/>
                  <a:gd name="connsiteX3" fmla="*/ 225134 w 224805"/>
                  <a:gd name="connsiteY3" fmla="*/ 491889 h 543746"/>
                  <a:gd name="connsiteX4" fmla="*/ 225134 w 224805"/>
                  <a:gd name="connsiteY4" fmla="*/ 543604 h 543746"/>
                  <a:gd name="connsiteX5" fmla="*/ 225134 w 224805"/>
                  <a:gd name="connsiteY5" fmla="*/ 401354 h 543746"/>
                  <a:gd name="connsiteX6" fmla="*/ 329 w 224805"/>
                  <a:gd name="connsiteY6" fmla="*/ 271414 h 543746"/>
                  <a:gd name="connsiteX7" fmla="*/ 329 w 224805"/>
                  <a:gd name="connsiteY7" fmla="*/ 323130 h 543746"/>
                  <a:gd name="connsiteX8" fmla="*/ 225134 w 224805"/>
                  <a:gd name="connsiteY8" fmla="*/ 453086 h 543746"/>
                  <a:gd name="connsiteX9" fmla="*/ 225134 w 224805"/>
                  <a:gd name="connsiteY9" fmla="*/ 401370 h 543746"/>
                  <a:gd name="connsiteX10" fmla="*/ 225134 w 224805"/>
                  <a:gd name="connsiteY10" fmla="*/ 310835 h 543746"/>
                  <a:gd name="connsiteX11" fmla="*/ 329 w 224805"/>
                  <a:gd name="connsiteY11" fmla="*/ 180895 h 543746"/>
                  <a:gd name="connsiteX12" fmla="*/ 329 w 224805"/>
                  <a:gd name="connsiteY12" fmla="*/ 232627 h 543746"/>
                  <a:gd name="connsiteX13" fmla="*/ 225134 w 224805"/>
                  <a:gd name="connsiteY13" fmla="*/ 362583 h 543746"/>
                  <a:gd name="connsiteX14" fmla="*/ 225134 w 224805"/>
                  <a:gd name="connsiteY14" fmla="*/ 310851 h 543746"/>
                  <a:gd name="connsiteX15" fmla="*/ 225134 w 224805"/>
                  <a:gd name="connsiteY15" fmla="*/ 129798 h 543746"/>
                  <a:gd name="connsiteX16" fmla="*/ 329 w 224805"/>
                  <a:gd name="connsiteY16" fmla="*/ -142 h 543746"/>
                  <a:gd name="connsiteX17" fmla="*/ 329 w 224805"/>
                  <a:gd name="connsiteY17" fmla="*/ 51574 h 543746"/>
                  <a:gd name="connsiteX18" fmla="*/ 225134 w 224805"/>
                  <a:gd name="connsiteY18" fmla="*/ 181530 h 543746"/>
                  <a:gd name="connsiteX19" fmla="*/ 225134 w 224805"/>
                  <a:gd name="connsiteY19" fmla="*/ 129814 h 543746"/>
                  <a:gd name="connsiteX20" fmla="*/ 225134 w 224805"/>
                  <a:gd name="connsiteY20" fmla="*/ 220317 h 543746"/>
                  <a:gd name="connsiteX21" fmla="*/ 329 w 224805"/>
                  <a:gd name="connsiteY21" fmla="*/ 90361 h 543746"/>
                  <a:gd name="connsiteX22" fmla="*/ 329 w 224805"/>
                  <a:gd name="connsiteY22" fmla="*/ 142093 h 543746"/>
                  <a:gd name="connsiteX23" fmla="*/ 225134 w 224805"/>
                  <a:gd name="connsiteY23" fmla="*/ 272049 h 543746"/>
                  <a:gd name="connsiteX24" fmla="*/ 225134 w 224805"/>
                  <a:gd name="connsiteY24" fmla="*/ 220317 h 543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46">
                    <a:moveTo>
                      <a:pt x="225134" y="543604"/>
                    </a:moveTo>
                    <a:lnTo>
                      <a:pt x="329" y="413648"/>
                    </a:lnTo>
                    <a:lnTo>
                      <a:pt x="329" y="361933"/>
                    </a:lnTo>
                    <a:lnTo>
                      <a:pt x="225134" y="491889"/>
                    </a:lnTo>
                    <a:lnTo>
                      <a:pt x="225134" y="543604"/>
                    </a:lnTo>
                    <a:close/>
                    <a:moveTo>
                      <a:pt x="225134" y="401354"/>
                    </a:moveTo>
                    <a:lnTo>
                      <a:pt x="329" y="271414"/>
                    </a:lnTo>
                    <a:lnTo>
                      <a:pt x="329" y="323130"/>
                    </a:lnTo>
                    <a:lnTo>
                      <a:pt x="225134" y="453086"/>
                    </a:lnTo>
                    <a:lnTo>
                      <a:pt x="225134" y="401370"/>
                    </a:lnTo>
                    <a:close/>
                    <a:moveTo>
                      <a:pt x="225134" y="310835"/>
                    </a:moveTo>
                    <a:lnTo>
                      <a:pt x="329" y="180895"/>
                    </a:lnTo>
                    <a:lnTo>
                      <a:pt x="329" y="232627"/>
                    </a:lnTo>
                    <a:lnTo>
                      <a:pt x="225134" y="362583"/>
                    </a:lnTo>
                    <a:lnTo>
                      <a:pt x="225134" y="310851"/>
                    </a:lnTo>
                    <a:close/>
                    <a:moveTo>
                      <a:pt x="225134" y="129798"/>
                    </a:moveTo>
                    <a:lnTo>
                      <a:pt x="329" y="-142"/>
                    </a:lnTo>
                    <a:lnTo>
                      <a:pt x="329" y="51574"/>
                    </a:lnTo>
                    <a:lnTo>
                      <a:pt x="225134" y="181530"/>
                    </a:lnTo>
                    <a:lnTo>
                      <a:pt x="225134" y="129814"/>
                    </a:lnTo>
                    <a:close/>
                    <a:moveTo>
                      <a:pt x="225134" y="220317"/>
                    </a:moveTo>
                    <a:lnTo>
                      <a:pt x="329" y="90361"/>
                    </a:lnTo>
                    <a:lnTo>
                      <a:pt x="329" y="142093"/>
                    </a:lnTo>
                    <a:lnTo>
                      <a:pt x="225134" y="272049"/>
                    </a:lnTo>
                    <a:lnTo>
                      <a:pt x="225134" y="220317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8" name="Freihandform: Form 997">
                <a:extLst>
                  <a:ext uri="{FF2B5EF4-FFF2-40B4-BE49-F238E27FC236}">
                    <a16:creationId xmlns:a16="http://schemas.microsoft.com/office/drawing/2014/main" id="{D27F7B43-FD90-16F6-055C-2D56C4F7C4E7}"/>
                  </a:ext>
                </a:extLst>
              </p:cNvPr>
              <p:cNvSpPr/>
              <p:nvPr/>
            </p:nvSpPr>
            <p:spPr>
              <a:xfrm>
                <a:off x="6610022" y="2582068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9" name="Freihandform: Form 998">
                <a:extLst>
                  <a:ext uri="{FF2B5EF4-FFF2-40B4-BE49-F238E27FC236}">
                    <a16:creationId xmlns:a16="http://schemas.microsoft.com/office/drawing/2014/main" id="{CD7F8085-6EA8-E1C7-6D1D-03D89E2C533C}"/>
                  </a:ext>
                </a:extLst>
              </p:cNvPr>
              <p:cNvSpPr/>
              <p:nvPr/>
            </p:nvSpPr>
            <p:spPr>
              <a:xfrm>
                <a:off x="6610022" y="2456890"/>
                <a:ext cx="450530" cy="259895"/>
              </a:xfrm>
              <a:custGeom>
                <a:avLst/>
                <a:gdLst>
                  <a:gd name="connsiteX0" fmla="*/ 225112 w 450530"/>
                  <a:gd name="connsiteY0" fmla="*/ 259871 h 259895"/>
                  <a:gd name="connsiteX1" fmla="*/ 307 w 450530"/>
                  <a:gd name="connsiteY1" fmla="*/ 129915 h 259895"/>
                  <a:gd name="connsiteX2" fmla="*/ 225112 w 450530"/>
                  <a:gd name="connsiteY2" fmla="*/ -25 h 259895"/>
                  <a:gd name="connsiteX3" fmla="*/ 450838 w 450530"/>
                  <a:gd name="connsiteY3" fmla="*/ 129930 h 259895"/>
                  <a:gd name="connsiteX4" fmla="*/ 225112 w 450530"/>
                  <a:gd name="connsiteY4" fmla="*/ 259871 h 25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530" h="259895">
                    <a:moveTo>
                      <a:pt x="225112" y="259871"/>
                    </a:moveTo>
                    <a:lnTo>
                      <a:pt x="307" y="129915"/>
                    </a:lnTo>
                    <a:lnTo>
                      <a:pt x="225112" y="-25"/>
                    </a:lnTo>
                    <a:lnTo>
                      <a:pt x="450838" y="129930"/>
                    </a:lnTo>
                    <a:lnTo>
                      <a:pt x="225112" y="259871"/>
                    </a:lnTo>
                    <a:close/>
                  </a:path>
                </a:pathLst>
              </a:custGeom>
              <a:solidFill>
                <a:srgbClr val="9999A9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0" name="Freihandform: Form 999">
                <a:extLst>
                  <a:ext uri="{FF2B5EF4-FFF2-40B4-BE49-F238E27FC236}">
                    <a16:creationId xmlns:a16="http://schemas.microsoft.com/office/drawing/2014/main" id="{8C54FAF1-CE3D-A042-846F-A49F869016A7}"/>
                  </a:ext>
                </a:extLst>
              </p:cNvPr>
              <p:cNvSpPr/>
              <p:nvPr/>
            </p:nvSpPr>
            <p:spPr>
              <a:xfrm>
                <a:off x="6610022" y="2640942"/>
                <a:ext cx="224805" cy="543761"/>
              </a:xfrm>
              <a:custGeom>
                <a:avLst/>
                <a:gdLst>
                  <a:gd name="connsiteX0" fmla="*/ 225134 w 224805"/>
                  <a:gd name="connsiteY0" fmla="*/ 543673 h 543761"/>
                  <a:gd name="connsiteX1" fmla="*/ 329 w 224805"/>
                  <a:gd name="connsiteY1" fmla="*/ 413717 h 543761"/>
                  <a:gd name="connsiteX2" fmla="*/ 329 w 224805"/>
                  <a:gd name="connsiteY2" fmla="*/ 362002 h 543761"/>
                  <a:gd name="connsiteX3" fmla="*/ 225134 w 224805"/>
                  <a:gd name="connsiteY3" fmla="*/ 491957 h 543761"/>
                  <a:gd name="connsiteX4" fmla="*/ 225134 w 224805"/>
                  <a:gd name="connsiteY4" fmla="*/ 543673 h 543761"/>
                  <a:gd name="connsiteX5" fmla="*/ 225134 w 224805"/>
                  <a:gd name="connsiteY5" fmla="*/ 401423 h 543761"/>
                  <a:gd name="connsiteX6" fmla="*/ 329 w 224805"/>
                  <a:gd name="connsiteY6" fmla="*/ 271483 h 543761"/>
                  <a:gd name="connsiteX7" fmla="*/ 329 w 224805"/>
                  <a:gd name="connsiteY7" fmla="*/ 323199 h 543761"/>
                  <a:gd name="connsiteX8" fmla="*/ 225134 w 224805"/>
                  <a:gd name="connsiteY8" fmla="*/ 453155 h 543761"/>
                  <a:gd name="connsiteX9" fmla="*/ 225134 w 224805"/>
                  <a:gd name="connsiteY9" fmla="*/ 401439 h 543761"/>
                  <a:gd name="connsiteX10" fmla="*/ 225134 w 224805"/>
                  <a:gd name="connsiteY10" fmla="*/ 310904 h 543761"/>
                  <a:gd name="connsiteX11" fmla="*/ 329 w 224805"/>
                  <a:gd name="connsiteY11" fmla="*/ 180949 h 543761"/>
                  <a:gd name="connsiteX12" fmla="*/ 329 w 224805"/>
                  <a:gd name="connsiteY12" fmla="*/ 232680 h 543761"/>
                  <a:gd name="connsiteX13" fmla="*/ 225134 w 224805"/>
                  <a:gd name="connsiteY13" fmla="*/ 362636 h 543761"/>
                  <a:gd name="connsiteX14" fmla="*/ 225134 w 224805"/>
                  <a:gd name="connsiteY14" fmla="*/ 310904 h 543761"/>
                  <a:gd name="connsiteX15" fmla="*/ 225134 w 224805"/>
                  <a:gd name="connsiteY15" fmla="*/ 129867 h 543761"/>
                  <a:gd name="connsiteX16" fmla="*/ 329 w 224805"/>
                  <a:gd name="connsiteY16" fmla="*/ -89 h 543761"/>
                  <a:gd name="connsiteX17" fmla="*/ 329 w 224805"/>
                  <a:gd name="connsiteY17" fmla="*/ 51627 h 543761"/>
                  <a:gd name="connsiteX18" fmla="*/ 225134 w 224805"/>
                  <a:gd name="connsiteY18" fmla="*/ 181583 h 543761"/>
                  <a:gd name="connsiteX19" fmla="*/ 225134 w 224805"/>
                  <a:gd name="connsiteY19" fmla="*/ 129867 h 543761"/>
                  <a:gd name="connsiteX20" fmla="*/ 225134 w 224805"/>
                  <a:gd name="connsiteY20" fmla="*/ 220386 h 543761"/>
                  <a:gd name="connsiteX21" fmla="*/ 329 w 224805"/>
                  <a:gd name="connsiteY21" fmla="*/ 90430 h 543761"/>
                  <a:gd name="connsiteX22" fmla="*/ 329 w 224805"/>
                  <a:gd name="connsiteY22" fmla="*/ 142162 h 543761"/>
                  <a:gd name="connsiteX23" fmla="*/ 225134 w 224805"/>
                  <a:gd name="connsiteY23" fmla="*/ 272118 h 543761"/>
                  <a:gd name="connsiteX24" fmla="*/ 225134 w 224805"/>
                  <a:gd name="connsiteY24" fmla="*/ 220386 h 54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4805" h="543761">
                    <a:moveTo>
                      <a:pt x="225134" y="543673"/>
                    </a:moveTo>
                    <a:lnTo>
                      <a:pt x="329" y="413717"/>
                    </a:lnTo>
                    <a:lnTo>
                      <a:pt x="329" y="362002"/>
                    </a:lnTo>
                    <a:lnTo>
                      <a:pt x="225134" y="491957"/>
                    </a:lnTo>
                    <a:lnTo>
                      <a:pt x="225134" y="543673"/>
                    </a:lnTo>
                    <a:close/>
                    <a:moveTo>
                      <a:pt x="225134" y="401423"/>
                    </a:moveTo>
                    <a:lnTo>
                      <a:pt x="329" y="271483"/>
                    </a:lnTo>
                    <a:lnTo>
                      <a:pt x="329" y="323199"/>
                    </a:lnTo>
                    <a:lnTo>
                      <a:pt x="225134" y="453155"/>
                    </a:lnTo>
                    <a:lnTo>
                      <a:pt x="225134" y="401439"/>
                    </a:lnTo>
                    <a:close/>
                    <a:moveTo>
                      <a:pt x="225134" y="310904"/>
                    </a:moveTo>
                    <a:lnTo>
                      <a:pt x="329" y="180949"/>
                    </a:lnTo>
                    <a:lnTo>
                      <a:pt x="329" y="232680"/>
                    </a:lnTo>
                    <a:lnTo>
                      <a:pt x="225134" y="362636"/>
                    </a:lnTo>
                    <a:lnTo>
                      <a:pt x="225134" y="310904"/>
                    </a:lnTo>
                    <a:close/>
                    <a:moveTo>
                      <a:pt x="225134" y="129867"/>
                    </a:moveTo>
                    <a:lnTo>
                      <a:pt x="329" y="-89"/>
                    </a:lnTo>
                    <a:lnTo>
                      <a:pt x="329" y="51627"/>
                    </a:lnTo>
                    <a:lnTo>
                      <a:pt x="225134" y="181583"/>
                    </a:lnTo>
                    <a:lnTo>
                      <a:pt x="225134" y="129867"/>
                    </a:lnTo>
                    <a:close/>
                    <a:moveTo>
                      <a:pt x="225134" y="220386"/>
                    </a:moveTo>
                    <a:lnTo>
                      <a:pt x="329" y="90430"/>
                    </a:lnTo>
                    <a:lnTo>
                      <a:pt x="329" y="142162"/>
                    </a:lnTo>
                    <a:lnTo>
                      <a:pt x="225134" y="272118"/>
                    </a:lnTo>
                    <a:lnTo>
                      <a:pt x="225134" y="220386"/>
                    </a:lnTo>
                    <a:close/>
                  </a:path>
                </a:pathLst>
              </a:custGeom>
              <a:solidFill>
                <a:srgbClr val="333353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1" name="Freihandform: Form 1000">
                <a:extLst>
                  <a:ext uri="{FF2B5EF4-FFF2-40B4-BE49-F238E27FC236}">
                    <a16:creationId xmlns:a16="http://schemas.microsoft.com/office/drawing/2014/main" id="{68ADE852-4763-86DF-D0FC-884D25EA979F}"/>
                  </a:ext>
                </a:extLst>
              </p:cNvPr>
              <p:cNvSpPr/>
              <p:nvPr/>
            </p:nvSpPr>
            <p:spPr>
              <a:xfrm flipH="1">
                <a:off x="6834007" y="2582068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solidFill>
                <a:srgbClr val="66667E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2" name="Freihandform: Form 1001">
                <a:extLst>
                  <a:ext uri="{FF2B5EF4-FFF2-40B4-BE49-F238E27FC236}">
                    <a16:creationId xmlns:a16="http://schemas.microsoft.com/office/drawing/2014/main" id="{56AECC6B-A39A-EAE2-7FE6-5D379790720E}"/>
                  </a:ext>
                </a:extLst>
              </p:cNvPr>
              <p:cNvSpPr/>
              <p:nvPr/>
            </p:nvSpPr>
            <p:spPr>
              <a:xfrm flipH="1">
                <a:off x="6834007" y="2903647"/>
                <a:ext cx="224805" cy="595493"/>
              </a:xfrm>
              <a:custGeom>
                <a:avLst/>
                <a:gdLst>
                  <a:gd name="connsiteX0" fmla="*/ 225134 w 224805"/>
                  <a:gd name="connsiteY0" fmla="*/ 595410 h 595493"/>
                  <a:gd name="connsiteX1" fmla="*/ 329 w 224805"/>
                  <a:gd name="connsiteY1" fmla="*/ 465454 h 595493"/>
                  <a:gd name="connsiteX2" fmla="*/ 329 w 224805"/>
                  <a:gd name="connsiteY2" fmla="*/ -84 h 595493"/>
                  <a:gd name="connsiteX3" fmla="*/ 225134 w 224805"/>
                  <a:gd name="connsiteY3" fmla="*/ 129872 h 595493"/>
                  <a:gd name="connsiteX4" fmla="*/ 225134 w 224805"/>
                  <a:gd name="connsiteY4" fmla="*/ 595410 h 59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805" h="595493">
                    <a:moveTo>
                      <a:pt x="225134" y="595410"/>
                    </a:moveTo>
                    <a:lnTo>
                      <a:pt x="329" y="465454"/>
                    </a:lnTo>
                    <a:lnTo>
                      <a:pt x="329" y="-84"/>
                    </a:lnTo>
                    <a:lnTo>
                      <a:pt x="225134" y="129872"/>
                    </a:lnTo>
                    <a:lnTo>
                      <a:pt x="225134" y="595410"/>
                    </a:lnTo>
                    <a:close/>
                  </a:path>
                </a:pathLst>
              </a:custGeom>
              <a:solidFill>
                <a:srgbClr val="66667E"/>
              </a:solidFill>
              <a:ln w="1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3" name="Freihandform: Form 1002">
                <a:extLst>
                  <a:ext uri="{FF2B5EF4-FFF2-40B4-BE49-F238E27FC236}">
                    <a16:creationId xmlns:a16="http://schemas.microsoft.com/office/drawing/2014/main" id="{70AEC4D5-1EDE-681D-89C0-CD1CBBA2AF5A}"/>
                  </a:ext>
                </a:extLst>
              </p:cNvPr>
              <p:cNvSpPr/>
              <p:nvPr/>
            </p:nvSpPr>
            <p:spPr>
              <a:xfrm>
                <a:off x="6877022" y="2713940"/>
                <a:ext cx="150048" cy="240077"/>
              </a:xfrm>
              <a:custGeom>
                <a:avLst/>
                <a:gdLst>
                  <a:gd name="connsiteX0" fmla="*/ 68563 w 171406"/>
                  <a:gd name="connsiteY0" fmla="*/ 274251 h 274250"/>
                  <a:gd name="connsiteX1" fmla="*/ 68563 w 171406"/>
                  <a:gd name="connsiteY1" fmla="*/ 154266 h 274250"/>
                  <a:gd name="connsiteX2" fmla="*/ 0 w 171406"/>
                  <a:gd name="connsiteY2" fmla="*/ 154266 h 274250"/>
                  <a:gd name="connsiteX3" fmla="*/ 102844 w 171406"/>
                  <a:gd name="connsiteY3" fmla="*/ 0 h 274250"/>
                  <a:gd name="connsiteX4" fmla="*/ 102844 w 171406"/>
                  <a:gd name="connsiteY4" fmla="*/ 119985 h 274250"/>
                  <a:gd name="connsiteX5" fmla="*/ 171407 w 171406"/>
                  <a:gd name="connsiteY5" fmla="*/ 119985 h 274250"/>
                  <a:gd name="connsiteX6" fmla="*/ 68563 w 171406"/>
                  <a:gd name="connsiteY6" fmla="*/ 274251 h 274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406" h="274250">
                    <a:moveTo>
                      <a:pt x="68563" y="274251"/>
                    </a:moveTo>
                    <a:lnTo>
                      <a:pt x="68563" y="154266"/>
                    </a:lnTo>
                    <a:lnTo>
                      <a:pt x="0" y="154266"/>
                    </a:lnTo>
                    <a:lnTo>
                      <a:pt x="102844" y="0"/>
                    </a:lnTo>
                    <a:lnTo>
                      <a:pt x="102844" y="119985"/>
                    </a:lnTo>
                    <a:lnTo>
                      <a:pt x="171407" y="119985"/>
                    </a:lnTo>
                    <a:lnTo>
                      <a:pt x="68563" y="274251"/>
                    </a:lnTo>
                    <a:close/>
                  </a:path>
                </a:pathLst>
              </a:custGeom>
              <a:solidFill>
                <a:schemeClr val="tx1"/>
              </a:solidFill>
              <a:ln w="6794" cap="flat">
                <a:noFill/>
                <a:prstDash val="solid"/>
                <a:miter/>
              </a:ln>
              <a:scene3d>
                <a:camera prst="isometricRightUp"/>
                <a:lightRig rig="threePt" dir="t"/>
              </a:scene3d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9999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1004" name="Grafik 1003">
              <a:extLst>
                <a:ext uri="{FF2B5EF4-FFF2-40B4-BE49-F238E27FC236}">
                  <a16:creationId xmlns:a16="http://schemas.microsoft.com/office/drawing/2014/main" id="{C45AEF67-3453-5208-C89C-664B2166B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flipH="1">
              <a:off x="10085677" y="4258645"/>
              <a:ext cx="200432" cy="182771"/>
            </a:xfrm>
            <a:prstGeom prst="rect">
              <a:avLst/>
            </a:prstGeom>
          </p:spPr>
        </p:pic>
      </p:grp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C960EFB5-8A33-3965-5B26-9DEDB52B72D1}"/>
              </a:ext>
            </a:extLst>
          </p:cNvPr>
          <p:cNvGrpSpPr/>
          <p:nvPr/>
        </p:nvGrpSpPr>
        <p:grpSpPr>
          <a:xfrm>
            <a:off x="10353354" y="3644576"/>
            <a:ext cx="285681" cy="164963"/>
            <a:chOff x="5176806" y="5541878"/>
            <a:chExt cx="908314" cy="524496"/>
          </a:xfrm>
          <a:solidFill>
            <a:schemeClr val="accent1"/>
          </a:solidFill>
        </p:grpSpPr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78A35D51-41C7-6D3E-6272-8DD7F262C879}"/>
                </a:ext>
              </a:extLst>
            </p:cNvPr>
            <p:cNvSpPr/>
            <p:nvPr/>
          </p:nvSpPr>
          <p:spPr>
            <a:xfrm>
              <a:off x="5424302" y="5685047"/>
              <a:ext cx="165142" cy="95362"/>
            </a:xfrm>
            <a:custGeom>
              <a:avLst/>
              <a:gdLst>
                <a:gd name="connsiteX0" fmla="*/ 165143 w 165142"/>
                <a:gd name="connsiteY0" fmla="*/ 47681 h 95362"/>
                <a:gd name="connsiteX1" fmla="*/ 82602 w 165142"/>
                <a:gd name="connsiteY1" fmla="*/ 95363 h 95362"/>
                <a:gd name="connsiteX2" fmla="*/ 0 w 165142"/>
                <a:gd name="connsiteY2" fmla="*/ 47681 h 95362"/>
                <a:gd name="connsiteX3" fmla="*/ 82602 w 165142"/>
                <a:gd name="connsiteY3" fmla="*/ 0 h 95362"/>
                <a:gd name="connsiteX4" fmla="*/ 165143 w 165142"/>
                <a:gd name="connsiteY4" fmla="*/ 47681 h 9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42" h="95362">
                  <a:moveTo>
                    <a:pt x="165143" y="47681"/>
                  </a:moveTo>
                  <a:lnTo>
                    <a:pt x="82602" y="95363"/>
                  </a:lnTo>
                  <a:lnTo>
                    <a:pt x="0" y="47681"/>
                  </a:lnTo>
                  <a:lnTo>
                    <a:pt x="82602" y="0"/>
                  </a:lnTo>
                  <a:lnTo>
                    <a:pt x="165143" y="47681"/>
                  </a:lnTo>
                  <a:close/>
                </a:path>
              </a:pathLst>
            </a:custGeom>
            <a:grpFill/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9FE615F7-1DCC-E7D8-FA80-4A1CDA85F2D8}"/>
                </a:ext>
              </a:extLst>
            </p:cNvPr>
            <p:cNvSpPr/>
            <p:nvPr/>
          </p:nvSpPr>
          <p:spPr>
            <a:xfrm>
              <a:off x="5919978" y="5971012"/>
              <a:ext cx="165142" cy="95362"/>
            </a:xfrm>
            <a:custGeom>
              <a:avLst/>
              <a:gdLst>
                <a:gd name="connsiteX0" fmla="*/ 82540 w 165142"/>
                <a:gd name="connsiteY0" fmla="*/ 0 h 95362"/>
                <a:gd name="connsiteX1" fmla="*/ 165142 w 165142"/>
                <a:gd name="connsiteY1" fmla="*/ 47681 h 95362"/>
                <a:gd name="connsiteX2" fmla="*/ 82540 w 165142"/>
                <a:gd name="connsiteY2" fmla="*/ 95363 h 95362"/>
                <a:gd name="connsiteX3" fmla="*/ 0 w 165142"/>
                <a:gd name="connsiteY3" fmla="*/ 47681 h 95362"/>
                <a:gd name="connsiteX4" fmla="*/ 82540 w 165142"/>
                <a:gd name="connsiteY4" fmla="*/ 0 h 9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42" h="95362">
                  <a:moveTo>
                    <a:pt x="82540" y="0"/>
                  </a:moveTo>
                  <a:lnTo>
                    <a:pt x="165142" y="47681"/>
                  </a:lnTo>
                  <a:lnTo>
                    <a:pt x="82540" y="95363"/>
                  </a:lnTo>
                  <a:lnTo>
                    <a:pt x="0" y="47681"/>
                  </a:lnTo>
                  <a:lnTo>
                    <a:pt x="82540" y="0"/>
                  </a:lnTo>
                  <a:close/>
                </a:path>
              </a:pathLst>
            </a:custGeom>
            <a:grpFill/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D77E0B8B-3154-EA77-3619-F7EF832CDED5}"/>
                </a:ext>
              </a:extLst>
            </p:cNvPr>
            <p:cNvSpPr/>
            <p:nvPr/>
          </p:nvSpPr>
          <p:spPr>
            <a:xfrm>
              <a:off x="5672295" y="5827967"/>
              <a:ext cx="165142" cy="95363"/>
            </a:xfrm>
            <a:custGeom>
              <a:avLst/>
              <a:gdLst>
                <a:gd name="connsiteX0" fmla="*/ 165143 w 165142"/>
                <a:gd name="connsiteY0" fmla="*/ 47682 h 95363"/>
                <a:gd name="connsiteX1" fmla="*/ 82540 w 165142"/>
                <a:gd name="connsiteY1" fmla="*/ 95363 h 95363"/>
                <a:gd name="connsiteX2" fmla="*/ 0 w 165142"/>
                <a:gd name="connsiteY2" fmla="*/ 47682 h 95363"/>
                <a:gd name="connsiteX3" fmla="*/ 82540 w 165142"/>
                <a:gd name="connsiteY3" fmla="*/ 0 h 95363"/>
                <a:gd name="connsiteX4" fmla="*/ 165143 w 165142"/>
                <a:gd name="connsiteY4" fmla="*/ 47682 h 9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42" h="95363">
                  <a:moveTo>
                    <a:pt x="165143" y="47682"/>
                  </a:moveTo>
                  <a:lnTo>
                    <a:pt x="82540" y="95363"/>
                  </a:lnTo>
                  <a:lnTo>
                    <a:pt x="0" y="47682"/>
                  </a:lnTo>
                  <a:lnTo>
                    <a:pt x="82540" y="0"/>
                  </a:lnTo>
                  <a:lnTo>
                    <a:pt x="165143" y="47682"/>
                  </a:lnTo>
                  <a:close/>
                </a:path>
              </a:pathLst>
            </a:custGeom>
            <a:grpFill/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A0AF3A96-4F2A-3BF3-2E8F-859D725854E6}"/>
                </a:ext>
              </a:extLst>
            </p:cNvPr>
            <p:cNvSpPr/>
            <p:nvPr/>
          </p:nvSpPr>
          <p:spPr>
            <a:xfrm>
              <a:off x="5672295" y="5541878"/>
              <a:ext cx="165142" cy="95362"/>
            </a:xfrm>
            <a:custGeom>
              <a:avLst/>
              <a:gdLst>
                <a:gd name="connsiteX0" fmla="*/ 165143 w 165142"/>
                <a:gd name="connsiteY0" fmla="*/ 47681 h 95362"/>
                <a:gd name="connsiteX1" fmla="*/ 82540 w 165142"/>
                <a:gd name="connsiteY1" fmla="*/ 95363 h 95362"/>
                <a:gd name="connsiteX2" fmla="*/ 0 w 165142"/>
                <a:gd name="connsiteY2" fmla="*/ 47681 h 95362"/>
                <a:gd name="connsiteX3" fmla="*/ 82540 w 165142"/>
                <a:gd name="connsiteY3" fmla="*/ 0 h 95362"/>
                <a:gd name="connsiteX4" fmla="*/ 165143 w 165142"/>
                <a:gd name="connsiteY4" fmla="*/ 47681 h 9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42" h="95362">
                  <a:moveTo>
                    <a:pt x="165143" y="47681"/>
                  </a:moveTo>
                  <a:lnTo>
                    <a:pt x="82540" y="95363"/>
                  </a:lnTo>
                  <a:lnTo>
                    <a:pt x="0" y="47681"/>
                  </a:lnTo>
                  <a:lnTo>
                    <a:pt x="82540" y="0"/>
                  </a:lnTo>
                  <a:lnTo>
                    <a:pt x="165143" y="47681"/>
                  </a:lnTo>
                  <a:close/>
                </a:path>
              </a:pathLst>
            </a:custGeom>
            <a:grpFill/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AC220F54-3CA1-86FE-C3BD-B2872FB39128}"/>
                </a:ext>
              </a:extLst>
            </p:cNvPr>
            <p:cNvSpPr/>
            <p:nvPr/>
          </p:nvSpPr>
          <p:spPr>
            <a:xfrm>
              <a:off x="5919978" y="5685047"/>
              <a:ext cx="165142" cy="95362"/>
            </a:xfrm>
            <a:custGeom>
              <a:avLst/>
              <a:gdLst>
                <a:gd name="connsiteX0" fmla="*/ 165142 w 165142"/>
                <a:gd name="connsiteY0" fmla="*/ 47681 h 95362"/>
                <a:gd name="connsiteX1" fmla="*/ 82540 w 165142"/>
                <a:gd name="connsiteY1" fmla="*/ 95363 h 95362"/>
                <a:gd name="connsiteX2" fmla="*/ 0 w 165142"/>
                <a:gd name="connsiteY2" fmla="*/ 47681 h 95362"/>
                <a:gd name="connsiteX3" fmla="*/ 82540 w 165142"/>
                <a:gd name="connsiteY3" fmla="*/ 0 h 95362"/>
                <a:gd name="connsiteX4" fmla="*/ 165142 w 165142"/>
                <a:gd name="connsiteY4" fmla="*/ 47681 h 9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42" h="95362">
                  <a:moveTo>
                    <a:pt x="165142" y="47681"/>
                  </a:moveTo>
                  <a:lnTo>
                    <a:pt x="82540" y="95363"/>
                  </a:lnTo>
                  <a:lnTo>
                    <a:pt x="0" y="47681"/>
                  </a:lnTo>
                  <a:lnTo>
                    <a:pt x="82540" y="0"/>
                  </a:lnTo>
                  <a:lnTo>
                    <a:pt x="165142" y="47681"/>
                  </a:lnTo>
                  <a:close/>
                </a:path>
              </a:pathLst>
            </a:custGeom>
            <a:grpFill/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FE391AC7-6EB9-7A90-3270-225322F3B341}"/>
                </a:ext>
              </a:extLst>
            </p:cNvPr>
            <p:cNvSpPr/>
            <p:nvPr/>
          </p:nvSpPr>
          <p:spPr>
            <a:xfrm>
              <a:off x="5176806" y="5827967"/>
              <a:ext cx="165142" cy="95363"/>
            </a:xfrm>
            <a:custGeom>
              <a:avLst/>
              <a:gdLst>
                <a:gd name="connsiteX0" fmla="*/ 165143 w 165142"/>
                <a:gd name="connsiteY0" fmla="*/ 47682 h 95363"/>
                <a:gd name="connsiteX1" fmla="*/ 82603 w 165142"/>
                <a:gd name="connsiteY1" fmla="*/ 95363 h 95363"/>
                <a:gd name="connsiteX2" fmla="*/ 0 w 165142"/>
                <a:gd name="connsiteY2" fmla="*/ 47682 h 95363"/>
                <a:gd name="connsiteX3" fmla="*/ 82603 w 165142"/>
                <a:gd name="connsiteY3" fmla="*/ 0 h 95363"/>
                <a:gd name="connsiteX4" fmla="*/ 165143 w 165142"/>
                <a:gd name="connsiteY4" fmla="*/ 47682 h 9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42" h="95363">
                  <a:moveTo>
                    <a:pt x="165143" y="47682"/>
                  </a:moveTo>
                  <a:lnTo>
                    <a:pt x="82603" y="95363"/>
                  </a:lnTo>
                  <a:lnTo>
                    <a:pt x="0" y="47682"/>
                  </a:lnTo>
                  <a:lnTo>
                    <a:pt x="82603" y="0"/>
                  </a:lnTo>
                  <a:lnTo>
                    <a:pt x="165143" y="47682"/>
                  </a:lnTo>
                  <a:close/>
                </a:path>
              </a:pathLst>
            </a:custGeom>
            <a:grpFill/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2A99F3D3-3E9E-4FE5-6082-92643ED69DB7}"/>
                </a:ext>
              </a:extLst>
            </p:cNvPr>
            <p:cNvSpPr/>
            <p:nvPr/>
          </p:nvSpPr>
          <p:spPr>
            <a:xfrm>
              <a:off x="5424551" y="5971012"/>
              <a:ext cx="165142" cy="95362"/>
            </a:xfrm>
            <a:custGeom>
              <a:avLst/>
              <a:gdLst>
                <a:gd name="connsiteX0" fmla="*/ 165143 w 165142"/>
                <a:gd name="connsiteY0" fmla="*/ 47681 h 95362"/>
                <a:gd name="connsiteX1" fmla="*/ 82540 w 165142"/>
                <a:gd name="connsiteY1" fmla="*/ 95363 h 95362"/>
                <a:gd name="connsiteX2" fmla="*/ 0 w 165142"/>
                <a:gd name="connsiteY2" fmla="*/ 47681 h 95362"/>
                <a:gd name="connsiteX3" fmla="*/ 82540 w 165142"/>
                <a:gd name="connsiteY3" fmla="*/ 0 h 95362"/>
                <a:gd name="connsiteX4" fmla="*/ 165143 w 165142"/>
                <a:gd name="connsiteY4" fmla="*/ 47681 h 9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42" h="95362">
                  <a:moveTo>
                    <a:pt x="165143" y="47681"/>
                  </a:moveTo>
                  <a:lnTo>
                    <a:pt x="82540" y="95363"/>
                  </a:lnTo>
                  <a:lnTo>
                    <a:pt x="0" y="47681"/>
                  </a:lnTo>
                  <a:lnTo>
                    <a:pt x="82540" y="0"/>
                  </a:lnTo>
                  <a:lnTo>
                    <a:pt x="165143" y="47681"/>
                  </a:lnTo>
                  <a:close/>
                </a:path>
              </a:pathLst>
            </a:custGeom>
            <a:grpFill/>
            <a:ln w="622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538" name="Grafik 4537">
            <a:extLst>
              <a:ext uri="{FF2B5EF4-FFF2-40B4-BE49-F238E27FC236}">
                <a16:creationId xmlns:a16="http://schemas.microsoft.com/office/drawing/2014/main" id="{1A709C8A-42C7-F301-1741-91A4328AE5D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0800000" flipH="1">
            <a:off x="11120140" y="3009285"/>
            <a:ext cx="387045" cy="228581"/>
          </a:xfrm>
          <a:prstGeom prst="rect">
            <a:avLst/>
          </a:prstGeom>
        </p:spPr>
      </p:pic>
      <p:sp>
        <p:nvSpPr>
          <p:cNvPr id="32" name="Textfeld 9">
            <a:extLst>
              <a:ext uri="{FF2B5EF4-FFF2-40B4-BE49-F238E27FC236}">
                <a16:creationId xmlns:a16="http://schemas.microsoft.com/office/drawing/2014/main" id="{D1B228C0-8FF1-0398-E52A-FC23B0ED473A}"/>
              </a:ext>
            </a:extLst>
          </p:cNvPr>
          <p:cNvSpPr txBox="1">
            <a:spLocks/>
          </p:cNvSpPr>
          <p:nvPr/>
        </p:nvSpPr>
        <p:spPr>
          <a:xfrm>
            <a:off x="411162" y="5102110"/>
            <a:ext cx="5310908" cy="957658"/>
          </a:xfrm>
          <a:prstGeom prst="rect">
            <a:avLst/>
          </a:prstGeom>
          <a:noFill/>
          <a:ln w="12700">
            <a:solidFill>
              <a:srgbClr val="333353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D7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Naše technologie urychluje přechod k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chytrým a udržitelným budovám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, a připravujeme tak transformaci směrem k         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human-centric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autonomním budovám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</a:t>
            </a:r>
          </a:p>
        </p:txBody>
      </p:sp>
      <p:sp>
        <p:nvSpPr>
          <p:cNvPr id="33" name="Textfeld 9">
            <a:extLst>
              <a:ext uri="{FF2B5EF4-FFF2-40B4-BE49-F238E27FC236}">
                <a16:creationId xmlns:a16="http://schemas.microsoft.com/office/drawing/2014/main" id="{7A04F6D6-BA40-0CE2-1573-3B2E4AB6BF80}"/>
              </a:ext>
            </a:extLst>
          </p:cNvPr>
          <p:cNvSpPr txBox="1">
            <a:spLocks/>
          </p:cNvSpPr>
          <p:nvPr/>
        </p:nvSpPr>
        <p:spPr>
          <a:xfrm>
            <a:off x="5893594" y="5102110"/>
            <a:ext cx="5893594" cy="957658"/>
          </a:xfrm>
          <a:prstGeom prst="rect">
            <a:avLst/>
          </a:prstGeom>
          <a:noFill/>
          <a:ln w="12700">
            <a:solidFill>
              <a:srgbClr val="333353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D7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Human-centric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autonomní budovy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využívají strojové učení a umělou inteligenci k neustálé analýze a optimalizaci svého provozu, přičemž poskytují ideální vnitřní prostředí pro uživatele. Vlastníkům a provozovatelům zajišťují maximálně efektivní provoz.</a:t>
            </a:r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778B7C7C-3139-3657-76E8-2D07AA0F9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799"/>
            <a:ext cx="9863997" cy="928417"/>
          </a:xfrm>
        </p:spPr>
        <p:txBody>
          <a:bodyPr vert="horz"/>
          <a:lstStyle/>
          <a:p>
            <a:r>
              <a:rPr lang="en-US" dirty="0"/>
              <a:t>Smart Infrastructure I</a:t>
            </a:r>
            <a:r>
              <a:rPr lang="cs-CZ" dirty="0"/>
              <a:t> </a:t>
            </a:r>
            <a:r>
              <a:rPr lang="en-US" dirty="0"/>
              <a:t>Buildings</a:t>
            </a:r>
            <a:br>
              <a:rPr lang="cs-CZ" dirty="0"/>
            </a:br>
            <a:r>
              <a:rPr lang="cs-CZ" sz="1600" dirty="0"/>
              <a:t>Naše vize budoucnosti</a:t>
            </a:r>
            <a:endParaRPr lang="en-US" dirty="0">
              <a:solidFill>
                <a:srgbClr val="00FFB9"/>
              </a:solidFill>
            </a:endParaRP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6357992D-CEC8-270D-A2FA-2F895CB0F0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28" name="Slide Number Placeholder 1">
            <a:extLst>
              <a:ext uri="{FF2B5EF4-FFF2-40B4-BE49-F238E27FC236}">
                <a16:creationId xmlns:a16="http://schemas.microsoft.com/office/drawing/2014/main" id="{623EF870-72CA-AA60-9347-39E8538A3B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7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0802319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117F593-1A43-0390-0F16-54A6D22C2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17F593-1A43-0390-0F16-54A6D22C2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building with trees and a blue background&#10;&#10;Description automatically generated with medium confidence">
            <a:extLst>
              <a:ext uri="{FF2B5EF4-FFF2-40B4-BE49-F238E27FC236}">
                <a16:creationId xmlns:a16="http://schemas.microsoft.com/office/drawing/2014/main" id="{7C75EBC5-34A4-6440-C5E4-33425F96932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8297" y="3021609"/>
            <a:ext cx="2520943" cy="2054391"/>
          </a:xfrm>
          <a:prstGeom prst="rect">
            <a:avLst/>
          </a:prstGeom>
        </p:spPr>
      </p:pic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663F1CA-7426-377A-0678-7AF1FCD0B669}"/>
              </a:ext>
            </a:extLst>
          </p:cNvPr>
          <p:cNvGrpSpPr/>
          <p:nvPr/>
        </p:nvGrpSpPr>
        <p:grpSpPr>
          <a:xfrm>
            <a:off x="2499734" y="2416494"/>
            <a:ext cx="299628" cy="494386"/>
            <a:chOff x="554177" y="4335135"/>
            <a:chExt cx="752941" cy="1242352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58EC940C-5652-0531-E29A-D4CC55A02821}"/>
                </a:ext>
              </a:extLst>
            </p:cNvPr>
            <p:cNvSpPr/>
            <p:nvPr/>
          </p:nvSpPr>
          <p:spPr>
            <a:xfrm>
              <a:off x="554177" y="4419687"/>
              <a:ext cx="752941" cy="66036"/>
            </a:xfrm>
            <a:custGeom>
              <a:avLst/>
              <a:gdLst>
                <a:gd name="connsiteX0" fmla="*/ 0 w 752941"/>
                <a:gd name="connsiteY0" fmla="*/ 0 h 66036"/>
                <a:gd name="connsiteX1" fmla="*/ 752941 w 752941"/>
                <a:gd name="connsiteY1" fmla="*/ 0 h 66036"/>
                <a:gd name="connsiteX2" fmla="*/ 752941 w 752941"/>
                <a:gd name="connsiteY2" fmla="*/ 66036 h 66036"/>
                <a:gd name="connsiteX3" fmla="*/ 0 w 752941"/>
                <a:gd name="connsiteY3" fmla="*/ 66036 h 66036"/>
                <a:gd name="connsiteX4" fmla="*/ 0 w 752941"/>
                <a:gd name="connsiteY4" fmla="*/ 0 h 6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41" h="66036">
                  <a:moveTo>
                    <a:pt x="0" y="0"/>
                  </a:moveTo>
                  <a:lnTo>
                    <a:pt x="752941" y="0"/>
                  </a:lnTo>
                  <a:lnTo>
                    <a:pt x="752941" y="66036"/>
                  </a:lnTo>
                  <a:lnTo>
                    <a:pt x="0" y="660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88F87F98-2EF9-13BB-975D-5658C0D823EF}"/>
                </a:ext>
              </a:extLst>
            </p:cNvPr>
            <p:cNvSpPr/>
            <p:nvPr/>
          </p:nvSpPr>
          <p:spPr>
            <a:xfrm>
              <a:off x="591824" y="4561017"/>
              <a:ext cx="75294" cy="266807"/>
            </a:xfrm>
            <a:custGeom>
              <a:avLst/>
              <a:gdLst>
                <a:gd name="connsiteX0" fmla="*/ 0 w 75294"/>
                <a:gd name="connsiteY0" fmla="*/ 0 h 266807"/>
                <a:gd name="connsiteX1" fmla="*/ 75294 w 75294"/>
                <a:gd name="connsiteY1" fmla="*/ 0 h 266807"/>
                <a:gd name="connsiteX2" fmla="*/ 75294 w 75294"/>
                <a:gd name="connsiteY2" fmla="*/ 266807 h 266807"/>
                <a:gd name="connsiteX3" fmla="*/ 0 w 75294"/>
                <a:gd name="connsiteY3" fmla="*/ 266807 h 266807"/>
                <a:gd name="connsiteX4" fmla="*/ 0 w 75294"/>
                <a:gd name="connsiteY4" fmla="*/ 0 h 26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4" h="266807">
                  <a:moveTo>
                    <a:pt x="0" y="0"/>
                  </a:moveTo>
                  <a:lnTo>
                    <a:pt x="75294" y="0"/>
                  </a:lnTo>
                  <a:lnTo>
                    <a:pt x="75294" y="266807"/>
                  </a:lnTo>
                  <a:lnTo>
                    <a:pt x="0" y="266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86DDAE04-992C-4EC6-E402-E12DCB68BE76}"/>
                </a:ext>
              </a:extLst>
            </p:cNvPr>
            <p:cNvSpPr/>
            <p:nvPr/>
          </p:nvSpPr>
          <p:spPr>
            <a:xfrm>
              <a:off x="1194175" y="4561017"/>
              <a:ext cx="75294" cy="266807"/>
            </a:xfrm>
            <a:custGeom>
              <a:avLst/>
              <a:gdLst>
                <a:gd name="connsiteX0" fmla="*/ 0 w 75294"/>
                <a:gd name="connsiteY0" fmla="*/ 0 h 266807"/>
                <a:gd name="connsiteX1" fmla="*/ 75294 w 75294"/>
                <a:gd name="connsiteY1" fmla="*/ 0 h 266807"/>
                <a:gd name="connsiteX2" fmla="*/ 75294 w 75294"/>
                <a:gd name="connsiteY2" fmla="*/ 266807 h 266807"/>
                <a:gd name="connsiteX3" fmla="*/ 0 w 75294"/>
                <a:gd name="connsiteY3" fmla="*/ 266807 h 266807"/>
                <a:gd name="connsiteX4" fmla="*/ 0 w 75294"/>
                <a:gd name="connsiteY4" fmla="*/ 0 h 26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4" h="266807">
                  <a:moveTo>
                    <a:pt x="0" y="0"/>
                  </a:moveTo>
                  <a:lnTo>
                    <a:pt x="75294" y="0"/>
                  </a:lnTo>
                  <a:lnTo>
                    <a:pt x="75294" y="266807"/>
                  </a:lnTo>
                  <a:lnTo>
                    <a:pt x="0" y="266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13CD9552-A077-EC88-224F-BC846C0BD9CD}"/>
                </a:ext>
              </a:extLst>
            </p:cNvPr>
            <p:cNvSpPr>
              <a:spLocks/>
            </p:cNvSpPr>
            <p:nvPr/>
          </p:nvSpPr>
          <p:spPr>
            <a:xfrm>
              <a:off x="742413" y="4673959"/>
              <a:ext cx="376469" cy="121788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01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5DCB924-C4EC-7C9A-9262-554CB054462E}"/>
                </a:ext>
              </a:extLst>
            </p:cNvPr>
            <p:cNvSpPr/>
            <p:nvPr/>
          </p:nvSpPr>
          <p:spPr>
            <a:xfrm>
              <a:off x="554177" y="4335135"/>
              <a:ext cx="752941" cy="84552"/>
            </a:xfrm>
            <a:custGeom>
              <a:avLst/>
              <a:gdLst>
                <a:gd name="connsiteX0" fmla="*/ 263530 w 752941"/>
                <a:gd name="connsiteY0" fmla="*/ 0 h 84552"/>
                <a:gd name="connsiteX1" fmla="*/ 489411 w 752941"/>
                <a:gd name="connsiteY1" fmla="*/ 0 h 84552"/>
                <a:gd name="connsiteX2" fmla="*/ 489411 w 752941"/>
                <a:gd name="connsiteY2" fmla="*/ 75294 h 84552"/>
                <a:gd name="connsiteX3" fmla="*/ 752941 w 752941"/>
                <a:gd name="connsiteY3" fmla="*/ 75294 h 84552"/>
                <a:gd name="connsiteX4" fmla="*/ 752941 w 752941"/>
                <a:gd name="connsiteY4" fmla="*/ 84552 h 84552"/>
                <a:gd name="connsiteX5" fmla="*/ 0 w 752941"/>
                <a:gd name="connsiteY5" fmla="*/ 84552 h 84552"/>
                <a:gd name="connsiteX6" fmla="*/ 0 w 752941"/>
                <a:gd name="connsiteY6" fmla="*/ 75294 h 84552"/>
                <a:gd name="connsiteX7" fmla="*/ 263530 w 752941"/>
                <a:gd name="connsiteY7" fmla="*/ 75294 h 84552"/>
                <a:gd name="connsiteX8" fmla="*/ 263530 w 752941"/>
                <a:gd name="connsiteY8" fmla="*/ 0 h 8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2941" h="84552">
                  <a:moveTo>
                    <a:pt x="263530" y="0"/>
                  </a:moveTo>
                  <a:lnTo>
                    <a:pt x="489411" y="0"/>
                  </a:lnTo>
                  <a:lnTo>
                    <a:pt x="489411" y="75294"/>
                  </a:lnTo>
                  <a:lnTo>
                    <a:pt x="752941" y="75294"/>
                  </a:lnTo>
                  <a:lnTo>
                    <a:pt x="752941" y="84552"/>
                  </a:lnTo>
                  <a:lnTo>
                    <a:pt x="0" y="84552"/>
                  </a:lnTo>
                  <a:lnTo>
                    <a:pt x="0" y="75294"/>
                  </a:lnTo>
                  <a:lnTo>
                    <a:pt x="263530" y="75294"/>
                  </a:lnTo>
                  <a:lnTo>
                    <a:pt x="2635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B4D4B94D-DD8F-EB3A-C931-385DFCBF46B8}"/>
                </a:ext>
              </a:extLst>
            </p:cNvPr>
            <p:cNvSpPr/>
            <p:nvPr/>
          </p:nvSpPr>
          <p:spPr>
            <a:xfrm>
              <a:off x="591825" y="4827824"/>
              <a:ext cx="677645" cy="749663"/>
            </a:xfrm>
            <a:custGeom>
              <a:avLst/>
              <a:gdLst>
                <a:gd name="connsiteX0" fmla="*/ 0 w 677645"/>
                <a:gd name="connsiteY0" fmla="*/ 0 h 749663"/>
                <a:gd name="connsiteX1" fmla="*/ 75294 w 677645"/>
                <a:gd name="connsiteY1" fmla="*/ 0 h 749663"/>
                <a:gd name="connsiteX2" fmla="*/ 75294 w 677645"/>
                <a:gd name="connsiteY2" fmla="*/ 674369 h 749663"/>
                <a:gd name="connsiteX3" fmla="*/ 602351 w 677645"/>
                <a:gd name="connsiteY3" fmla="*/ 674369 h 749663"/>
                <a:gd name="connsiteX4" fmla="*/ 602351 w 677645"/>
                <a:gd name="connsiteY4" fmla="*/ 0 h 749663"/>
                <a:gd name="connsiteX5" fmla="*/ 677645 w 677645"/>
                <a:gd name="connsiteY5" fmla="*/ 0 h 749663"/>
                <a:gd name="connsiteX6" fmla="*/ 677645 w 677645"/>
                <a:gd name="connsiteY6" fmla="*/ 676250 h 749663"/>
                <a:gd name="connsiteX7" fmla="*/ 604234 w 677645"/>
                <a:gd name="connsiteY7" fmla="*/ 749663 h 749663"/>
                <a:gd name="connsiteX8" fmla="*/ 73411 w 677645"/>
                <a:gd name="connsiteY8" fmla="*/ 749663 h 749663"/>
                <a:gd name="connsiteX9" fmla="*/ 0 w 677645"/>
                <a:gd name="connsiteY9" fmla="*/ 676250 h 749663"/>
                <a:gd name="connsiteX10" fmla="*/ 0 w 677645"/>
                <a:gd name="connsiteY10" fmla="*/ 0 h 74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7645" h="749663">
                  <a:moveTo>
                    <a:pt x="0" y="0"/>
                  </a:moveTo>
                  <a:lnTo>
                    <a:pt x="75294" y="0"/>
                  </a:lnTo>
                  <a:lnTo>
                    <a:pt x="75294" y="674369"/>
                  </a:lnTo>
                  <a:lnTo>
                    <a:pt x="602351" y="674369"/>
                  </a:lnTo>
                  <a:lnTo>
                    <a:pt x="602351" y="0"/>
                  </a:lnTo>
                  <a:lnTo>
                    <a:pt x="677645" y="0"/>
                  </a:lnTo>
                  <a:lnTo>
                    <a:pt x="677645" y="676250"/>
                  </a:lnTo>
                  <a:cubicBezTo>
                    <a:pt x="677645" y="716720"/>
                    <a:pt x="644705" y="749663"/>
                    <a:pt x="604234" y="749663"/>
                  </a:cubicBezTo>
                  <a:lnTo>
                    <a:pt x="73411" y="749663"/>
                  </a:lnTo>
                  <a:cubicBezTo>
                    <a:pt x="32940" y="749663"/>
                    <a:pt x="0" y="716720"/>
                    <a:pt x="0" y="6762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EA65D96-5F7C-DB28-B5FB-A06948145BD4}"/>
                </a:ext>
              </a:extLst>
            </p:cNvPr>
            <p:cNvSpPr>
              <a:spLocks/>
            </p:cNvSpPr>
            <p:nvPr/>
          </p:nvSpPr>
          <p:spPr>
            <a:xfrm>
              <a:off x="742413" y="4831747"/>
              <a:ext cx="376469" cy="121788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01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F266AB0-1195-335A-080F-362BA75E93BF}"/>
                </a:ext>
              </a:extLst>
            </p:cNvPr>
            <p:cNvSpPr>
              <a:spLocks/>
            </p:cNvSpPr>
            <p:nvPr/>
          </p:nvSpPr>
          <p:spPr>
            <a:xfrm>
              <a:off x="742413" y="5147322"/>
              <a:ext cx="376469" cy="121788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FB4AF19-5A4F-43F1-1F55-0B322D06DEE9}"/>
                </a:ext>
              </a:extLst>
            </p:cNvPr>
            <p:cNvSpPr>
              <a:spLocks/>
            </p:cNvSpPr>
            <p:nvPr/>
          </p:nvSpPr>
          <p:spPr>
            <a:xfrm>
              <a:off x="742413" y="5305109"/>
              <a:ext cx="376469" cy="121788"/>
            </a:xfrm>
            <a:custGeom>
              <a:avLst/>
              <a:gdLst>
                <a:gd name="connsiteX0" fmla="*/ 0 w 376469"/>
                <a:gd name="connsiteY0" fmla="*/ 0 h 131762"/>
                <a:gd name="connsiteX1" fmla="*/ 376469 w 376469"/>
                <a:gd name="connsiteY1" fmla="*/ 0 h 131762"/>
                <a:gd name="connsiteX2" fmla="*/ 376469 w 376469"/>
                <a:gd name="connsiteY2" fmla="*/ 131762 h 131762"/>
                <a:gd name="connsiteX3" fmla="*/ 0 w 376469"/>
                <a:gd name="connsiteY3" fmla="*/ 131762 h 131762"/>
                <a:gd name="connsiteX4" fmla="*/ 0 w 376469"/>
                <a:gd name="connsiteY4" fmla="*/ 0 h 131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2">
                  <a:moveTo>
                    <a:pt x="0" y="0"/>
                  </a:moveTo>
                  <a:lnTo>
                    <a:pt x="376469" y="0"/>
                  </a:lnTo>
                  <a:lnTo>
                    <a:pt x="376469" y="131762"/>
                  </a:lnTo>
                  <a:lnTo>
                    <a:pt x="0" y="131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60981CB2-EF2E-B7C3-C91C-8FDF088FA1AE}"/>
                </a:ext>
              </a:extLst>
            </p:cNvPr>
            <p:cNvSpPr>
              <a:spLocks/>
            </p:cNvSpPr>
            <p:nvPr/>
          </p:nvSpPr>
          <p:spPr>
            <a:xfrm>
              <a:off x="742413" y="4989534"/>
              <a:ext cx="376469" cy="121788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6" name="Siemens Logo" descr="Siemens logo">
            <a:extLst>
              <a:ext uri="{FF2B5EF4-FFF2-40B4-BE49-F238E27FC236}">
                <a16:creationId xmlns:a16="http://schemas.microsoft.com/office/drawing/2014/main" id="{C13658FB-6CE4-B013-E080-59CDAB72E4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7" name="Picture 12" descr="A blue building with wires and wires&#10;&#10;Description automatically generated">
            <a:extLst>
              <a:ext uri="{FF2B5EF4-FFF2-40B4-BE49-F238E27FC236}">
                <a16:creationId xmlns:a16="http://schemas.microsoft.com/office/drawing/2014/main" id="{46CA055E-1C2D-1E3F-5FF7-D06899FABAD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6993" y="2299300"/>
            <a:ext cx="1509928" cy="1090733"/>
          </a:xfrm>
          <a:prstGeom prst="rect">
            <a:avLst/>
          </a:prstGeom>
        </p:spPr>
      </p:pic>
      <p:sp>
        <p:nvSpPr>
          <p:cNvPr id="9" name="TextBox 7">
            <a:extLst>
              <a:ext uri="{FF2B5EF4-FFF2-40B4-BE49-F238E27FC236}">
                <a16:creationId xmlns:a16="http://schemas.microsoft.com/office/drawing/2014/main" id="{5B4BD352-9FB4-5F12-8A5E-61C33A81C8A7}"/>
              </a:ext>
            </a:extLst>
          </p:cNvPr>
          <p:cNvSpPr txBox="1">
            <a:spLocks/>
          </p:cNvSpPr>
          <p:nvPr/>
        </p:nvSpPr>
        <p:spPr>
          <a:xfrm>
            <a:off x="3957742" y="3442274"/>
            <a:ext cx="1135322" cy="293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Energetická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síť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0" name="TextBox 33">
            <a:extLst>
              <a:ext uri="{FF2B5EF4-FFF2-40B4-BE49-F238E27FC236}">
                <a16:creationId xmlns:a16="http://schemas.microsoft.com/office/drawing/2014/main" id="{539FBAF7-9FA4-9D86-4444-353D93A04394}"/>
              </a:ext>
            </a:extLst>
          </p:cNvPr>
          <p:cNvSpPr txBox="1">
            <a:spLocks/>
          </p:cNvSpPr>
          <p:nvPr/>
        </p:nvSpPr>
        <p:spPr>
          <a:xfrm>
            <a:off x="1508260" y="2641391"/>
            <a:ext cx="804080" cy="293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Spotřeba energi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72383B6-6AC0-3160-0082-940065ADA3C2}"/>
              </a:ext>
            </a:extLst>
          </p:cNvPr>
          <p:cNvSpPr txBox="1">
            <a:spLocks/>
          </p:cNvSpPr>
          <p:nvPr/>
        </p:nvSpPr>
        <p:spPr bwMode="black">
          <a:xfrm>
            <a:off x="410400" y="478799"/>
            <a:ext cx="9863997" cy="928417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mart Infrastructure I</a:t>
            </a:r>
            <a:r>
              <a:rPr lang="cs-CZ" dirty="0"/>
              <a:t> </a:t>
            </a:r>
            <a:r>
              <a:rPr lang="en-US" dirty="0"/>
              <a:t>Buildings</a:t>
            </a:r>
            <a:br>
              <a:rPr lang="cs-CZ" dirty="0"/>
            </a:br>
            <a:r>
              <a:rPr lang="cs-CZ" sz="1600" dirty="0"/>
              <a:t>Budova jako aktivní prvek energetické sítě</a:t>
            </a:r>
            <a:endParaRPr lang="en-US" dirty="0">
              <a:solidFill>
                <a:srgbClr val="00FFB9"/>
              </a:solidFill>
            </a:endParaRPr>
          </a:p>
        </p:txBody>
      </p:sp>
      <p:cxnSp>
        <p:nvCxnSpPr>
          <p:cNvPr id="58" name="Straight Connector 20">
            <a:extLst>
              <a:ext uri="{FF2B5EF4-FFF2-40B4-BE49-F238E27FC236}">
                <a16:creationId xmlns:a16="http://schemas.microsoft.com/office/drawing/2014/main" id="{67828620-B627-ED8E-B7DE-DDA877A98C6C}"/>
              </a:ext>
            </a:extLst>
          </p:cNvPr>
          <p:cNvCxnSpPr>
            <a:cxnSpLocks/>
          </p:cNvCxnSpPr>
          <p:nvPr/>
        </p:nvCxnSpPr>
        <p:spPr>
          <a:xfrm flipV="1">
            <a:off x="9309834" y="2643079"/>
            <a:ext cx="690253" cy="480640"/>
          </a:xfrm>
          <a:prstGeom prst="line">
            <a:avLst/>
          </a:prstGeom>
          <a:ln w="38100">
            <a:solidFill>
              <a:srgbClr val="EF0137"/>
            </a:solidFill>
            <a:prstDash val="sysDash"/>
            <a:miter lim="800000"/>
            <a:headEnd type="triangl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30">
            <a:extLst>
              <a:ext uri="{FF2B5EF4-FFF2-40B4-BE49-F238E27FC236}">
                <a16:creationId xmlns:a16="http://schemas.microsoft.com/office/drawing/2014/main" id="{D7153671-A97A-D92D-27FE-A28607AEF64C}"/>
              </a:ext>
            </a:extLst>
          </p:cNvPr>
          <p:cNvCxnSpPr>
            <a:cxnSpLocks/>
          </p:cNvCxnSpPr>
          <p:nvPr/>
        </p:nvCxnSpPr>
        <p:spPr>
          <a:xfrm flipH="1">
            <a:off x="9432634" y="2730174"/>
            <a:ext cx="660266" cy="458218"/>
          </a:xfrm>
          <a:prstGeom prst="line">
            <a:avLst/>
          </a:prstGeom>
          <a:ln w="38100">
            <a:solidFill>
              <a:srgbClr val="00C1B6"/>
            </a:solidFill>
            <a:prstDash val="sysDash"/>
            <a:miter lim="800000"/>
            <a:headEnd type="triangl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7">
            <a:extLst>
              <a:ext uri="{FF2B5EF4-FFF2-40B4-BE49-F238E27FC236}">
                <a16:creationId xmlns:a16="http://schemas.microsoft.com/office/drawing/2014/main" id="{3861F581-F58B-98E4-647B-B576A1F416A9}"/>
              </a:ext>
            </a:extLst>
          </p:cNvPr>
          <p:cNvSpPr txBox="1">
            <a:spLocks/>
          </p:cNvSpPr>
          <p:nvPr/>
        </p:nvSpPr>
        <p:spPr>
          <a:xfrm>
            <a:off x="10259946" y="3049187"/>
            <a:ext cx="951242" cy="293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Energetická síť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1" name="TextBox 33">
            <a:extLst>
              <a:ext uri="{FF2B5EF4-FFF2-40B4-BE49-F238E27FC236}">
                <a16:creationId xmlns:a16="http://schemas.microsoft.com/office/drawing/2014/main" id="{253E4978-6D0B-DF4E-CB2F-8A21A98AFA7F}"/>
              </a:ext>
            </a:extLst>
          </p:cNvPr>
          <p:cNvSpPr txBox="1">
            <a:spLocks/>
          </p:cNvSpPr>
          <p:nvPr/>
        </p:nvSpPr>
        <p:spPr>
          <a:xfrm>
            <a:off x="6895475" y="4598202"/>
            <a:ext cx="629484" cy="293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Výroba energi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2" name="TextBox 42">
            <a:extLst>
              <a:ext uri="{FF2B5EF4-FFF2-40B4-BE49-F238E27FC236}">
                <a16:creationId xmlns:a16="http://schemas.microsoft.com/office/drawing/2014/main" id="{0790ABD6-7619-F74C-410D-1C0F79F84EC3}"/>
              </a:ext>
            </a:extLst>
          </p:cNvPr>
          <p:cNvSpPr txBox="1">
            <a:spLocks/>
          </p:cNvSpPr>
          <p:nvPr/>
        </p:nvSpPr>
        <p:spPr>
          <a:xfrm>
            <a:off x="8810030" y="4598202"/>
            <a:ext cx="1245208" cy="293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Akumulace energi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63" name="Straight Connector 30">
            <a:extLst>
              <a:ext uri="{FF2B5EF4-FFF2-40B4-BE49-F238E27FC236}">
                <a16:creationId xmlns:a16="http://schemas.microsoft.com/office/drawing/2014/main" id="{11E04817-19C8-99FD-1AC4-4E0C2410AA83}"/>
              </a:ext>
            </a:extLst>
          </p:cNvPr>
          <p:cNvCxnSpPr>
            <a:cxnSpLocks/>
          </p:cNvCxnSpPr>
          <p:nvPr/>
        </p:nvCxnSpPr>
        <p:spPr>
          <a:xfrm flipH="1">
            <a:off x="6791641" y="3853780"/>
            <a:ext cx="771741" cy="529494"/>
          </a:xfrm>
          <a:prstGeom prst="line">
            <a:avLst/>
          </a:prstGeom>
          <a:ln w="38100">
            <a:solidFill>
              <a:srgbClr val="00C1B6"/>
            </a:solidFill>
            <a:prstDash val="sysDash"/>
            <a:miter lim="800000"/>
            <a:headEnd type="triangl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30">
            <a:extLst>
              <a:ext uri="{FF2B5EF4-FFF2-40B4-BE49-F238E27FC236}">
                <a16:creationId xmlns:a16="http://schemas.microsoft.com/office/drawing/2014/main" id="{828FE565-27A0-A16C-4AAF-B3B94F2BEEC6}"/>
              </a:ext>
            </a:extLst>
          </p:cNvPr>
          <p:cNvCxnSpPr>
            <a:cxnSpLocks/>
          </p:cNvCxnSpPr>
          <p:nvPr/>
        </p:nvCxnSpPr>
        <p:spPr>
          <a:xfrm>
            <a:off x="9157297" y="3959854"/>
            <a:ext cx="624733" cy="432382"/>
          </a:xfrm>
          <a:prstGeom prst="line">
            <a:avLst/>
          </a:prstGeom>
          <a:ln w="38100">
            <a:solidFill>
              <a:srgbClr val="00C1B6"/>
            </a:solidFill>
            <a:prstDash val="sysDash"/>
            <a:miter lim="800000"/>
            <a:headEnd type="triangl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" descr="A wind turbines and a tower&#10;&#10;Description automatically generated">
            <a:extLst>
              <a:ext uri="{FF2B5EF4-FFF2-40B4-BE49-F238E27FC236}">
                <a16:creationId xmlns:a16="http://schemas.microsoft.com/office/drawing/2014/main" id="{1C743A29-7A00-593B-4ECD-00CD8EFA90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04482" y="3638852"/>
            <a:ext cx="1444110" cy="1170694"/>
          </a:xfrm>
          <a:prstGeom prst="rect">
            <a:avLst/>
          </a:prstGeom>
        </p:spPr>
      </p:pic>
      <p:pic>
        <p:nvPicPr>
          <p:cNvPr id="66" name="Picture 14" descr="A blue battery and boxes&#10;&#10;Description automatically generated with medium confidence">
            <a:extLst>
              <a:ext uri="{FF2B5EF4-FFF2-40B4-BE49-F238E27FC236}">
                <a16:creationId xmlns:a16="http://schemas.microsoft.com/office/drawing/2014/main" id="{3C439E07-E046-CD7B-B790-E98B77C5B4A6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26367" y="3935502"/>
            <a:ext cx="1510599" cy="1150596"/>
          </a:xfrm>
          <a:prstGeom prst="rect">
            <a:avLst/>
          </a:prstGeom>
        </p:spPr>
      </p:pic>
      <p:pic>
        <p:nvPicPr>
          <p:cNvPr id="67" name="Picture 10" descr="A building with trees and a blue background&#10;&#10;Description automatically generated with medium confidence">
            <a:extLst>
              <a:ext uri="{FF2B5EF4-FFF2-40B4-BE49-F238E27FC236}">
                <a16:creationId xmlns:a16="http://schemas.microsoft.com/office/drawing/2014/main" id="{311A4009-4EB2-25EE-14DF-A57BD0702EA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8786" y="2098509"/>
            <a:ext cx="2520943" cy="2054391"/>
          </a:xfrm>
          <a:prstGeom prst="rect">
            <a:avLst/>
          </a:prstGeom>
        </p:spPr>
      </p:pic>
      <p:pic>
        <p:nvPicPr>
          <p:cNvPr id="68" name="Picture 12" descr="A blue building with wires and wires&#10;&#10;Description automatically generated">
            <a:extLst>
              <a:ext uri="{FF2B5EF4-FFF2-40B4-BE49-F238E27FC236}">
                <a16:creationId xmlns:a16="http://schemas.microsoft.com/office/drawing/2014/main" id="{5AE18C45-F826-8A91-AFB5-C8EB12D576A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2657" y="1777011"/>
            <a:ext cx="1509928" cy="1090733"/>
          </a:xfrm>
          <a:prstGeom prst="rect">
            <a:avLst/>
          </a:prstGeom>
        </p:spPr>
      </p:pic>
      <p:sp>
        <p:nvSpPr>
          <p:cNvPr id="69" name="TextBox 33">
            <a:extLst>
              <a:ext uri="{FF2B5EF4-FFF2-40B4-BE49-F238E27FC236}">
                <a16:creationId xmlns:a16="http://schemas.microsoft.com/office/drawing/2014/main" id="{C668E7ED-38AE-38DA-12DB-A8FD54103411}"/>
              </a:ext>
            </a:extLst>
          </p:cNvPr>
          <p:cNvSpPr txBox="1">
            <a:spLocks/>
          </p:cNvSpPr>
          <p:nvPr/>
        </p:nvSpPr>
        <p:spPr>
          <a:xfrm>
            <a:off x="7431196" y="1529818"/>
            <a:ext cx="629484" cy="293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Spotřeba energi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pSp>
        <p:nvGrpSpPr>
          <p:cNvPr id="70" name="Gruppieren 40">
            <a:extLst>
              <a:ext uri="{FF2B5EF4-FFF2-40B4-BE49-F238E27FC236}">
                <a16:creationId xmlns:a16="http://schemas.microsoft.com/office/drawing/2014/main" id="{D07BABCB-9225-FC83-A6BE-77DA0907C5AA}"/>
              </a:ext>
            </a:extLst>
          </p:cNvPr>
          <p:cNvGrpSpPr/>
          <p:nvPr/>
        </p:nvGrpSpPr>
        <p:grpSpPr>
          <a:xfrm>
            <a:off x="8155253" y="1529818"/>
            <a:ext cx="299628" cy="494386"/>
            <a:chOff x="8081217" y="1428227"/>
            <a:chExt cx="376984" cy="622024"/>
          </a:xfrm>
        </p:grpSpPr>
        <p:sp>
          <p:nvSpPr>
            <p:cNvPr id="71" name="Freihandform: Form 21">
              <a:extLst>
                <a:ext uri="{FF2B5EF4-FFF2-40B4-BE49-F238E27FC236}">
                  <a16:creationId xmlns:a16="http://schemas.microsoft.com/office/drawing/2014/main" id="{E9C27625-C910-3B23-AA61-4B50DC3865FB}"/>
                </a:ext>
              </a:extLst>
            </p:cNvPr>
            <p:cNvSpPr/>
            <p:nvPr/>
          </p:nvSpPr>
          <p:spPr>
            <a:xfrm>
              <a:off x="8081217" y="1470561"/>
              <a:ext cx="376984" cy="33063"/>
            </a:xfrm>
            <a:custGeom>
              <a:avLst/>
              <a:gdLst>
                <a:gd name="connsiteX0" fmla="*/ 0 w 752941"/>
                <a:gd name="connsiteY0" fmla="*/ 0 h 66036"/>
                <a:gd name="connsiteX1" fmla="*/ 752941 w 752941"/>
                <a:gd name="connsiteY1" fmla="*/ 0 h 66036"/>
                <a:gd name="connsiteX2" fmla="*/ 752941 w 752941"/>
                <a:gd name="connsiteY2" fmla="*/ 66036 h 66036"/>
                <a:gd name="connsiteX3" fmla="*/ 0 w 752941"/>
                <a:gd name="connsiteY3" fmla="*/ 66036 h 66036"/>
                <a:gd name="connsiteX4" fmla="*/ 0 w 752941"/>
                <a:gd name="connsiteY4" fmla="*/ 0 h 6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41" h="66036">
                  <a:moveTo>
                    <a:pt x="0" y="0"/>
                  </a:moveTo>
                  <a:lnTo>
                    <a:pt x="752941" y="0"/>
                  </a:lnTo>
                  <a:lnTo>
                    <a:pt x="752941" y="66036"/>
                  </a:lnTo>
                  <a:lnTo>
                    <a:pt x="0" y="660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ihandform: Form 22">
              <a:extLst>
                <a:ext uri="{FF2B5EF4-FFF2-40B4-BE49-F238E27FC236}">
                  <a16:creationId xmlns:a16="http://schemas.microsoft.com/office/drawing/2014/main" id="{2E770D9D-B5B9-8E13-1202-013B6D42C2C4}"/>
                </a:ext>
              </a:extLst>
            </p:cNvPr>
            <p:cNvSpPr>
              <a:spLocks/>
            </p:cNvSpPr>
            <p:nvPr/>
          </p:nvSpPr>
          <p:spPr>
            <a:xfrm>
              <a:off x="8100066" y="1541322"/>
              <a:ext cx="37698" cy="133586"/>
            </a:xfrm>
            <a:custGeom>
              <a:avLst/>
              <a:gdLst>
                <a:gd name="connsiteX0" fmla="*/ 0 w 75294"/>
                <a:gd name="connsiteY0" fmla="*/ 0 h 266807"/>
                <a:gd name="connsiteX1" fmla="*/ 75294 w 75294"/>
                <a:gd name="connsiteY1" fmla="*/ 0 h 266807"/>
                <a:gd name="connsiteX2" fmla="*/ 75294 w 75294"/>
                <a:gd name="connsiteY2" fmla="*/ 266807 h 266807"/>
                <a:gd name="connsiteX3" fmla="*/ 0 w 75294"/>
                <a:gd name="connsiteY3" fmla="*/ 266807 h 266807"/>
                <a:gd name="connsiteX4" fmla="*/ 0 w 75294"/>
                <a:gd name="connsiteY4" fmla="*/ 0 h 26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4" h="266807">
                  <a:moveTo>
                    <a:pt x="0" y="0"/>
                  </a:moveTo>
                  <a:lnTo>
                    <a:pt x="75294" y="0"/>
                  </a:lnTo>
                  <a:lnTo>
                    <a:pt x="75294" y="266807"/>
                  </a:lnTo>
                  <a:lnTo>
                    <a:pt x="0" y="266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ihandform: Form 23">
              <a:extLst>
                <a:ext uri="{FF2B5EF4-FFF2-40B4-BE49-F238E27FC236}">
                  <a16:creationId xmlns:a16="http://schemas.microsoft.com/office/drawing/2014/main" id="{B01D5CA3-9C2A-62E6-1042-1619891964C4}"/>
                </a:ext>
              </a:extLst>
            </p:cNvPr>
            <p:cNvSpPr/>
            <p:nvPr/>
          </p:nvSpPr>
          <p:spPr>
            <a:xfrm>
              <a:off x="8401652" y="1541322"/>
              <a:ext cx="37698" cy="133586"/>
            </a:xfrm>
            <a:custGeom>
              <a:avLst/>
              <a:gdLst>
                <a:gd name="connsiteX0" fmla="*/ 0 w 75294"/>
                <a:gd name="connsiteY0" fmla="*/ 0 h 266807"/>
                <a:gd name="connsiteX1" fmla="*/ 75294 w 75294"/>
                <a:gd name="connsiteY1" fmla="*/ 0 h 266807"/>
                <a:gd name="connsiteX2" fmla="*/ 75294 w 75294"/>
                <a:gd name="connsiteY2" fmla="*/ 266807 h 266807"/>
                <a:gd name="connsiteX3" fmla="*/ 0 w 75294"/>
                <a:gd name="connsiteY3" fmla="*/ 266807 h 266807"/>
                <a:gd name="connsiteX4" fmla="*/ 0 w 75294"/>
                <a:gd name="connsiteY4" fmla="*/ 0 h 26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4" h="266807">
                  <a:moveTo>
                    <a:pt x="0" y="0"/>
                  </a:moveTo>
                  <a:lnTo>
                    <a:pt x="75294" y="0"/>
                  </a:lnTo>
                  <a:lnTo>
                    <a:pt x="75294" y="266807"/>
                  </a:lnTo>
                  <a:lnTo>
                    <a:pt x="0" y="266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ihandform: Form 24">
              <a:extLst>
                <a:ext uri="{FF2B5EF4-FFF2-40B4-BE49-F238E27FC236}">
                  <a16:creationId xmlns:a16="http://schemas.microsoft.com/office/drawing/2014/main" id="{16FBAB4C-A87D-2D16-EE18-CD51B0CB387C}"/>
                </a:ext>
              </a:extLst>
            </p:cNvPr>
            <p:cNvSpPr>
              <a:spLocks/>
            </p:cNvSpPr>
            <p:nvPr/>
          </p:nvSpPr>
          <p:spPr>
            <a:xfrm>
              <a:off x="8175463" y="1597870"/>
              <a:ext cx="188491" cy="60977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ihandform: Form 25">
              <a:extLst>
                <a:ext uri="{FF2B5EF4-FFF2-40B4-BE49-F238E27FC236}">
                  <a16:creationId xmlns:a16="http://schemas.microsoft.com/office/drawing/2014/main" id="{0EBF3D3C-44D7-642F-F051-1113D4BCBB73}"/>
                </a:ext>
              </a:extLst>
            </p:cNvPr>
            <p:cNvSpPr/>
            <p:nvPr/>
          </p:nvSpPr>
          <p:spPr>
            <a:xfrm>
              <a:off x="8081217" y="1428227"/>
              <a:ext cx="376984" cy="42334"/>
            </a:xfrm>
            <a:custGeom>
              <a:avLst/>
              <a:gdLst>
                <a:gd name="connsiteX0" fmla="*/ 263530 w 752941"/>
                <a:gd name="connsiteY0" fmla="*/ 0 h 84552"/>
                <a:gd name="connsiteX1" fmla="*/ 489411 w 752941"/>
                <a:gd name="connsiteY1" fmla="*/ 0 h 84552"/>
                <a:gd name="connsiteX2" fmla="*/ 489411 w 752941"/>
                <a:gd name="connsiteY2" fmla="*/ 75294 h 84552"/>
                <a:gd name="connsiteX3" fmla="*/ 752941 w 752941"/>
                <a:gd name="connsiteY3" fmla="*/ 75294 h 84552"/>
                <a:gd name="connsiteX4" fmla="*/ 752941 w 752941"/>
                <a:gd name="connsiteY4" fmla="*/ 84552 h 84552"/>
                <a:gd name="connsiteX5" fmla="*/ 0 w 752941"/>
                <a:gd name="connsiteY5" fmla="*/ 84552 h 84552"/>
                <a:gd name="connsiteX6" fmla="*/ 0 w 752941"/>
                <a:gd name="connsiteY6" fmla="*/ 75294 h 84552"/>
                <a:gd name="connsiteX7" fmla="*/ 263530 w 752941"/>
                <a:gd name="connsiteY7" fmla="*/ 75294 h 84552"/>
                <a:gd name="connsiteX8" fmla="*/ 263530 w 752941"/>
                <a:gd name="connsiteY8" fmla="*/ 0 h 8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2941" h="84552">
                  <a:moveTo>
                    <a:pt x="263530" y="0"/>
                  </a:moveTo>
                  <a:lnTo>
                    <a:pt x="489411" y="0"/>
                  </a:lnTo>
                  <a:lnTo>
                    <a:pt x="489411" y="75294"/>
                  </a:lnTo>
                  <a:lnTo>
                    <a:pt x="752941" y="75294"/>
                  </a:lnTo>
                  <a:lnTo>
                    <a:pt x="752941" y="84552"/>
                  </a:lnTo>
                  <a:lnTo>
                    <a:pt x="0" y="84552"/>
                  </a:lnTo>
                  <a:lnTo>
                    <a:pt x="0" y="75294"/>
                  </a:lnTo>
                  <a:lnTo>
                    <a:pt x="263530" y="75294"/>
                  </a:lnTo>
                  <a:lnTo>
                    <a:pt x="2635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ihandform: Form 26">
              <a:extLst>
                <a:ext uri="{FF2B5EF4-FFF2-40B4-BE49-F238E27FC236}">
                  <a16:creationId xmlns:a16="http://schemas.microsoft.com/office/drawing/2014/main" id="{20FA4A88-69E3-54FC-A0F0-C99E66270B0C}"/>
                </a:ext>
              </a:extLst>
            </p:cNvPr>
            <p:cNvSpPr/>
            <p:nvPr/>
          </p:nvSpPr>
          <p:spPr>
            <a:xfrm>
              <a:off x="8100067" y="1674908"/>
              <a:ext cx="339285" cy="375343"/>
            </a:xfrm>
            <a:custGeom>
              <a:avLst/>
              <a:gdLst>
                <a:gd name="connsiteX0" fmla="*/ 0 w 677645"/>
                <a:gd name="connsiteY0" fmla="*/ 0 h 749663"/>
                <a:gd name="connsiteX1" fmla="*/ 75294 w 677645"/>
                <a:gd name="connsiteY1" fmla="*/ 0 h 749663"/>
                <a:gd name="connsiteX2" fmla="*/ 75294 w 677645"/>
                <a:gd name="connsiteY2" fmla="*/ 674369 h 749663"/>
                <a:gd name="connsiteX3" fmla="*/ 602351 w 677645"/>
                <a:gd name="connsiteY3" fmla="*/ 674369 h 749663"/>
                <a:gd name="connsiteX4" fmla="*/ 602351 w 677645"/>
                <a:gd name="connsiteY4" fmla="*/ 0 h 749663"/>
                <a:gd name="connsiteX5" fmla="*/ 677645 w 677645"/>
                <a:gd name="connsiteY5" fmla="*/ 0 h 749663"/>
                <a:gd name="connsiteX6" fmla="*/ 677645 w 677645"/>
                <a:gd name="connsiteY6" fmla="*/ 676250 h 749663"/>
                <a:gd name="connsiteX7" fmla="*/ 604234 w 677645"/>
                <a:gd name="connsiteY7" fmla="*/ 749663 h 749663"/>
                <a:gd name="connsiteX8" fmla="*/ 73411 w 677645"/>
                <a:gd name="connsiteY8" fmla="*/ 749663 h 749663"/>
                <a:gd name="connsiteX9" fmla="*/ 0 w 677645"/>
                <a:gd name="connsiteY9" fmla="*/ 676250 h 749663"/>
                <a:gd name="connsiteX10" fmla="*/ 0 w 677645"/>
                <a:gd name="connsiteY10" fmla="*/ 0 h 74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7645" h="749663">
                  <a:moveTo>
                    <a:pt x="0" y="0"/>
                  </a:moveTo>
                  <a:lnTo>
                    <a:pt x="75294" y="0"/>
                  </a:lnTo>
                  <a:lnTo>
                    <a:pt x="75294" y="674369"/>
                  </a:lnTo>
                  <a:lnTo>
                    <a:pt x="602351" y="674369"/>
                  </a:lnTo>
                  <a:lnTo>
                    <a:pt x="602351" y="0"/>
                  </a:lnTo>
                  <a:lnTo>
                    <a:pt x="677645" y="0"/>
                  </a:lnTo>
                  <a:lnTo>
                    <a:pt x="677645" y="676250"/>
                  </a:lnTo>
                  <a:cubicBezTo>
                    <a:pt x="677645" y="716720"/>
                    <a:pt x="644705" y="749663"/>
                    <a:pt x="604234" y="749663"/>
                  </a:cubicBezTo>
                  <a:lnTo>
                    <a:pt x="73411" y="749663"/>
                  </a:lnTo>
                  <a:cubicBezTo>
                    <a:pt x="32940" y="749663"/>
                    <a:pt x="0" y="716720"/>
                    <a:pt x="0" y="6762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ihandform: Form 27">
              <a:extLst>
                <a:ext uri="{FF2B5EF4-FFF2-40B4-BE49-F238E27FC236}">
                  <a16:creationId xmlns:a16="http://schemas.microsoft.com/office/drawing/2014/main" id="{8DAEB305-E99F-0DE5-D1C9-3103FE8D8A70}"/>
                </a:ext>
              </a:extLst>
            </p:cNvPr>
            <p:cNvSpPr>
              <a:spLocks/>
            </p:cNvSpPr>
            <p:nvPr/>
          </p:nvSpPr>
          <p:spPr>
            <a:xfrm>
              <a:off x="8175463" y="1676872"/>
              <a:ext cx="188491" cy="60977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ihandform: Form 30">
              <a:extLst>
                <a:ext uri="{FF2B5EF4-FFF2-40B4-BE49-F238E27FC236}">
                  <a16:creationId xmlns:a16="http://schemas.microsoft.com/office/drawing/2014/main" id="{A904DDEF-5805-C771-AC4D-ACDE41E67C4A}"/>
                </a:ext>
              </a:extLst>
            </p:cNvPr>
            <p:cNvSpPr>
              <a:spLocks/>
            </p:cNvSpPr>
            <p:nvPr/>
          </p:nvSpPr>
          <p:spPr>
            <a:xfrm>
              <a:off x="8175463" y="1834875"/>
              <a:ext cx="188491" cy="60977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ihandform: Form 36">
              <a:extLst>
                <a:ext uri="{FF2B5EF4-FFF2-40B4-BE49-F238E27FC236}">
                  <a16:creationId xmlns:a16="http://schemas.microsoft.com/office/drawing/2014/main" id="{3D232DD3-8D0C-5EA7-8BD6-4BBC7783A1E8}"/>
                </a:ext>
              </a:extLst>
            </p:cNvPr>
            <p:cNvSpPr>
              <a:spLocks/>
            </p:cNvSpPr>
            <p:nvPr/>
          </p:nvSpPr>
          <p:spPr>
            <a:xfrm>
              <a:off x="8175463" y="1913876"/>
              <a:ext cx="188491" cy="60977"/>
            </a:xfrm>
            <a:custGeom>
              <a:avLst/>
              <a:gdLst>
                <a:gd name="connsiteX0" fmla="*/ 0 w 376469"/>
                <a:gd name="connsiteY0" fmla="*/ 0 h 131762"/>
                <a:gd name="connsiteX1" fmla="*/ 376469 w 376469"/>
                <a:gd name="connsiteY1" fmla="*/ 0 h 131762"/>
                <a:gd name="connsiteX2" fmla="*/ 376469 w 376469"/>
                <a:gd name="connsiteY2" fmla="*/ 131762 h 131762"/>
                <a:gd name="connsiteX3" fmla="*/ 0 w 376469"/>
                <a:gd name="connsiteY3" fmla="*/ 131762 h 131762"/>
                <a:gd name="connsiteX4" fmla="*/ 0 w 376469"/>
                <a:gd name="connsiteY4" fmla="*/ 0 h 131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2">
                  <a:moveTo>
                    <a:pt x="0" y="0"/>
                  </a:moveTo>
                  <a:lnTo>
                    <a:pt x="376469" y="0"/>
                  </a:lnTo>
                  <a:lnTo>
                    <a:pt x="376469" y="131762"/>
                  </a:lnTo>
                  <a:lnTo>
                    <a:pt x="0" y="131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ihandform: Form 39">
              <a:extLst>
                <a:ext uri="{FF2B5EF4-FFF2-40B4-BE49-F238E27FC236}">
                  <a16:creationId xmlns:a16="http://schemas.microsoft.com/office/drawing/2014/main" id="{5DF33D2D-8973-6EF2-A85B-5BB43A133F9B}"/>
                </a:ext>
              </a:extLst>
            </p:cNvPr>
            <p:cNvSpPr>
              <a:spLocks/>
            </p:cNvSpPr>
            <p:nvPr/>
          </p:nvSpPr>
          <p:spPr>
            <a:xfrm>
              <a:off x="8175463" y="1755873"/>
              <a:ext cx="188491" cy="60977"/>
            </a:xfrm>
            <a:custGeom>
              <a:avLst/>
              <a:gdLst>
                <a:gd name="connsiteX0" fmla="*/ 0 w 376469"/>
                <a:gd name="connsiteY0" fmla="*/ 0 h 131765"/>
                <a:gd name="connsiteX1" fmla="*/ 376469 w 376469"/>
                <a:gd name="connsiteY1" fmla="*/ 0 h 131765"/>
                <a:gd name="connsiteX2" fmla="*/ 376469 w 376469"/>
                <a:gd name="connsiteY2" fmla="*/ 131765 h 131765"/>
                <a:gd name="connsiteX3" fmla="*/ 0 w 376469"/>
                <a:gd name="connsiteY3" fmla="*/ 131765 h 131765"/>
                <a:gd name="connsiteX4" fmla="*/ 0 w 376469"/>
                <a:gd name="connsiteY4" fmla="*/ 0 h 13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469" h="131765">
                  <a:moveTo>
                    <a:pt x="0" y="0"/>
                  </a:moveTo>
                  <a:lnTo>
                    <a:pt x="376469" y="0"/>
                  </a:lnTo>
                  <a:lnTo>
                    <a:pt x="376469" y="131765"/>
                  </a:lnTo>
                  <a:lnTo>
                    <a:pt x="0" y="13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1" name="Freihandform: Form 27">
            <a:extLst>
              <a:ext uri="{FF2B5EF4-FFF2-40B4-BE49-F238E27FC236}">
                <a16:creationId xmlns:a16="http://schemas.microsoft.com/office/drawing/2014/main" id="{2FC6BFA0-13B8-22FF-DB06-D5B9C3497FAB}"/>
              </a:ext>
            </a:extLst>
          </p:cNvPr>
          <p:cNvSpPr>
            <a:spLocks/>
          </p:cNvSpPr>
          <p:nvPr/>
        </p:nvSpPr>
        <p:spPr>
          <a:xfrm>
            <a:off x="8230083" y="1725552"/>
            <a:ext cx="149814" cy="48465"/>
          </a:xfrm>
          <a:custGeom>
            <a:avLst/>
            <a:gdLst>
              <a:gd name="connsiteX0" fmla="*/ 0 w 376469"/>
              <a:gd name="connsiteY0" fmla="*/ 0 h 131765"/>
              <a:gd name="connsiteX1" fmla="*/ 376469 w 376469"/>
              <a:gd name="connsiteY1" fmla="*/ 0 h 131765"/>
              <a:gd name="connsiteX2" fmla="*/ 376469 w 376469"/>
              <a:gd name="connsiteY2" fmla="*/ 131765 h 131765"/>
              <a:gd name="connsiteX3" fmla="*/ 0 w 376469"/>
              <a:gd name="connsiteY3" fmla="*/ 131765 h 131765"/>
              <a:gd name="connsiteX4" fmla="*/ 0 w 376469"/>
              <a:gd name="connsiteY4" fmla="*/ 0 h 131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469" h="131765">
                <a:moveTo>
                  <a:pt x="0" y="0"/>
                </a:moveTo>
                <a:lnTo>
                  <a:pt x="376469" y="0"/>
                </a:lnTo>
                <a:lnTo>
                  <a:pt x="376469" y="131765"/>
                </a:lnTo>
                <a:lnTo>
                  <a:pt x="0" y="131765"/>
                </a:lnTo>
                <a:lnTo>
                  <a:pt x="0" y="0"/>
                </a:lnTo>
                <a:close/>
              </a:path>
            </a:pathLst>
          </a:cu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Freihandform: Form 27">
            <a:extLst>
              <a:ext uri="{FF2B5EF4-FFF2-40B4-BE49-F238E27FC236}">
                <a16:creationId xmlns:a16="http://schemas.microsoft.com/office/drawing/2014/main" id="{7B7673D0-35B4-8FFE-007F-4A5FACEF3BEE}"/>
              </a:ext>
            </a:extLst>
          </p:cNvPr>
          <p:cNvSpPr>
            <a:spLocks/>
          </p:cNvSpPr>
          <p:nvPr/>
        </p:nvSpPr>
        <p:spPr>
          <a:xfrm>
            <a:off x="8230081" y="1661627"/>
            <a:ext cx="149814" cy="48465"/>
          </a:xfrm>
          <a:custGeom>
            <a:avLst/>
            <a:gdLst>
              <a:gd name="connsiteX0" fmla="*/ 0 w 376469"/>
              <a:gd name="connsiteY0" fmla="*/ 0 h 131765"/>
              <a:gd name="connsiteX1" fmla="*/ 376469 w 376469"/>
              <a:gd name="connsiteY1" fmla="*/ 0 h 131765"/>
              <a:gd name="connsiteX2" fmla="*/ 376469 w 376469"/>
              <a:gd name="connsiteY2" fmla="*/ 131765 h 131765"/>
              <a:gd name="connsiteX3" fmla="*/ 0 w 376469"/>
              <a:gd name="connsiteY3" fmla="*/ 131765 h 131765"/>
              <a:gd name="connsiteX4" fmla="*/ 0 w 376469"/>
              <a:gd name="connsiteY4" fmla="*/ 0 h 131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469" h="131765">
                <a:moveTo>
                  <a:pt x="0" y="0"/>
                </a:moveTo>
                <a:lnTo>
                  <a:pt x="376469" y="0"/>
                </a:lnTo>
                <a:lnTo>
                  <a:pt x="376469" y="131765"/>
                </a:lnTo>
                <a:lnTo>
                  <a:pt x="0" y="131765"/>
                </a:lnTo>
                <a:lnTo>
                  <a:pt x="0" y="0"/>
                </a:lnTo>
                <a:close/>
              </a:path>
            </a:pathLst>
          </a:cu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3" name="Straight Connector 20">
            <a:extLst>
              <a:ext uri="{FF2B5EF4-FFF2-40B4-BE49-F238E27FC236}">
                <a16:creationId xmlns:a16="http://schemas.microsoft.com/office/drawing/2014/main" id="{27289008-8C84-EE98-4AE0-CB9CD7331AD1}"/>
              </a:ext>
            </a:extLst>
          </p:cNvPr>
          <p:cNvCxnSpPr>
            <a:cxnSpLocks/>
          </p:cNvCxnSpPr>
          <p:nvPr/>
        </p:nvCxnSpPr>
        <p:spPr>
          <a:xfrm flipV="1">
            <a:off x="3277970" y="3182917"/>
            <a:ext cx="654774" cy="455935"/>
          </a:xfrm>
          <a:prstGeom prst="line">
            <a:avLst/>
          </a:prstGeom>
          <a:ln w="38100">
            <a:solidFill>
              <a:srgbClr val="EF0137"/>
            </a:solidFill>
            <a:prstDash val="sysDash"/>
            <a:miter lim="800000"/>
            <a:headEnd type="triangl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Freihandform: Form 5">
            <a:extLst>
              <a:ext uri="{FF2B5EF4-FFF2-40B4-BE49-F238E27FC236}">
                <a16:creationId xmlns:a16="http://schemas.microsoft.com/office/drawing/2014/main" id="{0E7C0800-1CD1-C88C-8FDF-10A37E2322D6}"/>
              </a:ext>
            </a:extLst>
          </p:cNvPr>
          <p:cNvSpPr/>
          <p:nvPr/>
        </p:nvSpPr>
        <p:spPr bwMode="gray">
          <a:xfrm>
            <a:off x="7388122" y="5329283"/>
            <a:ext cx="727920" cy="727920"/>
          </a:xfrm>
          <a:custGeom>
            <a:avLst/>
            <a:gdLst>
              <a:gd name="connsiteX0" fmla="*/ 267394 w 507363"/>
              <a:gd name="connsiteY0" fmla="*/ 0 h 507363"/>
              <a:gd name="connsiteX1" fmla="*/ 239969 w 507363"/>
              <a:gd name="connsiteY1" fmla="*/ 0 h 507363"/>
              <a:gd name="connsiteX2" fmla="*/ 239969 w 507363"/>
              <a:gd name="connsiteY2" fmla="*/ 123413 h 507363"/>
              <a:gd name="connsiteX3" fmla="*/ 267394 w 507363"/>
              <a:gd name="connsiteY3" fmla="*/ 123413 h 507363"/>
              <a:gd name="connsiteX4" fmla="*/ 267394 w 507363"/>
              <a:gd name="connsiteY4" fmla="*/ 0 h 507363"/>
              <a:gd name="connsiteX5" fmla="*/ 267394 w 507363"/>
              <a:gd name="connsiteY5" fmla="*/ 383951 h 507363"/>
              <a:gd name="connsiteX6" fmla="*/ 239969 w 507363"/>
              <a:gd name="connsiteY6" fmla="*/ 383951 h 507363"/>
              <a:gd name="connsiteX7" fmla="*/ 239969 w 507363"/>
              <a:gd name="connsiteY7" fmla="*/ 507364 h 507363"/>
              <a:gd name="connsiteX8" fmla="*/ 267394 w 507363"/>
              <a:gd name="connsiteY8" fmla="*/ 507364 h 507363"/>
              <a:gd name="connsiteX9" fmla="*/ 267394 w 507363"/>
              <a:gd name="connsiteY9" fmla="*/ 383951 h 507363"/>
              <a:gd name="connsiteX10" fmla="*/ 83989 w 507363"/>
              <a:gd name="connsiteY10" fmla="*/ 64586 h 507363"/>
              <a:gd name="connsiteX11" fmla="*/ 64586 w 507363"/>
              <a:gd name="connsiteY11" fmla="*/ 83989 h 507363"/>
              <a:gd name="connsiteX12" fmla="*/ 151866 w 507363"/>
              <a:gd name="connsiteY12" fmla="*/ 171270 h 507363"/>
              <a:gd name="connsiteX13" fmla="*/ 171270 w 507363"/>
              <a:gd name="connsiteY13" fmla="*/ 151866 h 507363"/>
              <a:gd name="connsiteX14" fmla="*/ 83989 w 507363"/>
              <a:gd name="connsiteY14" fmla="*/ 64586 h 507363"/>
              <a:gd name="connsiteX15" fmla="*/ 355497 w 507363"/>
              <a:gd name="connsiteY15" fmla="*/ 336094 h 507363"/>
              <a:gd name="connsiteX16" fmla="*/ 336094 w 507363"/>
              <a:gd name="connsiteY16" fmla="*/ 355497 h 507363"/>
              <a:gd name="connsiteX17" fmla="*/ 423374 w 507363"/>
              <a:gd name="connsiteY17" fmla="*/ 442778 h 507363"/>
              <a:gd name="connsiteX18" fmla="*/ 442778 w 507363"/>
              <a:gd name="connsiteY18" fmla="*/ 423374 h 507363"/>
              <a:gd name="connsiteX19" fmla="*/ 355497 w 507363"/>
              <a:gd name="connsiteY19" fmla="*/ 336094 h 507363"/>
              <a:gd name="connsiteX20" fmla="*/ 0 w 507363"/>
              <a:gd name="connsiteY20" fmla="*/ 239969 h 507363"/>
              <a:gd name="connsiteX21" fmla="*/ 0 w 507363"/>
              <a:gd name="connsiteY21" fmla="*/ 267394 h 507363"/>
              <a:gd name="connsiteX22" fmla="*/ 123413 w 507363"/>
              <a:gd name="connsiteY22" fmla="*/ 267394 h 507363"/>
              <a:gd name="connsiteX23" fmla="*/ 123413 w 507363"/>
              <a:gd name="connsiteY23" fmla="*/ 239969 h 507363"/>
              <a:gd name="connsiteX24" fmla="*/ 0 w 507363"/>
              <a:gd name="connsiteY24" fmla="*/ 239969 h 507363"/>
              <a:gd name="connsiteX25" fmla="*/ 383951 w 507363"/>
              <a:gd name="connsiteY25" fmla="*/ 239969 h 507363"/>
              <a:gd name="connsiteX26" fmla="*/ 383951 w 507363"/>
              <a:gd name="connsiteY26" fmla="*/ 267394 h 507363"/>
              <a:gd name="connsiteX27" fmla="*/ 507364 w 507363"/>
              <a:gd name="connsiteY27" fmla="*/ 267394 h 507363"/>
              <a:gd name="connsiteX28" fmla="*/ 507364 w 507363"/>
              <a:gd name="connsiteY28" fmla="*/ 239969 h 507363"/>
              <a:gd name="connsiteX29" fmla="*/ 383951 w 507363"/>
              <a:gd name="connsiteY29" fmla="*/ 239969 h 507363"/>
              <a:gd name="connsiteX30" fmla="*/ 64586 w 507363"/>
              <a:gd name="connsiteY30" fmla="*/ 423374 h 507363"/>
              <a:gd name="connsiteX31" fmla="*/ 83989 w 507363"/>
              <a:gd name="connsiteY31" fmla="*/ 442778 h 507363"/>
              <a:gd name="connsiteX32" fmla="*/ 171270 w 507363"/>
              <a:gd name="connsiteY32" fmla="*/ 355497 h 507363"/>
              <a:gd name="connsiteX33" fmla="*/ 151866 w 507363"/>
              <a:gd name="connsiteY33" fmla="*/ 336094 h 507363"/>
              <a:gd name="connsiteX34" fmla="*/ 64586 w 507363"/>
              <a:gd name="connsiteY34" fmla="*/ 423374 h 507363"/>
              <a:gd name="connsiteX35" fmla="*/ 336094 w 507363"/>
              <a:gd name="connsiteY35" fmla="*/ 151866 h 507363"/>
              <a:gd name="connsiteX36" fmla="*/ 355497 w 507363"/>
              <a:gd name="connsiteY36" fmla="*/ 171270 h 507363"/>
              <a:gd name="connsiteX37" fmla="*/ 442778 w 507363"/>
              <a:gd name="connsiteY37" fmla="*/ 83989 h 507363"/>
              <a:gd name="connsiteX38" fmla="*/ 423374 w 507363"/>
              <a:gd name="connsiteY38" fmla="*/ 64586 h 507363"/>
              <a:gd name="connsiteX39" fmla="*/ 336094 w 507363"/>
              <a:gd name="connsiteY39" fmla="*/ 151866 h 507363"/>
              <a:gd name="connsiteX40" fmla="*/ 356526 w 507363"/>
              <a:gd name="connsiteY40" fmla="*/ 253682 h 507363"/>
              <a:gd name="connsiteX41" fmla="*/ 253682 w 507363"/>
              <a:gd name="connsiteY41" fmla="*/ 356526 h 507363"/>
              <a:gd name="connsiteX42" fmla="*/ 150838 w 507363"/>
              <a:gd name="connsiteY42" fmla="*/ 253682 h 507363"/>
              <a:gd name="connsiteX43" fmla="*/ 253682 w 507363"/>
              <a:gd name="connsiteY43" fmla="*/ 150838 h 507363"/>
              <a:gd name="connsiteX44" fmla="*/ 356526 w 507363"/>
              <a:gd name="connsiteY44" fmla="*/ 253682 h 507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507363" h="507363">
                <a:moveTo>
                  <a:pt x="267394" y="0"/>
                </a:moveTo>
                <a:lnTo>
                  <a:pt x="239969" y="0"/>
                </a:lnTo>
                <a:lnTo>
                  <a:pt x="239969" y="123413"/>
                </a:lnTo>
                <a:lnTo>
                  <a:pt x="267394" y="123413"/>
                </a:lnTo>
                <a:lnTo>
                  <a:pt x="267394" y="0"/>
                </a:lnTo>
                <a:close/>
                <a:moveTo>
                  <a:pt x="267394" y="383951"/>
                </a:moveTo>
                <a:lnTo>
                  <a:pt x="239969" y="383951"/>
                </a:lnTo>
                <a:lnTo>
                  <a:pt x="239969" y="507364"/>
                </a:lnTo>
                <a:lnTo>
                  <a:pt x="267394" y="507364"/>
                </a:lnTo>
                <a:lnTo>
                  <a:pt x="267394" y="383951"/>
                </a:lnTo>
                <a:close/>
                <a:moveTo>
                  <a:pt x="83989" y="64586"/>
                </a:moveTo>
                <a:lnTo>
                  <a:pt x="64586" y="83989"/>
                </a:lnTo>
                <a:lnTo>
                  <a:pt x="151866" y="171270"/>
                </a:lnTo>
                <a:lnTo>
                  <a:pt x="171270" y="151866"/>
                </a:lnTo>
                <a:lnTo>
                  <a:pt x="83989" y="64586"/>
                </a:lnTo>
                <a:close/>
                <a:moveTo>
                  <a:pt x="355497" y="336094"/>
                </a:moveTo>
                <a:lnTo>
                  <a:pt x="336094" y="355497"/>
                </a:lnTo>
                <a:lnTo>
                  <a:pt x="423374" y="442778"/>
                </a:lnTo>
                <a:lnTo>
                  <a:pt x="442778" y="423374"/>
                </a:lnTo>
                <a:lnTo>
                  <a:pt x="355497" y="336094"/>
                </a:lnTo>
                <a:close/>
                <a:moveTo>
                  <a:pt x="0" y="239969"/>
                </a:moveTo>
                <a:lnTo>
                  <a:pt x="0" y="267394"/>
                </a:lnTo>
                <a:lnTo>
                  <a:pt x="123413" y="267394"/>
                </a:lnTo>
                <a:lnTo>
                  <a:pt x="123413" y="239969"/>
                </a:lnTo>
                <a:lnTo>
                  <a:pt x="0" y="239969"/>
                </a:lnTo>
                <a:close/>
                <a:moveTo>
                  <a:pt x="383951" y="239969"/>
                </a:moveTo>
                <a:lnTo>
                  <a:pt x="383951" y="267394"/>
                </a:lnTo>
                <a:lnTo>
                  <a:pt x="507364" y="267394"/>
                </a:lnTo>
                <a:lnTo>
                  <a:pt x="507364" y="239969"/>
                </a:lnTo>
                <a:lnTo>
                  <a:pt x="383951" y="239969"/>
                </a:lnTo>
                <a:close/>
                <a:moveTo>
                  <a:pt x="64586" y="423374"/>
                </a:moveTo>
                <a:lnTo>
                  <a:pt x="83989" y="442778"/>
                </a:lnTo>
                <a:lnTo>
                  <a:pt x="171270" y="355497"/>
                </a:lnTo>
                <a:lnTo>
                  <a:pt x="151866" y="336094"/>
                </a:lnTo>
                <a:lnTo>
                  <a:pt x="64586" y="423374"/>
                </a:lnTo>
                <a:close/>
                <a:moveTo>
                  <a:pt x="336094" y="151866"/>
                </a:moveTo>
                <a:lnTo>
                  <a:pt x="355497" y="171270"/>
                </a:lnTo>
                <a:lnTo>
                  <a:pt x="442778" y="83989"/>
                </a:lnTo>
                <a:lnTo>
                  <a:pt x="423374" y="64586"/>
                </a:lnTo>
                <a:lnTo>
                  <a:pt x="336094" y="151866"/>
                </a:lnTo>
                <a:close/>
                <a:moveTo>
                  <a:pt x="356526" y="253682"/>
                </a:moveTo>
                <a:cubicBezTo>
                  <a:pt x="356526" y="310452"/>
                  <a:pt x="310452" y="356526"/>
                  <a:pt x="253682" y="356526"/>
                </a:cubicBezTo>
                <a:cubicBezTo>
                  <a:pt x="196912" y="356526"/>
                  <a:pt x="150838" y="310452"/>
                  <a:pt x="150838" y="253682"/>
                </a:cubicBezTo>
                <a:cubicBezTo>
                  <a:pt x="150838" y="196912"/>
                  <a:pt x="196912" y="150838"/>
                  <a:pt x="253682" y="150838"/>
                </a:cubicBezTo>
                <a:cubicBezTo>
                  <a:pt x="310452" y="150838"/>
                  <a:pt x="356526" y="196912"/>
                  <a:pt x="356526" y="253682"/>
                </a:cubicBezTo>
                <a:close/>
              </a:path>
            </a:pathLst>
          </a:custGeom>
          <a:solidFill>
            <a:srgbClr val="333353"/>
          </a:solidFill>
        </p:spPr>
        <p:txBody>
          <a:bodyPr vert="horz" lIns="288000" tIns="72000" rIns="144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Freihandform: Form 19">
            <a:extLst>
              <a:ext uri="{FF2B5EF4-FFF2-40B4-BE49-F238E27FC236}">
                <a16:creationId xmlns:a16="http://schemas.microsoft.com/office/drawing/2014/main" id="{A4E0BF27-22FB-A77B-9157-F36F3F166F26}"/>
              </a:ext>
            </a:extLst>
          </p:cNvPr>
          <p:cNvSpPr/>
          <p:nvPr/>
        </p:nvSpPr>
        <p:spPr bwMode="gray">
          <a:xfrm>
            <a:off x="8334937" y="5468583"/>
            <a:ext cx="670641" cy="449634"/>
          </a:xfrm>
          <a:custGeom>
            <a:avLst/>
            <a:gdLst>
              <a:gd name="connsiteX0" fmla="*/ 603351 w 603351"/>
              <a:gd name="connsiteY0" fmla="*/ 137125 h 404519"/>
              <a:gd name="connsiteX1" fmla="*/ 500507 w 603351"/>
              <a:gd name="connsiteY1" fmla="*/ 239969 h 404519"/>
              <a:gd name="connsiteX2" fmla="*/ 0 w 603351"/>
              <a:gd name="connsiteY2" fmla="*/ 239969 h 404519"/>
              <a:gd name="connsiteX3" fmla="*/ 0 w 603351"/>
              <a:gd name="connsiteY3" fmla="*/ 191975 h 404519"/>
              <a:gd name="connsiteX4" fmla="*/ 500507 w 603351"/>
              <a:gd name="connsiteY4" fmla="*/ 191975 h 404519"/>
              <a:gd name="connsiteX5" fmla="*/ 555358 w 603351"/>
              <a:gd name="connsiteY5" fmla="*/ 137125 h 404519"/>
              <a:gd name="connsiteX6" fmla="*/ 500507 w 603351"/>
              <a:gd name="connsiteY6" fmla="*/ 82275 h 404519"/>
              <a:gd name="connsiteX7" fmla="*/ 445657 w 603351"/>
              <a:gd name="connsiteY7" fmla="*/ 137125 h 404519"/>
              <a:gd name="connsiteX8" fmla="*/ 446069 w 603351"/>
              <a:gd name="connsiteY8" fmla="*/ 143982 h 404519"/>
              <a:gd name="connsiteX9" fmla="*/ 397938 w 603351"/>
              <a:gd name="connsiteY9" fmla="*/ 143982 h 404519"/>
              <a:gd name="connsiteX10" fmla="*/ 397663 w 603351"/>
              <a:gd name="connsiteY10" fmla="*/ 137125 h 404519"/>
              <a:gd name="connsiteX11" fmla="*/ 500507 w 603351"/>
              <a:gd name="connsiteY11" fmla="*/ 34281 h 404519"/>
              <a:gd name="connsiteX12" fmla="*/ 603351 w 603351"/>
              <a:gd name="connsiteY12" fmla="*/ 137125 h 404519"/>
              <a:gd name="connsiteX13" fmla="*/ 363382 w 603351"/>
              <a:gd name="connsiteY13" fmla="*/ 82275 h 404519"/>
              <a:gd name="connsiteX14" fmla="*/ 281107 w 603351"/>
              <a:gd name="connsiteY14" fmla="*/ 0 h 404519"/>
              <a:gd name="connsiteX15" fmla="*/ 198832 w 603351"/>
              <a:gd name="connsiteY15" fmla="*/ 82275 h 404519"/>
              <a:gd name="connsiteX16" fmla="*/ 201437 w 603351"/>
              <a:gd name="connsiteY16" fmla="*/ 102844 h 404519"/>
              <a:gd name="connsiteX17" fmla="*/ 230302 w 603351"/>
              <a:gd name="connsiteY17" fmla="*/ 102844 h 404519"/>
              <a:gd name="connsiteX18" fmla="*/ 226257 w 603351"/>
              <a:gd name="connsiteY18" fmla="*/ 82275 h 404519"/>
              <a:gd name="connsiteX19" fmla="*/ 281107 w 603351"/>
              <a:gd name="connsiteY19" fmla="*/ 27425 h 404519"/>
              <a:gd name="connsiteX20" fmla="*/ 335957 w 603351"/>
              <a:gd name="connsiteY20" fmla="*/ 82275 h 404519"/>
              <a:gd name="connsiteX21" fmla="*/ 281107 w 603351"/>
              <a:gd name="connsiteY21" fmla="*/ 137125 h 404519"/>
              <a:gd name="connsiteX22" fmla="*/ 41138 w 603351"/>
              <a:gd name="connsiteY22" fmla="*/ 137125 h 404519"/>
              <a:gd name="connsiteX23" fmla="*/ 41138 w 603351"/>
              <a:gd name="connsiteY23" fmla="*/ 164550 h 404519"/>
              <a:gd name="connsiteX24" fmla="*/ 281107 w 603351"/>
              <a:gd name="connsiteY24" fmla="*/ 164550 h 404519"/>
              <a:gd name="connsiteX25" fmla="*/ 363382 w 603351"/>
              <a:gd name="connsiteY25" fmla="*/ 82275 h 404519"/>
              <a:gd name="connsiteX26" fmla="*/ 390807 w 603351"/>
              <a:gd name="connsiteY26" fmla="*/ 267394 h 404519"/>
              <a:gd name="connsiteX27" fmla="*/ 109700 w 603351"/>
              <a:gd name="connsiteY27" fmla="*/ 267394 h 404519"/>
              <a:gd name="connsiteX28" fmla="*/ 109700 w 603351"/>
              <a:gd name="connsiteY28" fmla="*/ 294819 h 404519"/>
              <a:gd name="connsiteX29" fmla="*/ 390807 w 603351"/>
              <a:gd name="connsiteY29" fmla="*/ 294819 h 404519"/>
              <a:gd name="connsiteX30" fmla="*/ 431945 w 603351"/>
              <a:gd name="connsiteY30" fmla="*/ 335957 h 404519"/>
              <a:gd name="connsiteX31" fmla="*/ 390807 w 603351"/>
              <a:gd name="connsiteY31" fmla="*/ 377095 h 404519"/>
              <a:gd name="connsiteX32" fmla="*/ 349670 w 603351"/>
              <a:gd name="connsiteY32" fmla="*/ 335957 h 404519"/>
              <a:gd name="connsiteX33" fmla="*/ 350287 w 603351"/>
              <a:gd name="connsiteY33" fmla="*/ 329101 h 404519"/>
              <a:gd name="connsiteX34" fmla="*/ 322656 w 603351"/>
              <a:gd name="connsiteY34" fmla="*/ 329101 h 404519"/>
              <a:gd name="connsiteX35" fmla="*/ 322245 w 603351"/>
              <a:gd name="connsiteY35" fmla="*/ 335957 h 404519"/>
              <a:gd name="connsiteX36" fmla="*/ 390807 w 603351"/>
              <a:gd name="connsiteY36" fmla="*/ 404520 h 404519"/>
              <a:gd name="connsiteX37" fmla="*/ 459370 w 603351"/>
              <a:gd name="connsiteY37" fmla="*/ 335957 h 404519"/>
              <a:gd name="connsiteX38" fmla="*/ 390807 w 603351"/>
              <a:gd name="connsiteY38" fmla="*/ 267394 h 40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03351" h="404519">
                <a:moveTo>
                  <a:pt x="603351" y="137125"/>
                </a:moveTo>
                <a:cubicBezTo>
                  <a:pt x="603351" y="193895"/>
                  <a:pt x="557277" y="239969"/>
                  <a:pt x="500507" y="239969"/>
                </a:cubicBezTo>
                <a:lnTo>
                  <a:pt x="0" y="239969"/>
                </a:lnTo>
                <a:lnTo>
                  <a:pt x="0" y="191975"/>
                </a:lnTo>
                <a:lnTo>
                  <a:pt x="500507" y="191975"/>
                </a:lnTo>
                <a:cubicBezTo>
                  <a:pt x="530744" y="191975"/>
                  <a:pt x="555358" y="167362"/>
                  <a:pt x="555358" y="137125"/>
                </a:cubicBezTo>
                <a:cubicBezTo>
                  <a:pt x="555358" y="106889"/>
                  <a:pt x="530744" y="82275"/>
                  <a:pt x="500507" y="82275"/>
                </a:cubicBezTo>
                <a:cubicBezTo>
                  <a:pt x="470271" y="82275"/>
                  <a:pt x="445657" y="106889"/>
                  <a:pt x="445657" y="137125"/>
                </a:cubicBezTo>
                <a:cubicBezTo>
                  <a:pt x="445657" y="139456"/>
                  <a:pt x="445794" y="141719"/>
                  <a:pt x="446069" y="143982"/>
                </a:cubicBezTo>
                <a:lnTo>
                  <a:pt x="397938" y="143982"/>
                </a:lnTo>
                <a:cubicBezTo>
                  <a:pt x="397732" y="141719"/>
                  <a:pt x="397663" y="139456"/>
                  <a:pt x="397663" y="137125"/>
                </a:cubicBezTo>
                <a:cubicBezTo>
                  <a:pt x="397663" y="80355"/>
                  <a:pt x="443738" y="34281"/>
                  <a:pt x="500507" y="34281"/>
                </a:cubicBezTo>
                <a:cubicBezTo>
                  <a:pt x="557277" y="34281"/>
                  <a:pt x="603351" y="80355"/>
                  <a:pt x="603351" y="137125"/>
                </a:cubicBezTo>
                <a:close/>
                <a:moveTo>
                  <a:pt x="363382" y="82275"/>
                </a:moveTo>
                <a:cubicBezTo>
                  <a:pt x="363382" y="36818"/>
                  <a:pt x="326564" y="0"/>
                  <a:pt x="281107" y="0"/>
                </a:cubicBezTo>
                <a:cubicBezTo>
                  <a:pt x="235650" y="0"/>
                  <a:pt x="198832" y="36818"/>
                  <a:pt x="198832" y="82275"/>
                </a:cubicBezTo>
                <a:cubicBezTo>
                  <a:pt x="198832" y="89406"/>
                  <a:pt x="199723" y="96262"/>
                  <a:pt x="201437" y="102844"/>
                </a:cubicBezTo>
                <a:lnTo>
                  <a:pt x="230302" y="102844"/>
                </a:lnTo>
                <a:cubicBezTo>
                  <a:pt x="227697" y="96468"/>
                  <a:pt x="226257" y="89543"/>
                  <a:pt x="226257" y="82275"/>
                </a:cubicBezTo>
                <a:cubicBezTo>
                  <a:pt x="226257" y="52039"/>
                  <a:pt x="250871" y="27425"/>
                  <a:pt x="281107" y="27425"/>
                </a:cubicBezTo>
                <a:cubicBezTo>
                  <a:pt x="311343" y="27425"/>
                  <a:pt x="335957" y="52039"/>
                  <a:pt x="335957" y="82275"/>
                </a:cubicBezTo>
                <a:cubicBezTo>
                  <a:pt x="335957" y="112511"/>
                  <a:pt x="311343" y="137125"/>
                  <a:pt x="281107" y="137125"/>
                </a:cubicBezTo>
                <a:lnTo>
                  <a:pt x="41138" y="137125"/>
                </a:lnTo>
                <a:lnTo>
                  <a:pt x="41138" y="164550"/>
                </a:lnTo>
                <a:lnTo>
                  <a:pt x="281107" y="164550"/>
                </a:lnTo>
                <a:cubicBezTo>
                  <a:pt x="326564" y="164550"/>
                  <a:pt x="363382" y="127732"/>
                  <a:pt x="363382" y="82275"/>
                </a:cubicBezTo>
                <a:close/>
                <a:moveTo>
                  <a:pt x="390807" y="267394"/>
                </a:moveTo>
                <a:lnTo>
                  <a:pt x="109700" y="267394"/>
                </a:lnTo>
                <a:lnTo>
                  <a:pt x="109700" y="294819"/>
                </a:lnTo>
                <a:lnTo>
                  <a:pt x="390807" y="294819"/>
                </a:lnTo>
                <a:cubicBezTo>
                  <a:pt x="413501" y="294819"/>
                  <a:pt x="431945" y="313263"/>
                  <a:pt x="431945" y="335957"/>
                </a:cubicBezTo>
                <a:cubicBezTo>
                  <a:pt x="431945" y="358651"/>
                  <a:pt x="413501" y="377095"/>
                  <a:pt x="390807" y="377095"/>
                </a:cubicBezTo>
                <a:cubicBezTo>
                  <a:pt x="368113" y="377095"/>
                  <a:pt x="349670" y="358651"/>
                  <a:pt x="349670" y="335957"/>
                </a:cubicBezTo>
                <a:cubicBezTo>
                  <a:pt x="349670" y="333626"/>
                  <a:pt x="349875" y="331295"/>
                  <a:pt x="350287" y="329101"/>
                </a:cubicBezTo>
                <a:lnTo>
                  <a:pt x="322656" y="329101"/>
                </a:lnTo>
                <a:cubicBezTo>
                  <a:pt x="322382" y="331363"/>
                  <a:pt x="322245" y="333626"/>
                  <a:pt x="322245" y="335957"/>
                </a:cubicBezTo>
                <a:cubicBezTo>
                  <a:pt x="322245" y="373804"/>
                  <a:pt x="352961" y="404520"/>
                  <a:pt x="390807" y="404520"/>
                </a:cubicBezTo>
                <a:cubicBezTo>
                  <a:pt x="428654" y="404520"/>
                  <a:pt x="459370" y="373804"/>
                  <a:pt x="459370" y="335957"/>
                </a:cubicBezTo>
                <a:cubicBezTo>
                  <a:pt x="459370" y="298111"/>
                  <a:pt x="428654" y="267394"/>
                  <a:pt x="390807" y="267394"/>
                </a:cubicBezTo>
                <a:close/>
              </a:path>
            </a:pathLst>
          </a:custGeom>
          <a:solidFill>
            <a:srgbClr val="333353"/>
          </a:solidFill>
        </p:spPr>
        <p:txBody>
          <a:bodyPr vert="horz" lIns="288000" tIns="72000" rIns="144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Freihandform: Form 82">
            <a:extLst>
              <a:ext uri="{FF2B5EF4-FFF2-40B4-BE49-F238E27FC236}">
                <a16:creationId xmlns:a16="http://schemas.microsoft.com/office/drawing/2014/main" id="{E2ED65E2-51F3-648B-424A-F6AA2240F51F}"/>
              </a:ext>
            </a:extLst>
          </p:cNvPr>
          <p:cNvSpPr/>
          <p:nvPr/>
        </p:nvSpPr>
        <p:spPr>
          <a:xfrm>
            <a:off x="9224473" y="5416780"/>
            <a:ext cx="369042" cy="540383"/>
          </a:xfrm>
          <a:custGeom>
            <a:avLst/>
            <a:gdLst>
              <a:gd name="connsiteX0" fmla="*/ 383951 w 383950"/>
              <a:gd name="connsiteY0" fmla="*/ 127664 h 562213"/>
              <a:gd name="connsiteX1" fmla="*/ 383951 w 383950"/>
              <a:gd name="connsiteY1" fmla="*/ 315388 h 562213"/>
              <a:gd name="connsiteX2" fmla="*/ 349670 w 383950"/>
              <a:gd name="connsiteY2" fmla="*/ 315388 h 562213"/>
              <a:gd name="connsiteX3" fmla="*/ 329101 w 383950"/>
              <a:gd name="connsiteY3" fmla="*/ 562214 h 562213"/>
              <a:gd name="connsiteX4" fmla="*/ 274251 w 383950"/>
              <a:gd name="connsiteY4" fmla="*/ 562214 h 562213"/>
              <a:gd name="connsiteX5" fmla="*/ 253682 w 383950"/>
              <a:gd name="connsiteY5" fmla="*/ 315388 h 562213"/>
              <a:gd name="connsiteX6" fmla="*/ 219401 w 383950"/>
              <a:gd name="connsiteY6" fmla="*/ 315388 h 562213"/>
              <a:gd name="connsiteX7" fmla="*/ 219401 w 383950"/>
              <a:gd name="connsiteY7" fmla="*/ 127664 h 562213"/>
              <a:gd name="connsiteX8" fmla="*/ 229685 w 383950"/>
              <a:gd name="connsiteY8" fmla="*/ 114911 h 562213"/>
              <a:gd name="connsiteX9" fmla="*/ 266366 w 383950"/>
              <a:gd name="connsiteY9" fmla="*/ 108398 h 562213"/>
              <a:gd name="connsiteX10" fmla="*/ 301676 w 383950"/>
              <a:gd name="connsiteY10" fmla="*/ 152209 h 562213"/>
              <a:gd name="connsiteX11" fmla="*/ 337054 w 383950"/>
              <a:gd name="connsiteY11" fmla="*/ 108398 h 562213"/>
              <a:gd name="connsiteX12" fmla="*/ 373667 w 383950"/>
              <a:gd name="connsiteY12" fmla="*/ 114911 h 562213"/>
              <a:gd name="connsiteX13" fmla="*/ 383951 w 383950"/>
              <a:gd name="connsiteY13" fmla="*/ 127664 h 562213"/>
              <a:gd name="connsiteX14" fmla="*/ 301676 w 383950"/>
              <a:gd name="connsiteY14" fmla="*/ 95988 h 562213"/>
              <a:gd name="connsiteX15" fmla="*/ 349670 w 383950"/>
              <a:gd name="connsiteY15" fmla="*/ 47994 h 562213"/>
              <a:gd name="connsiteX16" fmla="*/ 301676 w 383950"/>
              <a:gd name="connsiteY16" fmla="*/ 0 h 562213"/>
              <a:gd name="connsiteX17" fmla="*/ 253682 w 383950"/>
              <a:gd name="connsiteY17" fmla="*/ 47994 h 562213"/>
              <a:gd name="connsiteX18" fmla="*/ 301676 w 383950"/>
              <a:gd name="connsiteY18" fmla="*/ 95988 h 562213"/>
              <a:gd name="connsiteX19" fmla="*/ 82275 w 383950"/>
              <a:gd name="connsiteY19" fmla="*/ 95988 h 562213"/>
              <a:gd name="connsiteX20" fmla="*/ 130269 w 383950"/>
              <a:gd name="connsiteY20" fmla="*/ 47994 h 562213"/>
              <a:gd name="connsiteX21" fmla="*/ 82275 w 383950"/>
              <a:gd name="connsiteY21" fmla="*/ 0 h 562213"/>
              <a:gd name="connsiteX22" fmla="*/ 34281 w 383950"/>
              <a:gd name="connsiteY22" fmla="*/ 47994 h 562213"/>
              <a:gd name="connsiteX23" fmla="*/ 82275 w 383950"/>
              <a:gd name="connsiteY23" fmla="*/ 95988 h 562213"/>
              <a:gd name="connsiteX24" fmla="*/ 154060 w 383950"/>
              <a:gd name="connsiteY24" fmla="*/ 114911 h 562213"/>
              <a:gd name="connsiteX25" fmla="*/ 117654 w 383950"/>
              <a:gd name="connsiteY25" fmla="*/ 108398 h 562213"/>
              <a:gd name="connsiteX26" fmla="*/ 82275 w 383950"/>
              <a:gd name="connsiteY26" fmla="*/ 152209 h 562213"/>
              <a:gd name="connsiteX27" fmla="*/ 47377 w 383950"/>
              <a:gd name="connsiteY27" fmla="*/ 108398 h 562213"/>
              <a:gd name="connsiteX28" fmla="*/ 10901 w 383950"/>
              <a:gd name="connsiteY28" fmla="*/ 114911 h 562213"/>
              <a:gd name="connsiteX29" fmla="*/ 0 w 383950"/>
              <a:gd name="connsiteY29" fmla="*/ 127664 h 562213"/>
              <a:gd name="connsiteX30" fmla="*/ 0 w 383950"/>
              <a:gd name="connsiteY30" fmla="*/ 315388 h 562213"/>
              <a:gd name="connsiteX31" fmla="*/ 27425 w 383950"/>
              <a:gd name="connsiteY31" fmla="*/ 315388 h 562213"/>
              <a:gd name="connsiteX32" fmla="*/ 27425 w 383950"/>
              <a:gd name="connsiteY32" fmla="*/ 459370 h 562213"/>
              <a:gd name="connsiteX33" fmla="*/ 47994 w 383950"/>
              <a:gd name="connsiteY33" fmla="*/ 459370 h 562213"/>
              <a:gd name="connsiteX34" fmla="*/ 54850 w 383950"/>
              <a:gd name="connsiteY34" fmla="*/ 562214 h 562213"/>
              <a:gd name="connsiteX35" fmla="*/ 109700 w 383950"/>
              <a:gd name="connsiteY35" fmla="*/ 562214 h 562213"/>
              <a:gd name="connsiteX36" fmla="*/ 116557 w 383950"/>
              <a:gd name="connsiteY36" fmla="*/ 459370 h 562213"/>
              <a:gd name="connsiteX37" fmla="*/ 137125 w 383950"/>
              <a:gd name="connsiteY37" fmla="*/ 459370 h 562213"/>
              <a:gd name="connsiteX38" fmla="*/ 137125 w 383950"/>
              <a:gd name="connsiteY38" fmla="*/ 315388 h 562213"/>
              <a:gd name="connsiteX39" fmla="*/ 164550 w 383950"/>
              <a:gd name="connsiteY39" fmla="*/ 315388 h 562213"/>
              <a:gd name="connsiteX40" fmla="*/ 164276 w 383950"/>
              <a:gd name="connsiteY40" fmla="*/ 127664 h 562213"/>
              <a:gd name="connsiteX41" fmla="*/ 154060 w 383950"/>
              <a:gd name="connsiteY41" fmla="*/ 114911 h 562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83950" h="562213">
                <a:moveTo>
                  <a:pt x="383951" y="127664"/>
                </a:moveTo>
                <a:lnTo>
                  <a:pt x="383951" y="315388"/>
                </a:lnTo>
                <a:lnTo>
                  <a:pt x="349670" y="315388"/>
                </a:lnTo>
                <a:lnTo>
                  <a:pt x="329101" y="562214"/>
                </a:lnTo>
                <a:lnTo>
                  <a:pt x="274251" y="562214"/>
                </a:lnTo>
                <a:lnTo>
                  <a:pt x="253682" y="315388"/>
                </a:lnTo>
                <a:lnTo>
                  <a:pt x="219401" y="315388"/>
                </a:lnTo>
                <a:lnTo>
                  <a:pt x="219401" y="127664"/>
                </a:lnTo>
                <a:cubicBezTo>
                  <a:pt x="219401" y="121356"/>
                  <a:pt x="223789" y="116008"/>
                  <a:pt x="229685" y="114911"/>
                </a:cubicBezTo>
                <a:lnTo>
                  <a:pt x="266366" y="108398"/>
                </a:lnTo>
                <a:cubicBezTo>
                  <a:pt x="273839" y="126224"/>
                  <a:pt x="286112" y="141445"/>
                  <a:pt x="301676" y="152209"/>
                </a:cubicBezTo>
                <a:cubicBezTo>
                  <a:pt x="317239" y="141513"/>
                  <a:pt x="329581" y="126292"/>
                  <a:pt x="337054" y="108398"/>
                </a:cubicBezTo>
                <a:lnTo>
                  <a:pt x="373667" y="114911"/>
                </a:lnTo>
                <a:cubicBezTo>
                  <a:pt x="379563" y="116008"/>
                  <a:pt x="383951" y="121356"/>
                  <a:pt x="383951" y="127664"/>
                </a:cubicBezTo>
                <a:close/>
                <a:moveTo>
                  <a:pt x="301676" y="95988"/>
                </a:moveTo>
                <a:cubicBezTo>
                  <a:pt x="328210" y="95988"/>
                  <a:pt x="349670" y="74528"/>
                  <a:pt x="349670" y="47994"/>
                </a:cubicBezTo>
                <a:cubicBezTo>
                  <a:pt x="349670" y="21460"/>
                  <a:pt x="328210" y="0"/>
                  <a:pt x="301676" y="0"/>
                </a:cubicBezTo>
                <a:cubicBezTo>
                  <a:pt x="275142" y="0"/>
                  <a:pt x="253682" y="21460"/>
                  <a:pt x="253682" y="47994"/>
                </a:cubicBezTo>
                <a:cubicBezTo>
                  <a:pt x="253682" y="74528"/>
                  <a:pt x="275142" y="95988"/>
                  <a:pt x="301676" y="95988"/>
                </a:cubicBezTo>
                <a:close/>
                <a:moveTo>
                  <a:pt x="82275" y="95988"/>
                </a:moveTo>
                <a:cubicBezTo>
                  <a:pt x="108809" y="95988"/>
                  <a:pt x="130269" y="74528"/>
                  <a:pt x="130269" y="47994"/>
                </a:cubicBezTo>
                <a:cubicBezTo>
                  <a:pt x="130269" y="21460"/>
                  <a:pt x="108809" y="0"/>
                  <a:pt x="82275" y="0"/>
                </a:cubicBezTo>
                <a:cubicBezTo>
                  <a:pt x="55741" y="0"/>
                  <a:pt x="34281" y="21460"/>
                  <a:pt x="34281" y="47994"/>
                </a:cubicBezTo>
                <a:cubicBezTo>
                  <a:pt x="34281" y="74528"/>
                  <a:pt x="55741" y="95988"/>
                  <a:pt x="82275" y="95988"/>
                </a:cubicBezTo>
                <a:close/>
                <a:moveTo>
                  <a:pt x="154060" y="114911"/>
                </a:moveTo>
                <a:lnTo>
                  <a:pt x="117654" y="108398"/>
                </a:lnTo>
                <a:cubicBezTo>
                  <a:pt x="110180" y="126224"/>
                  <a:pt x="97770" y="141445"/>
                  <a:pt x="82275" y="152209"/>
                </a:cubicBezTo>
                <a:cubicBezTo>
                  <a:pt x="66780" y="141513"/>
                  <a:pt x="54782" y="126292"/>
                  <a:pt x="47377" y="108398"/>
                </a:cubicBezTo>
                <a:lnTo>
                  <a:pt x="10901" y="114911"/>
                </a:lnTo>
                <a:cubicBezTo>
                  <a:pt x="5005" y="116008"/>
                  <a:pt x="69" y="121356"/>
                  <a:pt x="0" y="127664"/>
                </a:cubicBezTo>
                <a:lnTo>
                  <a:pt x="0" y="315388"/>
                </a:lnTo>
                <a:lnTo>
                  <a:pt x="27425" y="315388"/>
                </a:lnTo>
                <a:lnTo>
                  <a:pt x="27425" y="459370"/>
                </a:lnTo>
                <a:lnTo>
                  <a:pt x="47994" y="459370"/>
                </a:lnTo>
                <a:lnTo>
                  <a:pt x="54850" y="562214"/>
                </a:lnTo>
                <a:lnTo>
                  <a:pt x="109700" y="562214"/>
                </a:lnTo>
                <a:lnTo>
                  <a:pt x="116557" y="459370"/>
                </a:lnTo>
                <a:lnTo>
                  <a:pt x="137125" y="459370"/>
                </a:lnTo>
                <a:lnTo>
                  <a:pt x="137125" y="315388"/>
                </a:lnTo>
                <a:lnTo>
                  <a:pt x="164550" y="315388"/>
                </a:lnTo>
                <a:lnTo>
                  <a:pt x="164276" y="127664"/>
                </a:lnTo>
                <a:cubicBezTo>
                  <a:pt x="164276" y="121356"/>
                  <a:pt x="159957" y="116008"/>
                  <a:pt x="154060" y="114911"/>
                </a:cubicBezTo>
                <a:close/>
              </a:path>
            </a:pathLst>
          </a:custGeom>
          <a:solidFill>
            <a:srgbClr val="333353"/>
          </a:solidFill>
          <a:ln w="679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3" name="TextBox 33">
            <a:extLst>
              <a:ext uri="{FF2B5EF4-FFF2-40B4-BE49-F238E27FC236}">
                <a16:creationId xmlns:a16="http://schemas.microsoft.com/office/drawing/2014/main" id="{679557C3-F05E-A9F8-1304-243988AEB399}"/>
              </a:ext>
            </a:extLst>
          </p:cNvPr>
          <p:cNvSpPr txBox="1">
            <a:spLocks/>
          </p:cNvSpPr>
          <p:nvPr/>
        </p:nvSpPr>
        <p:spPr>
          <a:xfrm>
            <a:off x="6334449" y="5606854"/>
            <a:ext cx="629484" cy="293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Predikc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04" name="Footer Placeholder 2">
            <a:extLst>
              <a:ext uri="{FF2B5EF4-FFF2-40B4-BE49-F238E27FC236}">
                <a16:creationId xmlns:a16="http://schemas.microsoft.com/office/drawing/2014/main" id="{23649BE3-F099-40A1-1507-5D974D2F55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105" name="Slide Number Placeholder 1">
            <a:extLst>
              <a:ext uri="{FF2B5EF4-FFF2-40B4-BE49-F238E27FC236}">
                <a16:creationId xmlns:a16="http://schemas.microsoft.com/office/drawing/2014/main" id="{F8B7FB3E-EFEC-E428-AFBF-0C5AFEFAB5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18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05137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8F4BC3-CDE7-0927-48F8-47779527F5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délník 11">
            <a:extLst>
              <a:ext uri="{FF2B5EF4-FFF2-40B4-BE49-F238E27FC236}">
                <a16:creationId xmlns:a16="http://schemas.microsoft.com/office/drawing/2014/main" id="{50CAD1FF-F102-9250-467A-521EF6463C68}"/>
              </a:ext>
            </a:extLst>
          </p:cNvPr>
          <p:cNvSpPr/>
          <p:nvPr/>
        </p:nvSpPr>
        <p:spPr>
          <a:xfrm>
            <a:off x="0" y="974085"/>
            <a:ext cx="12192000" cy="58827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A4163E2-B3DB-7B35-E752-32EAEB555E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163E2-B3DB-7B35-E752-32EAEB555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45FE8E32-9843-A99A-B0B1-41D16533553E}"/>
              </a:ext>
            </a:extLst>
          </p:cNvPr>
          <p:cNvCxnSpPr>
            <a:cxnSpLocks/>
          </p:cNvCxnSpPr>
          <p:nvPr/>
        </p:nvCxnSpPr>
        <p:spPr>
          <a:xfrm flipH="1">
            <a:off x="3247614" y="2268000"/>
            <a:ext cx="105614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Obdélník: se zakulacenými rohy 106">
            <a:extLst>
              <a:ext uri="{FF2B5EF4-FFF2-40B4-BE49-F238E27FC236}">
                <a16:creationId xmlns:a16="http://schemas.microsoft.com/office/drawing/2014/main" id="{F129AB2C-94F2-B974-E5CA-BDD9E0FB64C8}"/>
              </a:ext>
            </a:extLst>
          </p:cNvPr>
          <p:cNvSpPr/>
          <p:nvPr/>
        </p:nvSpPr>
        <p:spPr>
          <a:xfrm rot="16200000">
            <a:off x="4485184" y="3668245"/>
            <a:ext cx="5440648" cy="540000"/>
          </a:xfrm>
          <a:prstGeom prst="rect">
            <a:avLst/>
          </a:prstGeom>
          <a:solidFill>
            <a:srgbClr val="1C2F67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EXIBILITY TRADING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6ACA934F-8FBF-4496-2598-EE56A3271B8C}"/>
              </a:ext>
            </a:extLst>
          </p:cNvPr>
          <p:cNvCxnSpPr>
            <a:cxnSpLocks/>
          </p:cNvCxnSpPr>
          <p:nvPr/>
        </p:nvCxnSpPr>
        <p:spPr>
          <a:xfrm>
            <a:off x="7496821" y="3706482"/>
            <a:ext cx="67874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0AE49121-58F8-A6A9-B601-46EE0F8CA03B}"/>
              </a:ext>
            </a:extLst>
          </p:cNvPr>
          <p:cNvCxnSpPr>
            <a:cxnSpLocks/>
          </p:cNvCxnSpPr>
          <p:nvPr/>
        </p:nvCxnSpPr>
        <p:spPr>
          <a:xfrm flipH="1">
            <a:off x="7496821" y="4010742"/>
            <a:ext cx="67874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9" name="Group 232">
            <a:extLst>
              <a:ext uri="{FF2B5EF4-FFF2-40B4-BE49-F238E27FC236}">
                <a16:creationId xmlns:a16="http://schemas.microsoft.com/office/drawing/2014/main" id="{07F07069-AD22-5ADB-0215-78978C1761EE}"/>
              </a:ext>
            </a:extLst>
          </p:cNvPr>
          <p:cNvGrpSpPr/>
          <p:nvPr/>
        </p:nvGrpSpPr>
        <p:grpSpPr>
          <a:xfrm>
            <a:off x="2116271" y="1539763"/>
            <a:ext cx="464512" cy="479556"/>
            <a:chOff x="5590636" y="4209178"/>
            <a:chExt cx="687689" cy="709961"/>
          </a:xfrm>
        </p:grpSpPr>
        <p:sp>
          <p:nvSpPr>
            <p:cNvPr id="34" name="Obdélník: se zakulacenými rohy 98">
              <a:extLst>
                <a:ext uri="{FF2B5EF4-FFF2-40B4-BE49-F238E27FC236}">
                  <a16:creationId xmlns:a16="http://schemas.microsoft.com/office/drawing/2014/main" id="{0D97C74E-8FEE-D44A-CE82-28A9208918CE}"/>
                </a:ext>
              </a:extLst>
            </p:cNvPr>
            <p:cNvSpPr/>
            <p:nvPr/>
          </p:nvSpPr>
          <p:spPr>
            <a:xfrm>
              <a:off x="5590636" y="4209178"/>
              <a:ext cx="687689" cy="709961"/>
            </a:xfrm>
            <a:prstGeom prst="roundRect">
              <a:avLst>
                <a:gd name="adj" fmla="val 5712"/>
              </a:avLst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5" name="Obrázek 5">
              <a:extLst>
                <a:ext uri="{FF2B5EF4-FFF2-40B4-BE49-F238E27FC236}">
                  <a16:creationId xmlns:a16="http://schemas.microsoft.com/office/drawing/2014/main" id="{13BF79EB-BB13-25CC-F010-1E75F3158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8358" y="4229952"/>
              <a:ext cx="619800" cy="619800"/>
            </a:xfrm>
            <a:prstGeom prst="rect">
              <a:avLst/>
            </a:prstGeom>
          </p:spPr>
        </p:pic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63C5F118-2DDD-02D7-C5A4-7F245827874A}"/>
              </a:ext>
            </a:extLst>
          </p:cNvPr>
          <p:cNvGrpSpPr/>
          <p:nvPr/>
        </p:nvGrpSpPr>
        <p:grpSpPr>
          <a:xfrm>
            <a:off x="2119398" y="2349479"/>
            <a:ext cx="464512" cy="479557"/>
            <a:chOff x="2786086" y="3031223"/>
            <a:chExt cx="455337" cy="479557"/>
          </a:xfrm>
        </p:grpSpPr>
        <p:sp>
          <p:nvSpPr>
            <p:cNvPr id="32" name="Obdélník: se zakulacenými rohy 98">
              <a:extLst>
                <a:ext uri="{FF2B5EF4-FFF2-40B4-BE49-F238E27FC236}">
                  <a16:creationId xmlns:a16="http://schemas.microsoft.com/office/drawing/2014/main" id="{4CC90535-4CFC-3E23-0D36-1340359E48D7}"/>
                </a:ext>
              </a:extLst>
            </p:cNvPr>
            <p:cNvSpPr/>
            <p:nvPr/>
          </p:nvSpPr>
          <p:spPr>
            <a:xfrm>
              <a:off x="2786086" y="3031223"/>
              <a:ext cx="455337" cy="479557"/>
            </a:xfrm>
            <a:prstGeom prst="roundRect">
              <a:avLst>
                <a:gd name="adj" fmla="val 5712"/>
              </a:avLst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3" name="Obrázek 38" descr="Teploměr">
              <a:extLst>
                <a:ext uri="{FF2B5EF4-FFF2-40B4-BE49-F238E27FC236}">
                  <a16:creationId xmlns:a16="http://schemas.microsoft.com/office/drawing/2014/main" id="{06834124-1E15-B45E-7839-91AC9AF48A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845182" y="3080854"/>
              <a:ext cx="337146" cy="337147"/>
            </a:xfrm>
            <a:prstGeom prst="rect">
              <a:avLst/>
            </a:prstGeom>
          </p:spPr>
        </p:pic>
      </p:grpSp>
      <p:sp>
        <p:nvSpPr>
          <p:cNvPr id="21" name="Obdélník: se zakulacenými rohy 106">
            <a:extLst>
              <a:ext uri="{FF2B5EF4-FFF2-40B4-BE49-F238E27FC236}">
                <a16:creationId xmlns:a16="http://schemas.microsoft.com/office/drawing/2014/main" id="{DC828567-CC18-BDE9-FF62-1CB5887F02C8}"/>
              </a:ext>
            </a:extLst>
          </p:cNvPr>
          <p:cNvSpPr/>
          <p:nvPr/>
        </p:nvSpPr>
        <p:spPr>
          <a:xfrm rot="16200000">
            <a:off x="1886721" y="2287612"/>
            <a:ext cx="2340000" cy="360000"/>
          </a:xfrm>
          <a:prstGeom prst="roundRect">
            <a:avLst>
              <a:gd name="adj" fmla="val 5712"/>
            </a:avLst>
          </a:prstGeom>
          <a:solidFill>
            <a:srgbClr val="12A1A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o I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A96E494-81CB-A0D6-375A-A0ED09F2EA03}"/>
              </a:ext>
            </a:extLst>
          </p:cNvPr>
          <p:cNvGrpSpPr/>
          <p:nvPr/>
        </p:nvGrpSpPr>
        <p:grpSpPr>
          <a:xfrm>
            <a:off x="2112067" y="3159194"/>
            <a:ext cx="464512" cy="479557"/>
            <a:chOff x="3310522" y="5023168"/>
            <a:chExt cx="464512" cy="479557"/>
          </a:xfrm>
        </p:grpSpPr>
        <p:sp>
          <p:nvSpPr>
            <p:cNvPr id="30" name="Obdélník: se zakulacenými rohy 98">
              <a:extLst>
                <a:ext uri="{FF2B5EF4-FFF2-40B4-BE49-F238E27FC236}">
                  <a16:creationId xmlns:a16="http://schemas.microsoft.com/office/drawing/2014/main" id="{9236B356-2445-0C5B-63F8-B6142A704A99}"/>
                </a:ext>
              </a:extLst>
            </p:cNvPr>
            <p:cNvSpPr/>
            <p:nvPr/>
          </p:nvSpPr>
          <p:spPr>
            <a:xfrm>
              <a:off x="3310522" y="5023168"/>
              <a:ext cx="464512" cy="479557"/>
            </a:xfrm>
            <a:prstGeom prst="roundRect">
              <a:avLst>
                <a:gd name="adj" fmla="val 5712"/>
              </a:avLst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7A79C9DE-77FD-3933-07C8-DC991C4695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52190" y="5045378"/>
              <a:ext cx="355274" cy="434322"/>
            </a:xfrm>
            <a:prstGeom prst="rect">
              <a:avLst/>
            </a:prstGeom>
          </p:spPr>
        </p:pic>
      </p:grpSp>
      <p:grpSp>
        <p:nvGrpSpPr>
          <p:cNvPr id="1042" name="Skupina 1041">
            <a:extLst>
              <a:ext uri="{FF2B5EF4-FFF2-40B4-BE49-F238E27FC236}">
                <a16:creationId xmlns:a16="http://schemas.microsoft.com/office/drawing/2014/main" id="{D16446F2-4B35-A759-8C48-1A3EA7EA2BDE}"/>
              </a:ext>
            </a:extLst>
          </p:cNvPr>
          <p:cNvGrpSpPr>
            <a:grpSpLocks noChangeAspect="1"/>
          </p:cNvGrpSpPr>
          <p:nvPr/>
        </p:nvGrpSpPr>
        <p:grpSpPr>
          <a:xfrm>
            <a:off x="134583" y="1297612"/>
            <a:ext cx="1616705" cy="2364873"/>
            <a:chOff x="447639" y="1862799"/>
            <a:chExt cx="1248171" cy="1825786"/>
          </a:xfrm>
        </p:grpSpPr>
        <p:sp>
          <p:nvSpPr>
            <p:cNvPr id="17" name="Obdélník: se zakulacenými rohy 102">
              <a:extLst>
                <a:ext uri="{FF2B5EF4-FFF2-40B4-BE49-F238E27FC236}">
                  <a16:creationId xmlns:a16="http://schemas.microsoft.com/office/drawing/2014/main" id="{9EBF7A2E-2325-4F8E-9512-7067F28A77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7639" y="1874648"/>
              <a:ext cx="1234247" cy="1806583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2" name="Obrázek 17">
              <a:extLst>
                <a:ext uri="{FF2B5EF4-FFF2-40B4-BE49-F238E27FC236}">
                  <a16:creationId xmlns:a16="http://schemas.microsoft.com/office/drawing/2014/main" id="{88C63B74-DE11-AAA1-14A2-3F8CD17C1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5682" y="2625629"/>
              <a:ext cx="798251" cy="555872"/>
            </a:xfrm>
            <a:prstGeom prst="rect">
              <a:avLst/>
            </a:prstGeom>
          </p:spPr>
        </p:pic>
        <p:pic>
          <p:nvPicPr>
            <p:cNvPr id="23" name="Obrázek 22">
              <a:extLst>
                <a:ext uri="{FF2B5EF4-FFF2-40B4-BE49-F238E27FC236}">
                  <a16:creationId xmlns:a16="http://schemas.microsoft.com/office/drawing/2014/main" id="{9ECDB858-750F-A3CD-370C-39266E4C2C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1949" y="3077126"/>
              <a:ext cx="853861" cy="611459"/>
            </a:xfrm>
            <a:prstGeom prst="rect">
              <a:avLst/>
            </a:prstGeom>
          </p:spPr>
        </p:pic>
        <p:sp>
          <p:nvSpPr>
            <p:cNvPr id="24" name="Obdélník 51">
              <a:extLst>
                <a:ext uri="{FF2B5EF4-FFF2-40B4-BE49-F238E27FC236}">
                  <a16:creationId xmlns:a16="http://schemas.microsoft.com/office/drawing/2014/main" id="{502E0151-547A-CEAC-27CC-250018928592}"/>
                </a:ext>
              </a:extLst>
            </p:cNvPr>
            <p:cNvSpPr/>
            <p:nvPr/>
          </p:nvSpPr>
          <p:spPr>
            <a:xfrm>
              <a:off x="447640" y="1862799"/>
              <a:ext cx="1239230" cy="356426"/>
            </a:xfrm>
            <a:prstGeom prst="rect">
              <a:avLst/>
            </a:prstGeom>
            <a:ln w="38100" cap="rnd"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VAC &amp; 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cs-CZ" sz="1200" b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zařízení</a:t>
              </a:r>
              <a:endParaRPr kumimoji="0" lang="en-US" sz="12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8" name="Obrázek 27">
              <a:extLst>
                <a:ext uri="{FF2B5EF4-FFF2-40B4-BE49-F238E27FC236}">
                  <a16:creationId xmlns:a16="http://schemas.microsoft.com/office/drawing/2014/main" id="{BF5131BB-E966-CDFD-8D09-0CF08BC99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100" y="2118090"/>
              <a:ext cx="833808" cy="833808"/>
            </a:xfrm>
            <a:prstGeom prst="rect">
              <a:avLst/>
            </a:prstGeom>
          </p:spPr>
        </p:pic>
      </p:grpSp>
      <p:pic>
        <p:nvPicPr>
          <p:cNvPr id="38" name="Graphic 25" descr="Electrician male with solid fill">
            <a:extLst>
              <a:ext uri="{FF2B5EF4-FFF2-40B4-BE49-F238E27FC236}">
                <a16:creationId xmlns:a16="http://schemas.microsoft.com/office/drawing/2014/main" id="{4706EC2D-6BFB-439F-2D0A-0E9EF98C0258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28448" y="1846878"/>
            <a:ext cx="795328" cy="795328"/>
          </a:xfrm>
          <a:prstGeom prst="rect">
            <a:avLst/>
          </a:prstGeom>
        </p:spPr>
      </p:pic>
      <p:pic>
        <p:nvPicPr>
          <p:cNvPr id="39" name="Obrázek 38" descr="Obsah obrázku text, snímek obrazovky, grafický design, diagram&#10;&#10;Popis byl vytvořen automaticky">
            <a:extLst>
              <a:ext uri="{FF2B5EF4-FFF2-40B4-BE49-F238E27FC236}">
                <a16:creationId xmlns:a16="http://schemas.microsoft.com/office/drawing/2014/main" id="{6E51027C-CF91-4170-7694-699754D2500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9650" y="1217926"/>
            <a:ext cx="4140000" cy="5440650"/>
          </a:xfrm>
          <a:prstGeom prst="rect">
            <a:avLst/>
          </a:prstGeom>
        </p:spPr>
      </p:pic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641E7895-4B24-00C3-A884-BF95F901FC27}"/>
              </a:ext>
            </a:extLst>
          </p:cNvPr>
          <p:cNvCxnSpPr>
            <a:cxnSpLocks/>
          </p:cNvCxnSpPr>
          <p:nvPr/>
        </p:nvCxnSpPr>
        <p:spPr>
          <a:xfrm flipH="1">
            <a:off x="4838755" y="2557574"/>
            <a:ext cx="179835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Přímá spojnice se šipkou 49">
            <a:extLst>
              <a:ext uri="{FF2B5EF4-FFF2-40B4-BE49-F238E27FC236}">
                <a16:creationId xmlns:a16="http://schemas.microsoft.com/office/drawing/2014/main" id="{E5ADFBB6-D645-5738-B5ED-15AC0A10593D}"/>
              </a:ext>
            </a:extLst>
          </p:cNvPr>
          <p:cNvCxnSpPr>
            <a:cxnSpLocks/>
          </p:cNvCxnSpPr>
          <p:nvPr/>
        </p:nvCxnSpPr>
        <p:spPr>
          <a:xfrm>
            <a:off x="4567805" y="2748135"/>
            <a:ext cx="18526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Přímá spojnice se šipkou 52">
            <a:extLst>
              <a:ext uri="{FF2B5EF4-FFF2-40B4-BE49-F238E27FC236}">
                <a16:creationId xmlns:a16="http://schemas.microsoft.com/office/drawing/2014/main" id="{F87817E1-C47B-9328-1E6B-50BCB7E469EC}"/>
              </a:ext>
            </a:extLst>
          </p:cNvPr>
          <p:cNvCxnSpPr>
            <a:cxnSpLocks/>
          </p:cNvCxnSpPr>
          <p:nvPr/>
        </p:nvCxnSpPr>
        <p:spPr>
          <a:xfrm flipH="1">
            <a:off x="4838400" y="3530194"/>
            <a:ext cx="182069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Přímá spojnice se šipkou 53">
            <a:extLst>
              <a:ext uri="{FF2B5EF4-FFF2-40B4-BE49-F238E27FC236}">
                <a16:creationId xmlns:a16="http://schemas.microsoft.com/office/drawing/2014/main" id="{76A40E2A-6E23-33E1-7A0C-53B981564B7D}"/>
              </a:ext>
            </a:extLst>
          </p:cNvPr>
          <p:cNvCxnSpPr>
            <a:cxnSpLocks/>
          </p:cNvCxnSpPr>
          <p:nvPr/>
        </p:nvCxnSpPr>
        <p:spPr>
          <a:xfrm>
            <a:off x="4576161" y="3720755"/>
            <a:ext cx="18526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5CB7C46-96D7-4D32-5564-C174FAD53CDE}"/>
              </a:ext>
            </a:extLst>
          </p:cNvPr>
          <p:cNvCxnSpPr>
            <a:cxnSpLocks/>
          </p:cNvCxnSpPr>
          <p:nvPr/>
        </p:nvCxnSpPr>
        <p:spPr>
          <a:xfrm flipH="1">
            <a:off x="4838400" y="4751592"/>
            <a:ext cx="182069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Přímá spojnice se šipkou 57">
            <a:extLst>
              <a:ext uri="{FF2B5EF4-FFF2-40B4-BE49-F238E27FC236}">
                <a16:creationId xmlns:a16="http://schemas.microsoft.com/office/drawing/2014/main" id="{B75D80CE-7D82-538C-0425-BF20FF9E2A79}"/>
              </a:ext>
            </a:extLst>
          </p:cNvPr>
          <p:cNvCxnSpPr>
            <a:cxnSpLocks/>
          </p:cNvCxnSpPr>
          <p:nvPr/>
        </p:nvCxnSpPr>
        <p:spPr>
          <a:xfrm>
            <a:off x="4568141" y="4942153"/>
            <a:ext cx="18526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Přímá spojnice se šipkou 64">
            <a:extLst>
              <a:ext uri="{FF2B5EF4-FFF2-40B4-BE49-F238E27FC236}">
                <a16:creationId xmlns:a16="http://schemas.microsoft.com/office/drawing/2014/main" id="{768DE114-1843-7341-4DE6-BD1E0CE1EEC4}"/>
              </a:ext>
            </a:extLst>
          </p:cNvPr>
          <p:cNvCxnSpPr>
            <a:cxnSpLocks/>
          </p:cNvCxnSpPr>
          <p:nvPr/>
        </p:nvCxnSpPr>
        <p:spPr>
          <a:xfrm>
            <a:off x="4578776" y="6175076"/>
            <a:ext cx="18526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Přímá spojnice se šipkou 85">
            <a:extLst>
              <a:ext uri="{FF2B5EF4-FFF2-40B4-BE49-F238E27FC236}">
                <a16:creationId xmlns:a16="http://schemas.microsoft.com/office/drawing/2014/main" id="{B66BE79D-FE55-5D54-B187-B620056DC910}"/>
              </a:ext>
            </a:extLst>
          </p:cNvPr>
          <p:cNvCxnSpPr>
            <a:cxnSpLocks/>
          </p:cNvCxnSpPr>
          <p:nvPr/>
        </p:nvCxnSpPr>
        <p:spPr>
          <a:xfrm>
            <a:off x="3242600" y="2677616"/>
            <a:ext cx="209183" cy="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Přímá spojnice se šipkou 87">
            <a:extLst>
              <a:ext uri="{FF2B5EF4-FFF2-40B4-BE49-F238E27FC236}">
                <a16:creationId xmlns:a16="http://schemas.microsoft.com/office/drawing/2014/main" id="{61E07C34-BCB0-528C-3AE9-42D13866887A}"/>
              </a:ext>
            </a:extLst>
          </p:cNvPr>
          <p:cNvCxnSpPr>
            <a:cxnSpLocks/>
          </p:cNvCxnSpPr>
          <p:nvPr/>
        </p:nvCxnSpPr>
        <p:spPr>
          <a:xfrm>
            <a:off x="4055760" y="3906098"/>
            <a:ext cx="184042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Přímá spojnice se šipkou 88">
            <a:extLst>
              <a:ext uri="{FF2B5EF4-FFF2-40B4-BE49-F238E27FC236}">
                <a16:creationId xmlns:a16="http://schemas.microsoft.com/office/drawing/2014/main" id="{74BC8267-D45D-5984-14DE-15459C18D345}"/>
              </a:ext>
            </a:extLst>
          </p:cNvPr>
          <p:cNvCxnSpPr>
            <a:cxnSpLocks/>
          </p:cNvCxnSpPr>
          <p:nvPr/>
        </p:nvCxnSpPr>
        <p:spPr>
          <a:xfrm flipH="1">
            <a:off x="4046829" y="3714595"/>
            <a:ext cx="161331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AutoShape 6">
            <a:extLst>
              <a:ext uri="{FF2B5EF4-FFF2-40B4-BE49-F238E27FC236}">
                <a16:creationId xmlns:a16="http://schemas.microsoft.com/office/drawing/2014/main" id="{48E77024-EA7B-FEB0-4803-0FE43D73D2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79919" y="385510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1031" name="Obdélník 1030">
            <a:extLst>
              <a:ext uri="{FF2B5EF4-FFF2-40B4-BE49-F238E27FC236}">
                <a16:creationId xmlns:a16="http://schemas.microsoft.com/office/drawing/2014/main" id="{5E17B9D6-CF08-F864-6FFE-BA9E6B906B27}"/>
              </a:ext>
            </a:extLst>
          </p:cNvPr>
          <p:cNvSpPr/>
          <p:nvPr/>
        </p:nvSpPr>
        <p:spPr>
          <a:xfrm>
            <a:off x="0" y="0"/>
            <a:ext cx="12192000" cy="9873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8E33432-3F35-3B91-4CD1-14000ADD3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663" y="208454"/>
            <a:ext cx="1909227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2">
            <a:extLst>
              <a:ext uri="{FF2B5EF4-FFF2-40B4-BE49-F238E27FC236}">
                <a16:creationId xmlns:a16="http://schemas.microsoft.com/office/drawing/2014/main" id="{25723DD5-BBAE-83E8-48FE-1A54A1699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1065" y="204539"/>
            <a:ext cx="2417311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Grafický objekt 93">
            <a:extLst>
              <a:ext uri="{FF2B5EF4-FFF2-40B4-BE49-F238E27FC236}">
                <a16:creationId xmlns:a16="http://schemas.microsoft.com/office/drawing/2014/main" id="{80BAA0DA-5EA5-63A1-8D03-9F9F12ABBCB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508551" y="200233"/>
            <a:ext cx="1023342" cy="576000"/>
          </a:xfrm>
          <a:prstGeom prst="rect">
            <a:avLst/>
          </a:prstGeom>
        </p:spPr>
      </p:pic>
      <p:pic>
        <p:nvPicPr>
          <p:cNvPr id="95" name="Grafický objekt 94">
            <a:extLst>
              <a:ext uri="{FF2B5EF4-FFF2-40B4-BE49-F238E27FC236}">
                <a16:creationId xmlns:a16="http://schemas.microsoft.com/office/drawing/2014/main" id="{E48DCB60-3815-904B-64E8-F50251CC2AA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912068" y="169662"/>
            <a:ext cx="1362462" cy="648000"/>
          </a:xfrm>
          <a:prstGeom prst="rect">
            <a:avLst/>
          </a:prstGeom>
        </p:spPr>
      </p:pic>
      <p:sp>
        <p:nvSpPr>
          <p:cNvPr id="1034" name="Obdélník: se zakulacenými rohy 106">
            <a:extLst>
              <a:ext uri="{FF2B5EF4-FFF2-40B4-BE49-F238E27FC236}">
                <a16:creationId xmlns:a16="http://schemas.microsoft.com/office/drawing/2014/main" id="{52ED0E28-349D-4320-7E4C-36938D0EE420}"/>
              </a:ext>
            </a:extLst>
          </p:cNvPr>
          <p:cNvSpPr/>
          <p:nvPr/>
        </p:nvSpPr>
        <p:spPr>
          <a:xfrm rot="16200000">
            <a:off x="3878276" y="3754019"/>
            <a:ext cx="5440648" cy="360000"/>
          </a:xfrm>
          <a:prstGeom prst="rect">
            <a:avLst/>
          </a:prstGeom>
          <a:solidFill>
            <a:srgbClr val="1C2F67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zhraní pro agregaci sektoru budov</a:t>
            </a:r>
          </a:p>
        </p:txBody>
      </p:sp>
      <p:sp>
        <p:nvSpPr>
          <p:cNvPr id="1036" name="TextovéPole 1035">
            <a:extLst>
              <a:ext uri="{FF2B5EF4-FFF2-40B4-BE49-F238E27FC236}">
                <a16:creationId xmlns:a16="http://schemas.microsoft.com/office/drawing/2014/main" id="{5F4FF2AA-606D-D2E9-1107-5A12472C6389}"/>
              </a:ext>
            </a:extLst>
          </p:cNvPr>
          <p:cNvSpPr txBox="1"/>
          <p:nvPr/>
        </p:nvSpPr>
        <p:spPr>
          <a:xfrm>
            <a:off x="4837035" y="2052000"/>
            <a:ext cx="1568254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cs-CZ" sz="1200" dirty="0">
                <a:solidFill>
                  <a:schemeClr val="bg1"/>
                </a:solidFill>
              </a:rPr>
              <a:t>1) Dotaz na volnou kapacitu a </a:t>
            </a:r>
            <a:r>
              <a:rPr lang="cs-CZ" sz="1200" dirty="0" err="1">
                <a:solidFill>
                  <a:schemeClr val="bg1"/>
                </a:solidFill>
              </a:rPr>
              <a:t>baseline</a:t>
            </a:r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1037" name="TextovéPole 1036">
            <a:extLst>
              <a:ext uri="{FF2B5EF4-FFF2-40B4-BE49-F238E27FC236}">
                <a16:creationId xmlns:a16="http://schemas.microsoft.com/office/drawing/2014/main" id="{5F265120-C8BB-EA7F-7BC5-A30840F0D62B}"/>
              </a:ext>
            </a:extLst>
          </p:cNvPr>
          <p:cNvSpPr txBox="1"/>
          <p:nvPr/>
        </p:nvSpPr>
        <p:spPr>
          <a:xfrm>
            <a:off x="4837035" y="3067831"/>
            <a:ext cx="1568254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cs-CZ" sz="1200" dirty="0">
                <a:solidFill>
                  <a:schemeClr val="bg1"/>
                </a:solidFill>
              </a:rPr>
              <a:t>2) Rezervace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kapacity</a:t>
            </a:r>
          </a:p>
        </p:txBody>
      </p:sp>
      <p:sp>
        <p:nvSpPr>
          <p:cNvPr id="1038" name="TextovéPole 1037">
            <a:extLst>
              <a:ext uri="{FF2B5EF4-FFF2-40B4-BE49-F238E27FC236}">
                <a16:creationId xmlns:a16="http://schemas.microsoft.com/office/drawing/2014/main" id="{01C44650-1A51-0124-9582-2005A6458F36}"/>
              </a:ext>
            </a:extLst>
          </p:cNvPr>
          <p:cNvSpPr txBox="1"/>
          <p:nvPr/>
        </p:nvSpPr>
        <p:spPr>
          <a:xfrm>
            <a:off x="4837035" y="4207260"/>
            <a:ext cx="1568254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cs-CZ" sz="1200" dirty="0">
                <a:solidFill>
                  <a:schemeClr val="bg1"/>
                </a:solidFill>
              </a:rPr>
              <a:t>3) Aktivace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kapacity</a:t>
            </a:r>
          </a:p>
        </p:txBody>
      </p:sp>
      <p:sp>
        <p:nvSpPr>
          <p:cNvPr id="1039" name="TextovéPole 1038">
            <a:extLst>
              <a:ext uri="{FF2B5EF4-FFF2-40B4-BE49-F238E27FC236}">
                <a16:creationId xmlns:a16="http://schemas.microsoft.com/office/drawing/2014/main" id="{C63C7B54-CA0B-3A5C-B892-46E87FF22097}"/>
              </a:ext>
            </a:extLst>
          </p:cNvPr>
          <p:cNvSpPr txBox="1"/>
          <p:nvPr/>
        </p:nvSpPr>
        <p:spPr>
          <a:xfrm>
            <a:off x="4837035" y="5714680"/>
            <a:ext cx="1568254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cs-CZ" sz="1200" dirty="0">
                <a:solidFill>
                  <a:schemeClr val="bg1"/>
                </a:solidFill>
              </a:rPr>
              <a:t>4) Data pro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vypořádání</a:t>
            </a:r>
          </a:p>
        </p:txBody>
      </p:sp>
      <p:sp>
        <p:nvSpPr>
          <p:cNvPr id="1043" name="TextovéPole 1042">
            <a:extLst>
              <a:ext uri="{FF2B5EF4-FFF2-40B4-BE49-F238E27FC236}">
                <a16:creationId xmlns:a16="http://schemas.microsoft.com/office/drawing/2014/main" id="{5C246D35-299A-F1C6-F183-914511CFA1D2}"/>
              </a:ext>
            </a:extLst>
          </p:cNvPr>
          <p:cNvSpPr txBox="1"/>
          <p:nvPr/>
        </p:nvSpPr>
        <p:spPr>
          <a:xfrm>
            <a:off x="1858387" y="1297739"/>
            <a:ext cx="986534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cs-CZ" sz="1000" dirty="0">
                <a:solidFill>
                  <a:schemeClr val="bg1"/>
                </a:solidFill>
              </a:rPr>
              <a:t>Místní regulátory</a:t>
            </a:r>
          </a:p>
        </p:txBody>
      </p:sp>
      <p:sp>
        <p:nvSpPr>
          <p:cNvPr id="1044" name="TextovéPole 1043">
            <a:extLst>
              <a:ext uri="{FF2B5EF4-FFF2-40B4-BE49-F238E27FC236}">
                <a16:creationId xmlns:a16="http://schemas.microsoft.com/office/drawing/2014/main" id="{AA3C705B-5607-C0FA-665C-8F1D028FBE02}"/>
              </a:ext>
            </a:extLst>
          </p:cNvPr>
          <p:cNvSpPr txBox="1"/>
          <p:nvPr/>
        </p:nvSpPr>
        <p:spPr>
          <a:xfrm>
            <a:off x="1861446" y="2107455"/>
            <a:ext cx="986534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cs-CZ" sz="1000" dirty="0">
                <a:solidFill>
                  <a:schemeClr val="bg1"/>
                </a:solidFill>
              </a:rPr>
              <a:t>Místní senzory</a:t>
            </a:r>
          </a:p>
        </p:txBody>
      </p:sp>
      <p:sp>
        <p:nvSpPr>
          <p:cNvPr id="1045" name="TextovéPole 1044">
            <a:extLst>
              <a:ext uri="{FF2B5EF4-FFF2-40B4-BE49-F238E27FC236}">
                <a16:creationId xmlns:a16="http://schemas.microsoft.com/office/drawing/2014/main" id="{858E1124-C4FF-2347-47A6-F43551E58FDC}"/>
              </a:ext>
            </a:extLst>
          </p:cNvPr>
          <p:cNvSpPr txBox="1"/>
          <p:nvPr/>
        </p:nvSpPr>
        <p:spPr>
          <a:xfrm>
            <a:off x="1851056" y="2917172"/>
            <a:ext cx="986534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cs-CZ" sz="1000" dirty="0">
                <a:solidFill>
                  <a:schemeClr val="bg1"/>
                </a:solidFill>
              </a:rPr>
              <a:t>Místní elektroměr</a:t>
            </a:r>
          </a:p>
        </p:txBody>
      </p:sp>
      <p:cxnSp>
        <p:nvCxnSpPr>
          <p:cNvPr id="1067" name="Přímá spojnice se šipkou 1066">
            <a:extLst>
              <a:ext uri="{FF2B5EF4-FFF2-40B4-BE49-F238E27FC236}">
                <a16:creationId xmlns:a16="http://schemas.microsoft.com/office/drawing/2014/main" id="{588C9F8D-2027-E2AB-7734-CC3BF30F29F4}"/>
              </a:ext>
            </a:extLst>
          </p:cNvPr>
          <p:cNvCxnSpPr>
            <a:cxnSpLocks/>
          </p:cNvCxnSpPr>
          <p:nvPr/>
        </p:nvCxnSpPr>
        <p:spPr>
          <a:xfrm flipH="1">
            <a:off x="3248921" y="5155041"/>
            <a:ext cx="105614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068" name="Group 232">
            <a:extLst>
              <a:ext uri="{FF2B5EF4-FFF2-40B4-BE49-F238E27FC236}">
                <a16:creationId xmlns:a16="http://schemas.microsoft.com/office/drawing/2014/main" id="{792BF350-F566-FC41-7899-E5786AAC32C7}"/>
              </a:ext>
            </a:extLst>
          </p:cNvPr>
          <p:cNvGrpSpPr/>
          <p:nvPr/>
        </p:nvGrpSpPr>
        <p:grpSpPr>
          <a:xfrm>
            <a:off x="2117578" y="4426804"/>
            <a:ext cx="464512" cy="479556"/>
            <a:chOff x="5590636" y="4209178"/>
            <a:chExt cx="687689" cy="709961"/>
          </a:xfrm>
        </p:grpSpPr>
        <p:sp>
          <p:nvSpPr>
            <p:cNvPr id="1069" name="Obdélník: se zakulacenými rohy 98">
              <a:extLst>
                <a:ext uri="{FF2B5EF4-FFF2-40B4-BE49-F238E27FC236}">
                  <a16:creationId xmlns:a16="http://schemas.microsoft.com/office/drawing/2014/main" id="{12FA2845-8461-D0FE-1FE4-7739A1666BC3}"/>
                </a:ext>
              </a:extLst>
            </p:cNvPr>
            <p:cNvSpPr/>
            <p:nvPr/>
          </p:nvSpPr>
          <p:spPr>
            <a:xfrm>
              <a:off x="5590636" y="4209178"/>
              <a:ext cx="687689" cy="709961"/>
            </a:xfrm>
            <a:prstGeom prst="roundRect">
              <a:avLst>
                <a:gd name="adj" fmla="val 5712"/>
              </a:avLst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70" name="Obrázek 5">
              <a:extLst>
                <a:ext uri="{FF2B5EF4-FFF2-40B4-BE49-F238E27FC236}">
                  <a16:creationId xmlns:a16="http://schemas.microsoft.com/office/drawing/2014/main" id="{5DF97ADA-A8BD-6DAB-8821-0650FFD8A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8358" y="4229952"/>
              <a:ext cx="619800" cy="619800"/>
            </a:xfrm>
            <a:prstGeom prst="rect">
              <a:avLst/>
            </a:prstGeom>
          </p:spPr>
        </p:pic>
      </p:grpSp>
      <p:grpSp>
        <p:nvGrpSpPr>
          <p:cNvPr id="1071" name="Skupina 1070">
            <a:extLst>
              <a:ext uri="{FF2B5EF4-FFF2-40B4-BE49-F238E27FC236}">
                <a16:creationId xmlns:a16="http://schemas.microsoft.com/office/drawing/2014/main" id="{8AE4F4E5-84A9-47FA-5B92-535F818DED44}"/>
              </a:ext>
            </a:extLst>
          </p:cNvPr>
          <p:cNvGrpSpPr/>
          <p:nvPr/>
        </p:nvGrpSpPr>
        <p:grpSpPr>
          <a:xfrm>
            <a:off x="2120705" y="5236520"/>
            <a:ext cx="464512" cy="479557"/>
            <a:chOff x="2786086" y="3031223"/>
            <a:chExt cx="455337" cy="479557"/>
          </a:xfrm>
        </p:grpSpPr>
        <p:sp>
          <p:nvSpPr>
            <p:cNvPr id="1072" name="Obdélník: se zakulacenými rohy 98">
              <a:extLst>
                <a:ext uri="{FF2B5EF4-FFF2-40B4-BE49-F238E27FC236}">
                  <a16:creationId xmlns:a16="http://schemas.microsoft.com/office/drawing/2014/main" id="{0EAF2D70-3586-998D-8254-A63435BF1397}"/>
                </a:ext>
              </a:extLst>
            </p:cNvPr>
            <p:cNvSpPr/>
            <p:nvPr/>
          </p:nvSpPr>
          <p:spPr>
            <a:xfrm>
              <a:off x="2786086" y="3031223"/>
              <a:ext cx="455337" cy="479557"/>
            </a:xfrm>
            <a:prstGeom prst="roundRect">
              <a:avLst>
                <a:gd name="adj" fmla="val 5712"/>
              </a:avLst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73" name="Obrázek 38" descr="Teploměr">
              <a:extLst>
                <a:ext uri="{FF2B5EF4-FFF2-40B4-BE49-F238E27FC236}">
                  <a16:creationId xmlns:a16="http://schemas.microsoft.com/office/drawing/2014/main" id="{901472BE-375B-A268-69A2-8C8A4E4D8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845182" y="3080854"/>
              <a:ext cx="337146" cy="337147"/>
            </a:xfrm>
            <a:prstGeom prst="rect">
              <a:avLst/>
            </a:prstGeom>
          </p:spPr>
        </p:pic>
      </p:grpSp>
      <p:sp>
        <p:nvSpPr>
          <p:cNvPr id="1074" name="Obdélník: se zakulacenými rohy 106">
            <a:extLst>
              <a:ext uri="{FF2B5EF4-FFF2-40B4-BE49-F238E27FC236}">
                <a16:creationId xmlns:a16="http://schemas.microsoft.com/office/drawing/2014/main" id="{2909102B-7568-DE4E-19CB-10C727D97788}"/>
              </a:ext>
            </a:extLst>
          </p:cNvPr>
          <p:cNvSpPr/>
          <p:nvPr/>
        </p:nvSpPr>
        <p:spPr>
          <a:xfrm rot="16200000">
            <a:off x="1888028" y="5174653"/>
            <a:ext cx="2340000" cy="360000"/>
          </a:xfrm>
          <a:prstGeom prst="roundRect">
            <a:avLst>
              <a:gd name="adj" fmla="val 5712"/>
            </a:avLst>
          </a:prstGeom>
          <a:solidFill>
            <a:srgbClr val="12A1A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o II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75" name="Skupina 1074">
            <a:extLst>
              <a:ext uri="{FF2B5EF4-FFF2-40B4-BE49-F238E27FC236}">
                <a16:creationId xmlns:a16="http://schemas.microsoft.com/office/drawing/2014/main" id="{056AA189-4104-23E1-5174-D44EBB71833F}"/>
              </a:ext>
            </a:extLst>
          </p:cNvPr>
          <p:cNvGrpSpPr/>
          <p:nvPr/>
        </p:nvGrpSpPr>
        <p:grpSpPr>
          <a:xfrm>
            <a:off x="2113374" y="6046235"/>
            <a:ext cx="464512" cy="479557"/>
            <a:chOff x="3310522" y="5023168"/>
            <a:chExt cx="464512" cy="479557"/>
          </a:xfrm>
        </p:grpSpPr>
        <p:sp>
          <p:nvSpPr>
            <p:cNvPr id="1076" name="Obdélník: se zakulacenými rohy 98">
              <a:extLst>
                <a:ext uri="{FF2B5EF4-FFF2-40B4-BE49-F238E27FC236}">
                  <a16:creationId xmlns:a16="http://schemas.microsoft.com/office/drawing/2014/main" id="{D712B2B5-BE96-2C82-CF32-134CDEAC9654}"/>
                </a:ext>
              </a:extLst>
            </p:cNvPr>
            <p:cNvSpPr/>
            <p:nvPr/>
          </p:nvSpPr>
          <p:spPr>
            <a:xfrm>
              <a:off x="3310522" y="5023168"/>
              <a:ext cx="464512" cy="479557"/>
            </a:xfrm>
            <a:prstGeom prst="roundRect">
              <a:avLst>
                <a:gd name="adj" fmla="val 5712"/>
              </a:avLst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77" name="Obrázek 1076">
              <a:extLst>
                <a:ext uri="{FF2B5EF4-FFF2-40B4-BE49-F238E27FC236}">
                  <a16:creationId xmlns:a16="http://schemas.microsoft.com/office/drawing/2014/main" id="{69FC3B38-332B-FC61-57BE-F1B4DCE9F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52190" y="5045378"/>
              <a:ext cx="355274" cy="434322"/>
            </a:xfrm>
            <a:prstGeom prst="rect">
              <a:avLst/>
            </a:prstGeom>
          </p:spPr>
        </p:pic>
      </p:grpSp>
      <p:grpSp>
        <p:nvGrpSpPr>
          <p:cNvPr id="1078" name="Skupina 1077">
            <a:extLst>
              <a:ext uri="{FF2B5EF4-FFF2-40B4-BE49-F238E27FC236}">
                <a16:creationId xmlns:a16="http://schemas.microsoft.com/office/drawing/2014/main" id="{35119DF5-EF0A-D978-FBF6-CBFD1B0721FD}"/>
              </a:ext>
            </a:extLst>
          </p:cNvPr>
          <p:cNvGrpSpPr>
            <a:grpSpLocks noChangeAspect="1"/>
          </p:cNvGrpSpPr>
          <p:nvPr/>
        </p:nvGrpSpPr>
        <p:grpSpPr>
          <a:xfrm>
            <a:off x="134582" y="4184653"/>
            <a:ext cx="1618014" cy="2364873"/>
            <a:chOff x="446629" y="1862799"/>
            <a:chExt cx="1249181" cy="1825786"/>
          </a:xfrm>
        </p:grpSpPr>
        <p:sp>
          <p:nvSpPr>
            <p:cNvPr id="1079" name="Obdélník: se zakulacenými rohy 102">
              <a:extLst>
                <a:ext uri="{FF2B5EF4-FFF2-40B4-BE49-F238E27FC236}">
                  <a16:creationId xmlns:a16="http://schemas.microsoft.com/office/drawing/2014/main" id="{0625EBFF-9F01-38B2-DE0D-BE2C0A7F2B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7639" y="1874648"/>
              <a:ext cx="1234247" cy="1806583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80" name="Obrázek 17">
              <a:extLst>
                <a:ext uri="{FF2B5EF4-FFF2-40B4-BE49-F238E27FC236}">
                  <a16:creationId xmlns:a16="http://schemas.microsoft.com/office/drawing/2014/main" id="{411147FE-8D94-A60F-2E38-2AE4769345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5682" y="2625629"/>
              <a:ext cx="798251" cy="555872"/>
            </a:xfrm>
            <a:prstGeom prst="rect">
              <a:avLst/>
            </a:prstGeom>
          </p:spPr>
        </p:pic>
        <p:pic>
          <p:nvPicPr>
            <p:cNvPr id="1081" name="Obrázek 1080">
              <a:extLst>
                <a:ext uri="{FF2B5EF4-FFF2-40B4-BE49-F238E27FC236}">
                  <a16:creationId xmlns:a16="http://schemas.microsoft.com/office/drawing/2014/main" id="{4BB6A970-EAB3-53BC-4EBE-3DE3D58ACD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1949" y="3077126"/>
              <a:ext cx="853861" cy="611459"/>
            </a:xfrm>
            <a:prstGeom prst="rect">
              <a:avLst/>
            </a:prstGeom>
          </p:spPr>
        </p:pic>
        <p:sp>
          <p:nvSpPr>
            <p:cNvPr id="1082" name="Obdélník 51">
              <a:extLst>
                <a:ext uri="{FF2B5EF4-FFF2-40B4-BE49-F238E27FC236}">
                  <a16:creationId xmlns:a16="http://schemas.microsoft.com/office/drawing/2014/main" id="{77236969-65F1-7B51-EFB0-4F8E27C38241}"/>
                </a:ext>
              </a:extLst>
            </p:cNvPr>
            <p:cNvSpPr/>
            <p:nvPr/>
          </p:nvSpPr>
          <p:spPr>
            <a:xfrm>
              <a:off x="446629" y="1862799"/>
              <a:ext cx="1232848" cy="356426"/>
            </a:xfrm>
            <a:prstGeom prst="rect">
              <a:avLst/>
            </a:prstGeom>
            <a:ln w="38100" cap="rnd"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VAC &amp; 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cs-CZ" sz="1200" b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zařízení</a:t>
              </a:r>
              <a:endParaRPr kumimoji="0" lang="en-US" sz="12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83" name="Obrázek 1082">
              <a:extLst>
                <a:ext uri="{FF2B5EF4-FFF2-40B4-BE49-F238E27FC236}">
                  <a16:creationId xmlns:a16="http://schemas.microsoft.com/office/drawing/2014/main" id="{F25B9EA9-7F9E-C567-C46F-BD8973D3F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100" y="2118090"/>
              <a:ext cx="833808" cy="833808"/>
            </a:xfrm>
            <a:prstGeom prst="rect">
              <a:avLst/>
            </a:prstGeom>
          </p:spPr>
        </p:pic>
      </p:grpSp>
      <p:cxnSp>
        <p:nvCxnSpPr>
          <p:cNvPr id="1084" name="Přímá spojnice se šipkou 1083">
            <a:extLst>
              <a:ext uri="{FF2B5EF4-FFF2-40B4-BE49-F238E27FC236}">
                <a16:creationId xmlns:a16="http://schemas.microsoft.com/office/drawing/2014/main" id="{D6D15188-94B1-72B6-9CAC-F58CCE9DEF71}"/>
              </a:ext>
            </a:extLst>
          </p:cNvPr>
          <p:cNvCxnSpPr>
            <a:cxnSpLocks/>
          </p:cNvCxnSpPr>
          <p:nvPr/>
        </p:nvCxnSpPr>
        <p:spPr>
          <a:xfrm>
            <a:off x="3243907" y="5564657"/>
            <a:ext cx="209183" cy="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5" name="TextovéPole 1084">
            <a:extLst>
              <a:ext uri="{FF2B5EF4-FFF2-40B4-BE49-F238E27FC236}">
                <a16:creationId xmlns:a16="http://schemas.microsoft.com/office/drawing/2014/main" id="{BDF53F84-E7F9-A6F6-52BE-70AEFE5EC85B}"/>
              </a:ext>
            </a:extLst>
          </p:cNvPr>
          <p:cNvSpPr txBox="1"/>
          <p:nvPr/>
        </p:nvSpPr>
        <p:spPr>
          <a:xfrm>
            <a:off x="1859694" y="4184780"/>
            <a:ext cx="986534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cs-CZ" sz="1000" dirty="0">
                <a:solidFill>
                  <a:schemeClr val="bg1"/>
                </a:solidFill>
              </a:rPr>
              <a:t>Místní regulátory</a:t>
            </a:r>
          </a:p>
        </p:txBody>
      </p:sp>
      <p:sp>
        <p:nvSpPr>
          <p:cNvPr id="1086" name="TextovéPole 1085">
            <a:extLst>
              <a:ext uri="{FF2B5EF4-FFF2-40B4-BE49-F238E27FC236}">
                <a16:creationId xmlns:a16="http://schemas.microsoft.com/office/drawing/2014/main" id="{1813AD3D-BB02-E21B-CB20-F53D276555DC}"/>
              </a:ext>
            </a:extLst>
          </p:cNvPr>
          <p:cNvSpPr txBox="1"/>
          <p:nvPr/>
        </p:nvSpPr>
        <p:spPr>
          <a:xfrm>
            <a:off x="1862753" y="4994496"/>
            <a:ext cx="986534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cs-CZ" sz="1000" dirty="0">
                <a:solidFill>
                  <a:schemeClr val="bg1"/>
                </a:solidFill>
              </a:rPr>
              <a:t>Místní senzory</a:t>
            </a:r>
          </a:p>
        </p:txBody>
      </p:sp>
      <p:sp>
        <p:nvSpPr>
          <p:cNvPr id="1087" name="TextovéPole 1086">
            <a:extLst>
              <a:ext uri="{FF2B5EF4-FFF2-40B4-BE49-F238E27FC236}">
                <a16:creationId xmlns:a16="http://schemas.microsoft.com/office/drawing/2014/main" id="{2445BCB5-5959-7DC3-6459-714A304448BD}"/>
              </a:ext>
            </a:extLst>
          </p:cNvPr>
          <p:cNvSpPr txBox="1"/>
          <p:nvPr/>
        </p:nvSpPr>
        <p:spPr>
          <a:xfrm>
            <a:off x="1852363" y="5804213"/>
            <a:ext cx="986534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cs-CZ" sz="1000" dirty="0">
                <a:solidFill>
                  <a:schemeClr val="bg1"/>
                </a:solidFill>
              </a:rPr>
              <a:t>Místní elektroměr</a:t>
            </a:r>
          </a:p>
        </p:txBody>
      </p:sp>
      <p:sp>
        <p:nvSpPr>
          <p:cNvPr id="40" name="Obdélník: se zakulacenými rohy 106">
            <a:extLst>
              <a:ext uri="{FF2B5EF4-FFF2-40B4-BE49-F238E27FC236}">
                <a16:creationId xmlns:a16="http://schemas.microsoft.com/office/drawing/2014/main" id="{5AF33D7D-FA64-DA5A-136A-DCEE6A1F882D}"/>
              </a:ext>
            </a:extLst>
          </p:cNvPr>
          <p:cNvSpPr/>
          <p:nvPr/>
        </p:nvSpPr>
        <p:spPr>
          <a:xfrm rot="16200000">
            <a:off x="1009224" y="3664015"/>
            <a:ext cx="5440642" cy="540000"/>
          </a:xfrm>
          <a:prstGeom prst="rect">
            <a:avLst/>
          </a:prstGeom>
          <a:solidFill>
            <a:srgbClr val="0065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kční a optimalizační softwarový modu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 nadřazenou koordinaci více budov</a:t>
            </a:r>
          </a:p>
        </p:txBody>
      </p:sp>
      <p:sp>
        <p:nvSpPr>
          <p:cNvPr id="1035" name="Obdélník: se zakulacenými rohy 106">
            <a:extLst>
              <a:ext uri="{FF2B5EF4-FFF2-40B4-BE49-F238E27FC236}">
                <a16:creationId xmlns:a16="http://schemas.microsoft.com/office/drawing/2014/main" id="{9638955A-7F25-6BA5-8066-0CE93FC0C3F1}"/>
              </a:ext>
            </a:extLst>
          </p:cNvPr>
          <p:cNvSpPr/>
          <p:nvPr/>
        </p:nvSpPr>
        <p:spPr>
          <a:xfrm rot="16200000">
            <a:off x="1846710" y="3670026"/>
            <a:ext cx="5440648" cy="540000"/>
          </a:xfrm>
          <a:prstGeom prst="rect">
            <a:avLst/>
          </a:prstGeom>
          <a:solidFill>
            <a:srgbClr val="009999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ednotný obslužný bo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Facility agregátor)</a:t>
            </a:r>
          </a:p>
        </p:txBody>
      </p:sp>
    </p:spTree>
    <p:extLst>
      <p:ext uri="{BB962C8B-B14F-4D97-AF65-F5344CB8AC3E}">
        <p14:creationId xmlns:p14="http://schemas.microsoft.com/office/powerpoint/2010/main" val="3405535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Obrázek 38">
            <a:extLst>
              <a:ext uri="{FF2B5EF4-FFF2-40B4-BE49-F238E27FC236}">
                <a16:creationId xmlns:a16="http://schemas.microsoft.com/office/drawing/2014/main" id="{55EDE8EC-A47B-FE0B-5583-3C1496BEB0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5163" y="3114931"/>
            <a:ext cx="2796787" cy="2723759"/>
          </a:xfrm>
          <a:prstGeom prst="rect">
            <a:avLst/>
          </a:prstGeom>
        </p:spPr>
      </p:pic>
      <p:pic>
        <p:nvPicPr>
          <p:cNvPr id="34" name="Obrázek 33">
            <a:extLst>
              <a:ext uri="{FF2B5EF4-FFF2-40B4-BE49-F238E27FC236}">
                <a16:creationId xmlns:a16="http://schemas.microsoft.com/office/drawing/2014/main" id="{6613E291-2C5C-BA47-E450-FD9659DB05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21604" y="1320123"/>
            <a:ext cx="2798785" cy="2749103"/>
          </a:xfrm>
          <a:prstGeom prst="rect">
            <a:avLst/>
          </a:prstGeom>
        </p:spPr>
      </p:pic>
      <p:pic>
        <p:nvPicPr>
          <p:cNvPr id="19" name="Obrázek 18">
            <a:extLst>
              <a:ext uri="{FF2B5EF4-FFF2-40B4-BE49-F238E27FC236}">
                <a16:creationId xmlns:a16="http://schemas.microsoft.com/office/drawing/2014/main" id="{1ACB1380-31E6-89B0-0CE5-2815D7DB9C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76"/>
          <a:stretch>
            <a:fillRect/>
          </a:stretch>
        </p:blipFill>
        <p:spPr>
          <a:xfrm>
            <a:off x="3325410" y="3146885"/>
            <a:ext cx="2784634" cy="2749104"/>
          </a:xfrm>
          <a:prstGeom prst="rect">
            <a:avLst/>
          </a:prstGeom>
        </p:spPr>
      </p:pic>
      <p:pic>
        <p:nvPicPr>
          <p:cNvPr id="11" name="Picture 6" descr="Obsah obrázku železnice, venku, obloha, přeprava&#10;&#10;Popis se vygeneroval automaticky.">
            <a:extLst>
              <a:ext uri="{FF2B5EF4-FFF2-40B4-BE49-F238E27FC236}">
                <a16:creationId xmlns:a16="http://schemas.microsoft.com/office/drawing/2014/main" id="{C7377357-6F17-322F-70E5-23B92F62D3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3291" y="1312940"/>
            <a:ext cx="2798785" cy="2764198"/>
          </a:xfrm>
          <a:prstGeom prst="rect">
            <a:avLst/>
          </a:prstGeom>
          <a:noFill/>
        </p:spPr>
      </p:pic>
      <p:sp>
        <p:nvSpPr>
          <p:cNvPr id="35" name="Rectangle 17">
            <a:extLst>
              <a:ext uri="{FF2B5EF4-FFF2-40B4-BE49-F238E27FC236}">
                <a16:creationId xmlns:a16="http://schemas.microsoft.com/office/drawing/2014/main" id="{269D0FA0-F85B-396B-CD8C-D212043AD2D9}"/>
              </a:ext>
            </a:extLst>
          </p:cNvPr>
          <p:cNvSpPr/>
          <p:nvPr/>
        </p:nvSpPr>
        <p:spPr>
          <a:xfrm>
            <a:off x="410400" y="4198401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 Siemens Mobility</a:t>
            </a:r>
          </a:p>
          <a:p>
            <a:pPr>
              <a:lnSpc>
                <a:spcPct val="110000"/>
              </a:lnSpc>
              <a:defRPr/>
            </a:pPr>
            <a:r>
              <a:rPr lang="cs-CZ" sz="1600" dirty="0"/>
              <a:t>(lokomotivy </a:t>
            </a:r>
            <a:r>
              <a:rPr lang="cs-CZ" sz="1600" dirty="0" err="1"/>
              <a:t>Vectron</a:t>
            </a:r>
            <a:r>
              <a:rPr lang="cs-CZ" sz="1600" dirty="0"/>
              <a:t>)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0F662F-C583-48CA-A2CC-1C5492711C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0F662F-C583-48CA-A2CC-1C5492711CF7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53DF8CAD-82DE-7AE8-EF54-C5EFB51BE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7139947" cy="576000"/>
          </a:xfrm>
        </p:spPr>
        <p:txBody>
          <a:bodyPr vert="horz"/>
          <a:lstStyle/>
          <a:p>
            <a:r>
              <a:rPr lang="cs-CZ" dirty="0">
                <a:solidFill>
                  <a:srgbClr val="00FFB9"/>
                </a:solidFill>
              </a:rPr>
              <a:t>Siemens</a:t>
            </a:r>
            <a:r>
              <a:rPr lang="cs-CZ" dirty="0"/>
              <a:t> v České republice</a:t>
            </a:r>
            <a:endParaRPr lang="cs-CZ" noProof="0" dirty="0"/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E293EC5-D4F0-440D-ADFB-2FE69B0B0D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325838" y="3166538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BC61BDF-9471-43F6-B8FD-523CDB2F10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692" y="4056691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C058FB5B-E36A-D4CE-44CF-4A11C15A6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09663" y="4039913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4B7E85-61CD-456D-AEFE-33AFC70C58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7468DE-3506-F0FD-6A69-D74CEA102B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2</a:t>
            </a:fld>
            <a:endParaRPr lang="cs-CZ" noProof="0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8A94035-7AE6-47CB-9030-D6C19CFC3E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081736" y="3141371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17">
            <a:extLst>
              <a:ext uri="{FF2B5EF4-FFF2-40B4-BE49-F238E27FC236}">
                <a16:creationId xmlns:a16="http://schemas.microsoft.com/office/drawing/2014/main" id="{A23F5AE6-5C9A-ED39-7590-7F28B0B30669}"/>
              </a:ext>
            </a:extLst>
          </p:cNvPr>
          <p:cNvSpPr/>
          <p:nvPr/>
        </p:nvSpPr>
        <p:spPr>
          <a:xfrm>
            <a:off x="3296512" y="2130053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>
              <a:lnSpc>
                <a:spcPct val="110000"/>
              </a:lnSpc>
              <a:defRPr/>
            </a:pPr>
            <a:r>
              <a:rPr lang="cs-CZ" sz="1600" dirty="0"/>
              <a:t>… Siemens </a:t>
            </a:r>
            <a:r>
              <a:rPr lang="cs-CZ" sz="1600" dirty="0" err="1"/>
              <a:t>Healthineers</a:t>
            </a:r>
            <a:endParaRPr lang="cs-CZ" sz="1600" dirty="0"/>
          </a:p>
          <a:p>
            <a:pPr>
              <a:lnSpc>
                <a:spcPct val="110000"/>
              </a:lnSpc>
              <a:defRPr/>
            </a:pPr>
            <a:r>
              <a:rPr lang="cs-CZ" sz="1600" dirty="0"/>
              <a:t>(MR-</a:t>
            </a:r>
            <a:r>
              <a:rPr lang="cs-CZ" sz="1600" dirty="0" err="1"/>
              <a:t>Magnetom</a:t>
            </a:r>
            <a:r>
              <a:rPr lang="cs-CZ" sz="1600" dirty="0"/>
              <a:t> Sempra)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C31A3354-E993-8B14-B0FA-5021B0446DF6}"/>
              </a:ext>
            </a:extLst>
          </p:cNvPr>
          <p:cNvSpPr/>
          <p:nvPr/>
        </p:nvSpPr>
        <p:spPr>
          <a:xfrm>
            <a:off x="6215433" y="4200782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 Siemens </a:t>
            </a:r>
            <a:r>
              <a:rPr lang="cs-CZ" sz="1600" dirty="0" err="1">
                <a:solidFill>
                  <a:schemeClr val="tx1"/>
                </a:solidFill>
              </a:rPr>
              <a:t>Energy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</a:p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(plynová turbína SGT-400)</a:t>
            </a:r>
            <a:endParaRPr lang="cs-CZ" sz="1600" b="1" dirty="0">
              <a:solidFill>
                <a:srgbClr val="00C1B6"/>
              </a:solidFill>
            </a:endParaRPr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8312CAF6-8478-1B34-7946-6BED0420F346}"/>
              </a:ext>
            </a:extLst>
          </p:cNvPr>
          <p:cNvSpPr/>
          <p:nvPr/>
        </p:nvSpPr>
        <p:spPr>
          <a:xfrm>
            <a:off x="9092266" y="2127574"/>
            <a:ext cx="2796786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 Siemens Digital </a:t>
            </a:r>
            <a:r>
              <a:rPr lang="cs-CZ" sz="1600" dirty="0" err="1">
                <a:solidFill>
                  <a:schemeClr val="tx1"/>
                </a:solidFill>
              </a:rPr>
              <a:t>Industries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</a:p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(PLC </a:t>
            </a:r>
            <a:r>
              <a:rPr lang="cs-CZ" sz="1600" dirty="0" err="1">
                <a:solidFill>
                  <a:schemeClr val="tx1"/>
                </a:solidFill>
              </a:rPr>
              <a:t>Simatic</a:t>
            </a:r>
            <a:r>
              <a:rPr lang="cs-CZ" sz="1600" dirty="0">
                <a:solidFill>
                  <a:schemeClr val="tx1"/>
                </a:solidFill>
              </a:rPr>
              <a:t> S7-1500)</a:t>
            </a:r>
            <a:endParaRPr lang="cs-CZ" sz="1600" b="1" dirty="0">
              <a:solidFill>
                <a:srgbClr val="00C1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580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C878440-6DE8-4EFB-C924-717B1AA77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" name="Obdélník: se zakulacenými rohy 106">
            <a:extLst>
              <a:ext uri="{FF2B5EF4-FFF2-40B4-BE49-F238E27FC236}">
                <a16:creationId xmlns:a16="http://schemas.microsoft.com/office/drawing/2014/main" id="{424880DB-F0CE-84EB-A833-5D4A9CD9EB2F}"/>
              </a:ext>
            </a:extLst>
          </p:cNvPr>
          <p:cNvSpPr/>
          <p:nvPr/>
        </p:nvSpPr>
        <p:spPr>
          <a:xfrm rot="16200000">
            <a:off x="6037880" y="1616755"/>
            <a:ext cx="2468156" cy="7804786"/>
          </a:xfrm>
          <a:prstGeom prst="rect">
            <a:avLst/>
          </a:prstGeom>
          <a:solidFill>
            <a:schemeClr val="accent1">
              <a:alpha val="24000"/>
            </a:schemeClr>
          </a:solidFill>
          <a:ln w="349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Obdélník: se zakulacenými rohy 106">
            <a:extLst>
              <a:ext uri="{FF2B5EF4-FFF2-40B4-BE49-F238E27FC236}">
                <a16:creationId xmlns:a16="http://schemas.microsoft.com/office/drawing/2014/main" id="{8461DC58-9235-AF6D-0EC0-32A170674F04}"/>
              </a:ext>
            </a:extLst>
          </p:cNvPr>
          <p:cNvSpPr/>
          <p:nvPr/>
        </p:nvSpPr>
        <p:spPr>
          <a:xfrm rot="16200000">
            <a:off x="3985475" y="3957355"/>
            <a:ext cx="1215980" cy="197606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</a:t>
            </a: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</a:t>
            </a: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ní model energetické potřeby budov a výroby lokálních OZE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bdélník: se zakulacenými rohy 106">
            <a:extLst>
              <a:ext uri="{FF2B5EF4-FFF2-40B4-BE49-F238E27FC236}">
                <a16:creationId xmlns:a16="http://schemas.microsoft.com/office/drawing/2014/main" id="{369BFBCF-B891-5C1E-1C01-090A74151764}"/>
              </a:ext>
            </a:extLst>
          </p:cNvPr>
          <p:cNvSpPr/>
          <p:nvPr/>
        </p:nvSpPr>
        <p:spPr>
          <a:xfrm rot="16200000">
            <a:off x="1205195" y="2314299"/>
            <a:ext cx="884296" cy="1426449"/>
          </a:xfrm>
          <a:prstGeom prst="rect">
            <a:avLst/>
          </a:prstGeom>
          <a:solidFill>
            <a:schemeClr val="accent6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stav budov (HVAC, baterie, OZE)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08" name="Group 1107">
            <a:extLst>
              <a:ext uri="{FF2B5EF4-FFF2-40B4-BE49-F238E27FC236}">
                <a16:creationId xmlns:a16="http://schemas.microsoft.com/office/drawing/2014/main" id="{3C923368-E570-2D04-C45E-CACE743829DE}"/>
              </a:ext>
            </a:extLst>
          </p:cNvPr>
          <p:cNvGrpSpPr/>
          <p:nvPr/>
        </p:nvGrpSpPr>
        <p:grpSpPr>
          <a:xfrm>
            <a:off x="1079683" y="6055088"/>
            <a:ext cx="1997035" cy="707662"/>
            <a:chOff x="860608" y="5683613"/>
            <a:chExt cx="1997035" cy="707662"/>
          </a:xfrm>
        </p:grpSpPr>
        <p:sp>
          <p:nvSpPr>
            <p:cNvPr id="3" name="Obdélník: se zakulacenými rohy 106">
              <a:extLst>
                <a:ext uri="{FF2B5EF4-FFF2-40B4-BE49-F238E27FC236}">
                  <a16:creationId xmlns:a16="http://schemas.microsoft.com/office/drawing/2014/main" id="{8F3A6542-FE45-7C53-2E24-4920200D8279}"/>
                </a:ext>
              </a:extLst>
            </p:cNvPr>
            <p:cNvSpPr/>
            <p:nvPr/>
          </p:nvSpPr>
          <p:spPr>
            <a:xfrm rot="16200000">
              <a:off x="1722264" y="5255896"/>
              <a:ext cx="707662" cy="1563096"/>
            </a:xfrm>
            <a:prstGeom prst="rect">
              <a:avLst/>
            </a:prstGeom>
            <a:solidFill>
              <a:schemeClr val="accent4"/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ředpověď počasí (teplota, osvit)</a:t>
              </a:r>
              <a:endPara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7" name="Obrázek 153">
              <a:extLst>
                <a:ext uri="{FF2B5EF4-FFF2-40B4-BE49-F238E27FC236}">
                  <a16:creationId xmlns:a16="http://schemas.microsoft.com/office/drawing/2014/main" id="{A9CB2F67-7DFA-CA30-8EAC-C07FBDD5A7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60608" y="5902304"/>
              <a:ext cx="379958" cy="270280"/>
            </a:xfrm>
            <a:prstGeom prst="rect">
              <a:avLst/>
            </a:prstGeom>
          </p:spPr>
        </p:pic>
      </p:grpSp>
      <p:pic>
        <p:nvPicPr>
          <p:cNvPr id="35" name="Obrázek 50">
            <a:extLst>
              <a:ext uri="{FF2B5EF4-FFF2-40B4-BE49-F238E27FC236}">
                <a16:creationId xmlns:a16="http://schemas.microsoft.com/office/drawing/2014/main" id="{85EB934F-BB78-5409-9FA7-708E92F634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599" y="4331423"/>
            <a:ext cx="235679" cy="436611"/>
          </a:xfrm>
          <a:prstGeom prst="rect">
            <a:avLst/>
          </a:prstGeom>
        </p:spPr>
      </p:pic>
      <p:grpSp>
        <p:nvGrpSpPr>
          <p:cNvPr id="1107" name="Group 1106">
            <a:extLst>
              <a:ext uri="{FF2B5EF4-FFF2-40B4-BE49-F238E27FC236}">
                <a16:creationId xmlns:a16="http://schemas.microsoft.com/office/drawing/2014/main" id="{20CD827F-2DF8-41DE-5E19-84946F395FB5}"/>
              </a:ext>
            </a:extLst>
          </p:cNvPr>
          <p:cNvGrpSpPr/>
          <p:nvPr/>
        </p:nvGrpSpPr>
        <p:grpSpPr>
          <a:xfrm>
            <a:off x="1177437" y="5240768"/>
            <a:ext cx="1899282" cy="735227"/>
            <a:chOff x="958362" y="4802618"/>
            <a:chExt cx="1899282" cy="735227"/>
          </a:xfrm>
        </p:grpSpPr>
        <p:sp>
          <p:nvSpPr>
            <p:cNvPr id="6" name="Obdélník: se zakulacenými rohy 106">
              <a:extLst>
                <a:ext uri="{FF2B5EF4-FFF2-40B4-BE49-F238E27FC236}">
                  <a16:creationId xmlns:a16="http://schemas.microsoft.com/office/drawing/2014/main" id="{9A1184D2-95ED-6A23-9CCA-17418F043CF0}"/>
                </a:ext>
              </a:extLst>
            </p:cNvPr>
            <p:cNvSpPr/>
            <p:nvPr/>
          </p:nvSpPr>
          <p:spPr>
            <a:xfrm rot="16200000">
              <a:off x="1708484" y="4388686"/>
              <a:ext cx="735227" cy="1563092"/>
            </a:xfrm>
            <a:prstGeom prst="rect">
              <a:avLst/>
            </a:prstGeom>
            <a:solidFill>
              <a:srgbClr val="996633"/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ktuální čas (denní doba, den v týdnu)</a:t>
              </a:r>
              <a:endPara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FCFB577A-A47D-7DA5-6DF9-E2B64D8A2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58362" y="5020652"/>
              <a:ext cx="282204" cy="2822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8" name="Obdélník: se zakulacenými rohy 106">
            <a:extLst>
              <a:ext uri="{FF2B5EF4-FFF2-40B4-BE49-F238E27FC236}">
                <a16:creationId xmlns:a16="http://schemas.microsoft.com/office/drawing/2014/main" id="{4402A72C-9928-C5CD-C7C5-561B9196B2FA}"/>
              </a:ext>
            </a:extLst>
          </p:cNvPr>
          <p:cNvSpPr/>
          <p:nvPr/>
        </p:nvSpPr>
        <p:spPr>
          <a:xfrm rot="16200000">
            <a:off x="6392376" y="5186383"/>
            <a:ext cx="1030116" cy="197606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ochastický model uživatelské energie v budovách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Obdélník: se zakulacenými rohy 106">
            <a:extLst>
              <a:ext uri="{FF2B5EF4-FFF2-40B4-BE49-F238E27FC236}">
                <a16:creationId xmlns:a16="http://schemas.microsoft.com/office/drawing/2014/main" id="{C659FFF7-7783-A00B-6153-AB823B7C35BB}"/>
              </a:ext>
            </a:extLst>
          </p:cNvPr>
          <p:cNvSpPr/>
          <p:nvPr/>
        </p:nvSpPr>
        <p:spPr>
          <a:xfrm rot="16200000">
            <a:off x="6370661" y="3885396"/>
            <a:ext cx="1073546" cy="197606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cký model odezvy jednotlivých zařízení HVA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Obdélník: se zakulacenými rohy 106">
            <a:extLst>
              <a:ext uri="{FF2B5EF4-FFF2-40B4-BE49-F238E27FC236}">
                <a16:creationId xmlns:a16="http://schemas.microsoft.com/office/drawing/2014/main" id="{CFFD63DC-FEE6-AC8D-1819-204702605F28}"/>
              </a:ext>
            </a:extLst>
          </p:cNvPr>
          <p:cNvSpPr/>
          <p:nvPr/>
        </p:nvSpPr>
        <p:spPr>
          <a:xfrm rot="16200000">
            <a:off x="4176052" y="2538884"/>
            <a:ext cx="835691" cy="159021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vantifikace potenciálu flexibility (nabídka)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Obdélník: se zakulacenými rohy 106">
            <a:extLst>
              <a:ext uri="{FF2B5EF4-FFF2-40B4-BE49-F238E27FC236}">
                <a16:creationId xmlns:a16="http://schemas.microsoft.com/office/drawing/2014/main" id="{90525BCC-C54C-A864-1C36-1E8360678670}"/>
              </a:ext>
            </a:extLst>
          </p:cNvPr>
          <p:cNvSpPr/>
          <p:nvPr/>
        </p:nvSpPr>
        <p:spPr>
          <a:xfrm rot="16200000">
            <a:off x="6508594" y="2429358"/>
            <a:ext cx="795329" cy="183869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átkodobá predikce odběrového diagramu za agregační blok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Obdélník: se zakulacenými rohy 106">
            <a:extLst>
              <a:ext uri="{FF2B5EF4-FFF2-40B4-BE49-F238E27FC236}">
                <a16:creationId xmlns:a16="http://schemas.microsoft.com/office/drawing/2014/main" id="{17BD4EB3-8B3B-6128-727A-3663C2167BB8}"/>
              </a:ext>
            </a:extLst>
          </p:cNvPr>
          <p:cNvSpPr/>
          <p:nvPr/>
        </p:nvSpPr>
        <p:spPr>
          <a:xfrm rot="16200000">
            <a:off x="9040064" y="3940676"/>
            <a:ext cx="1340505" cy="2463744"/>
          </a:xfrm>
          <a:prstGeom prst="rect">
            <a:avLst/>
          </a:prstGeom>
          <a:solidFill>
            <a:srgbClr val="FF4747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imalizace akčního zásahu pro zařízení budov pro dosažení kýžené odezvy a odběrového diagramu (dodávky služby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5" name="Spojnice: pravoúhlá 24">
            <a:extLst>
              <a:ext uri="{FF2B5EF4-FFF2-40B4-BE49-F238E27FC236}">
                <a16:creationId xmlns:a16="http://schemas.microsoft.com/office/drawing/2014/main" id="{BF283359-AF2B-CAF5-491C-82EFF9A88303}"/>
              </a:ext>
            </a:extLst>
          </p:cNvPr>
          <p:cNvCxnSpPr>
            <a:cxnSpLocks/>
          </p:cNvCxnSpPr>
          <p:nvPr/>
        </p:nvCxnSpPr>
        <p:spPr>
          <a:xfrm flipV="1">
            <a:off x="3313834" y="3901238"/>
            <a:ext cx="7728415" cy="37413"/>
          </a:xfrm>
          <a:prstGeom prst="straightConnector1">
            <a:avLst/>
          </a:prstGeom>
          <a:ln w="698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34EBFEED-6A29-8F09-2C83-BADE36421C18}"/>
              </a:ext>
            </a:extLst>
          </p:cNvPr>
          <p:cNvSpPr txBox="1"/>
          <p:nvPr/>
        </p:nvSpPr>
        <p:spPr>
          <a:xfrm>
            <a:off x="4612733" y="3925263"/>
            <a:ext cx="523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-1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4B39018-F015-2EE0-466A-9C0B65A2260F}"/>
              </a:ext>
            </a:extLst>
          </p:cNvPr>
          <p:cNvSpPr txBox="1"/>
          <p:nvPr/>
        </p:nvSpPr>
        <p:spPr>
          <a:xfrm>
            <a:off x="5829050" y="3933185"/>
            <a:ext cx="1139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-30 min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187E491-A5B5-9FD1-DE7C-A3362976E6D6}"/>
              </a:ext>
            </a:extLst>
          </p:cNvPr>
          <p:cNvSpPr txBox="1"/>
          <p:nvPr/>
        </p:nvSpPr>
        <p:spPr>
          <a:xfrm>
            <a:off x="10367661" y="3930720"/>
            <a:ext cx="523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D335737-D3C2-3CBD-1F18-12FC673F3E74}"/>
              </a:ext>
            </a:extLst>
          </p:cNvPr>
          <p:cNvSpPr txBox="1"/>
          <p:nvPr/>
        </p:nvSpPr>
        <p:spPr>
          <a:xfrm>
            <a:off x="8377018" y="3933185"/>
            <a:ext cx="13076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+12,5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3" name="Obrázek 50">
            <a:extLst>
              <a:ext uri="{FF2B5EF4-FFF2-40B4-BE49-F238E27FC236}">
                <a16:creationId xmlns:a16="http://schemas.microsoft.com/office/drawing/2014/main" id="{6DFA509E-4FBB-87D2-E74C-56EEBEC732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6696" y="4326774"/>
            <a:ext cx="235679" cy="436611"/>
          </a:xfrm>
          <a:prstGeom prst="rect">
            <a:avLst/>
          </a:prstGeom>
        </p:spPr>
      </p:pic>
      <p:pic>
        <p:nvPicPr>
          <p:cNvPr id="76" name="Graphic 190" descr="Group of men with solid fill">
            <a:extLst>
              <a:ext uri="{FF2B5EF4-FFF2-40B4-BE49-F238E27FC236}">
                <a16:creationId xmlns:a16="http://schemas.microsoft.com/office/drawing/2014/main" id="{D44C617B-F531-0A5B-BC3D-6B68152D93B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54651" y="6280463"/>
            <a:ext cx="425536" cy="425536"/>
          </a:xfrm>
          <a:prstGeom prst="rect">
            <a:avLst/>
          </a:prstGeom>
        </p:spPr>
      </p:pic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E956A7DC-D1C6-F86A-372F-66A8C6759FB1}"/>
              </a:ext>
            </a:extLst>
          </p:cNvPr>
          <p:cNvCxnSpPr>
            <a:cxnSpLocks/>
            <a:stCxn id="6" idx="3"/>
          </p:cNvCxnSpPr>
          <p:nvPr/>
        </p:nvCxnSpPr>
        <p:spPr>
          <a:xfrm rot="5400000" flipH="1" flipV="1">
            <a:off x="2802612" y="4437948"/>
            <a:ext cx="295383" cy="1310261"/>
          </a:xfrm>
          <a:prstGeom prst="bentConnector4">
            <a:avLst>
              <a:gd name="adj1" fmla="val 96739"/>
              <a:gd name="adj2" fmla="val 78531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FFB4CD93-410D-88E4-8341-BD066AFF0285}"/>
              </a:ext>
            </a:extLst>
          </p:cNvPr>
          <p:cNvCxnSpPr>
            <a:cxnSpLocks/>
          </p:cNvCxnSpPr>
          <p:nvPr/>
        </p:nvCxnSpPr>
        <p:spPr>
          <a:xfrm flipV="1">
            <a:off x="3076718" y="5553376"/>
            <a:ext cx="1516747" cy="855543"/>
          </a:xfrm>
          <a:prstGeom prst="bentConnector2">
            <a:avLst/>
          </a:prstGeom>
          <a:ln w="254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6" name="Obdélník: se zakulacenými rohy 106">
            <a:extLst>
              <a:ext uri="{FF2B5EF4-FFF2-40B4-BE49-F238E27FC236}">
                <a16:creationId xmlns:a16="http://schemas.microsoft.com/office/drawing/2014/main" id="{503EFB3F-7947-C9CD-99E6-80500BC29361}"/>
              </a:ext>
            </a:extLst>
          </p:cNvPr>
          <p:cNvSpPr/>
          <p:nvPr/>
        </p:nvSpPr>
        <p:spPr>
          <a:xfrm rot="16200000">
            <a:off x="5881463" y="-376429"/>
            <a:ext cx="614983" cy="5552703"/>
          </a:xfrm>
          <a:prstGeom prst="rect">
            <a:avLst/>
          </a:prstGeom>
          <a:solidFill>
            <a:srgbClr val="009999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tforma technické agrega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jednotným obslužným uzlem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0" name="Obdélník: se zakulacenými rohy 106">
            <a:extLst>
              <a:ext uri="{FF2B5EF4-FFF2-40B4-BE49-F238E27FC236}">
                <a16:creationId xmlns:a16="http://schemas.microsoft.com/office/drawing/2014/main" id="{59BCF1C3-EF53-3CE2-5923-9904058D1E19}"/>
              </a:ext>
            </a:extLst>
          </p:cNvPr>
          <p:cNvSpPr/>
          <p:nvPr/>
        </p:nvSpPr>
        <p:spPr>
          <a:xfrm>
            <a:off x="413493" y="3989504"/>
            <a:ext cx="907892" cy="251765"/>
          </a:xfrm>
          <a:prstGeom prst="rect">
            <a:avLst/>
          </a:prstGeom>
          <a:solidFill>
            <a:srgbClr val="009999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o</a:t>
            </a:r>
            <a:endParaRPr kumimoji="0" lang="en-US" sz="1400" b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Obdélník: se zakulacenými rohy 106">
            <a:extLst>
              <a:ext uri="{FF2B5EF4-FFF2-40B4-BE49-F238E27FC236}">
                <a16:creationId xmlns:a16="http://schemas.microsoft.com/office/drawing/2014/main" id="{C0FC0FA1-0F6E-381F-FDFB-9367CC7D94F2}"/>
              </a:ext>
            </a:extLst>
          </p:cNvPr>
          <p:cNvSpPr/>
          <p:nvPr/>
        </p:nvSpPr>
        <p:spPr>
          <a:xfrm>
            <a:off x="1919976" y="3991356"/>
            <a:ext cx="907892" cy="251765"/>
          </a:xfrm>
          <a:prstGeom prst="rect">
            <a:avLst/>
          </a:prstGeom>
          <a:solidFill>
            <a:srgbClr val="009999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o</a:t>
            </a:r>
            <a:endParaRPr kumimoji="0" lang="en-US" sz="1400" b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TextovéPole 55">
            <a:extLst>
              <a:ext uri="{FF2B5EF4-FFF2-40B4-BE49-F238E27FC236}">
                <a16:creationId xmlns:a16="http://schemas.microsoft.com/office/drawing/2014/main" id="{FF0029E7-242F-8F16-8938-A823DB298A87}"/>
              </a:ext>
            </a:extLst>
          </p:cNvPr>
          <p:cNvSpPr txBox="1"/>
          <p:nvPr/>
        </p:nvSpPr>
        <p:spPr>
          <a:xfrm>
            <a:off x="1403364" y="4229667"/>
            <a:ext cx="4683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4" name="TextovéPole 55">
            <a:extLst>
              <a:ext uri="{FF2B5EF4-FFF2-40B4-BE49-F238E27FC236}">
                <a16:creationId xmlns:a16="http://schemas.microsoft.com/office/drawing/2014/main" id="{A5F54982-33C5-7CE7-241C-C46578ACD05C}"/>
              </a:ext>
            </a:extLst>
          </p:cNvPr>
          <p:cNvSpPr txBox="1"/>
          <p:nvPr/>
        </p:nvSpPr>
        <p:spPr>
          <a:xfrm>
            <a:off x="1408943" y="3750440"/>
            <a:ext cx="4683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5" name="Connector: Elbow 144">
            <a:extLst>
              <a:ext uri="{FF2B5EF4-FFF2-40B4-BE49-F238E27FC236}">
                <a16:creationId xmlns:a16="http://schemas.microsoft.com/office/drawing/2014/main" id="{E7BFE707-9976-7E59-90FA-EFA38EE558A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97475" y="3339636"/>
            <a:ext cx="519832" cy="779905"/>
          </a:xfrm>
          <a:prstGeom prst="bentConnector3">
            <a:avLst>
              <a:gd name="adj1" fmla="val 50000"/>
            </a:avLst>
          </a:prstGeom>
          <a:ln w="25400">
            <a:solidFill>
              <a:srgbClr val="12A1A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2" name="Connector: Elbow 151">
            <a:extLst>
              <a:ext uri="{FF2B5EF4-FFF2-40B4-BE49-F238E27FC236}">
                <a16:creationId xmlns:a16="http://schemas.microsoft.com/office/drawing/2014/main" id="{31A85FA0-130A-EB6B-2779-C4B779F41F76}"/>
              </a:ext>
            </a:extLst>
          </p:cNvPr>
          <p:cNvCxnSpPr>
            <a:cxnSpLocks/>
          </p:cNvCxnSpPr>
          <p:nvPr/>
        </p:nvCxnSpPr>
        <p:spPr>
          <a:xfrm rot="16200000" flipV="1">
            <a:off x="1749791" y="3367225"/>
            <a:ext cx="521684" cy="726578"/>
          </a:xfrm>
          <a:prstGeom prst="bentConnector3">
            <a:avLst>
              <a:gd name="adj1" fmla="val 50000"/>
            </a:avLst>
          </a:prstGeom>
          <a:ln w="25400">
            <a:solidFill>
              <a:srgbClr val="12A1A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0D96E5C7-D14B-9A1B-289C-4584B530625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437246" y="1610020"/>
            <a:ext cx="185454" cy="1765259"/>
          </a:xfrm>
          <a:prstGeom prst="bentConnector4">
            <a:avLst>
              <a:gd name="adj1" fmla="val 103342"/>
              <a:gd name="adj2" fmla="val 69665"/>
            </a:avLst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B4DA9AB0-CEA9-A623-5CE8-C9AFD8B0D6F6}"/>
              </a:ext>
            </a:extLst>
          </p:cNvPr>
          <p:cNvCxnSpPr>
            <a:cxnSpLocks/>
          </p:cNvCxnSpPr>
          <p:nvPr/>
        </p:nvCxnSpPr>
        <p:spPr>
          <a:xfrm>
            <a:off x="8965306" y="2399922"/>
            <a:ext cx="745011" cy="2102374"/>
          </a:xfrm>
          <a:prstGeom prst="bentConnector2">
            <a:avLst/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E200B17B-BDDF-3956-09AE-521798BF62D5}"/>
              </a:ext>
            </a:extLst>
          </p:cNvPr>
          <p:cNvCxnSpPr>
            <a:cxnSpLocks/>
          </p:cNvCxnSpPr>
          <p:nvPr/>
        </p:nvCxnSpPr>
        <p:spPr>
          <a:xfrm rot="16200000" flipV="1">
            <a:off x="8319107" y="2941852"/>
            <a:ext cx="2198689" cy="922195"/>
          </a:xfrm>
          <a:prstGeom prst="bentConnector3">
            <a:avLst>
              <a:gd name="adj1" fmla="val 100410"/>
            </a:avLst>
          </a:prstGeom>
          <a:ln w="25400">
            <a:solidFill>
              <a:srgbClr val="FF4747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7D4AE0F2-AEBB-E573-71E5-43C99EE1855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365096" y="2303605"/>
            <a:ext cx="2047506" cy="287220"/>
          </a:xfrm>
          <a:prstGeom prst="bentConnector3">
            <a:avLst>
              <a:gd name="adj1" fmla="val 100072"/>
            </a:avLst>
          </a:prstGeom>
          <a:ln w="25400">
            <a:solidFill>
              <a:srgbClr val="FF4747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277FC022-A378-0EC6-E387-B9203F82C071}"/>
              </a:ext>
            </a:extLst>
          </p:cNvPr>
          <p:cNvCxnSpPr>
            <a:cxnSpLocks/>
          </p:cNvCxnSpPr>
          <p:nvPr/>
        </p:nvCxnSpPr>
        <p:spPr>
          <a:xfrm rot="5400000">
            <a:off x="669811" y="3518892"/>
            <a:ext cx="530098" cy="431658"/>
          </a:xfrm>
          <a:prstGeom prst="bentConnector3">
            <a:avLst>
              <a:gd name="adj1" fmla="val 29091"/>
            </a:avLst>
          </a:prstGeom>
          <a:ln w="25400">
            <a:solidFill>
              <a:srgbClr val="FF4747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88" name="Connector: Elbow 187">
            <a:extLst>
              <a:ext uri="{FF2B5EF4-FFF2-40B4-BE49-F238E27FC236}">
                <a16:creationId xmlns:a16="http://schemas.microsoft.com/office/drawing/2014/main" id="{777EBADA-076C-1A6E-936C-8BA32E69E8D6}"/>
              </a:ext>
            </a:extLst>
          </p:cNvPr>
          <p:cNvCxnSpPr>
            <a:cxnSpLocks/>
          </p:cNvCxnSpPr>
          <p:nvPr/>
        </p:nvCxnSpPr>
        <p:spPr>
          <a:xfrm rot="16200000" flipH="1">
            <a:off x="1994099" y="3481999"/>
            <a:ext cx="541081" cy="508012"/>
          </a:xfrm>
          <a:prstGeom prst="bentConnector3">
            <a:avLst>
              <a:gd name="adj1" fmla="val 27809"/>
            </a:avLst>
          </a:prstGeom>
          <a:ln w="25400">
            <a:solidFill>
              <a:srgbClr val="FF4747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26" name="Picture 2" descr="Chart, diagram, dynamic, graph icon - Download on Iconfinder">
            <a:extLst>
              <a:ext uri="{FF2B5EF4-FFF2-40B4-BE49-F238E27FC236}">
                <a16:creationId xmlns:a16="http://schemas.microsoft.com/office/drawing/2014/main" id="{96B71307-2800-8ED9-5465-65FE4C6696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3384" y="4884054"/>
            <a:ext cx="542112" cy="54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289DCD96-2657-6953-ACB9-4E528247AAF6}"/>
              </a:ext>
            </a:extLst>
          </p:cNvPr>
          <p:cNvCxnSpPr>
            <a:cxnSpLocks/>
          </p:cNvCxnSpPr>
          <p:nvPr/>
        </p:nvCxnSpPr>
        <p:spPr>
          <a:xfrm flipV="1">
            <a:off x="4593465" y="3751838"/>
            <a:ext cx="433" cy="585558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33" name="Connector: Elbow 190">
            <a:extLst>
              <a:ext uri="{FF2B5EF4-FFF2-40B4-BE49-F238E27FC236}">
                <a16:creationId xmlns:a16="http://schemas.microsoft.com/office/drawing/2014/main" id="{E285DFF5-DD07-6567-763A-E112591D55C7}"/>
              </a:ext>
            </a:extLst>
          </p:cNvPr>
          <p:cNvCxnSpPr>
            <a:cxnSpLocks/>
          </p:cNvCxnSpPr>
          <p:nvPr/>
        </p:nvCxnSpPr>
        <p:spPr>
          <a:xfrm flipV="1">
            <a:off x="4614993" y="2685500"/>
            <a:ext cx="0" cy="230646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40" name="Picture 4">
            <a:extLst>
              <a:ext uri="{FF2B5EF4-FFF2-40B4-BE49-F238E27FC236}">
                <a16:creationId xmlns:a16="http://schemas.microsoft.com/office/drawing/2014/main" id="{F1252082-6549-7450-2A60-6ED37947DC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9495" y="5184498"/>
            <a:ext cx="349357" cy="341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1043">
            <a:extLst>
              <a:ext uri="{FF2B5EF4-FFF2-40B4-BE49-F238E27FC236}">
                <a16:creationId xmlns:a16="http://schemas.microsoft.com/office/drawing/2014/main" id="{CA219013-EA11-4231-10A5-A35ACEE3BB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21501" y="5429250"/>
            <a:ext cx="358844" cy="358844"/>
          </a:xfrm>
          <a:prstGeom prst="rect">
            <a:avLst/>
          </a:prstGeom>
        </p:spPr>
      </p:pic>
      <p:cxnSp>
        <p:nvCxnSpPr>
          <p:cNvPr id="1051" name="Connector: Elbow 190">
            <a:extLst>
              <a:ext uri="{FF2B5EF4-FFF2-40B4-BE49-F238E27FC236}">
                <a16:creationId xmlns:a16="http://schemas.microsoft.com/office/drawing/2014/main" id="{1B43782C-4143-60DD-E299-65AB1FD9DA38}"/>
              </a:ext>
            </a:extLst>
          </p:cNvPr>
          <p:cNvCxnSpPr>
            <a:cxnSpLocks/>
          </p:cNvCxnSpPr>
          <p:nvPr/>
        </p:nvCxnSpPr>
        <p:spPr>
          <a:xfrm flipV="1">
            <a:off x="6907434" y="5410200"/>
            <a:ext cx="0" cy="249156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53" name="Connector: Elbow 190">
            <a:extLst>
              <a:ext uri="{FF2B5EF4-FFF2-40B4-BE49-F238E27FC236}">
                <a16:creationId xmlns:a16="http://schemas.microsoft.com/office/drawing/2014/main" id="{58A664F8-1689-6F86-5EBC-DA5F4D441181}"/>
              </a:ext>
            </a:extLst>
          </p:cNvPr>
          <p:cNvCxnSpPr>
            <a:cxnSpLocks/>
          </p:cNvCxnSpPr>
          <p:nvPr/>
        </p:nvCxnSpPr>
        <p:spPr>
          <a:xfrm flipH="1" flipV="1">
            <a:off x="6906259" y="3746372"/>
            <a:ext cx="1175" cy="590282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56" name="Connector: Elbow 190">
            <a:extLst>
              <a:ext uri="{FF2B5EF4-FFF2-40B4-BE49-F238E27FC236}">
                <a16:creationId xmlns:a16="http://schemas.microsoft.com/office/drawing/2014/main" id="{3ED64CC5-62B2-32C3-C4C6-6EEA65B7713E}"/>
              </a:ext>
            </a:extLst>
          </p:cNvPr>
          <p:cNvCxnSpPr>
            <a:cxnSpLocks/>
          </p:cNvCxnSpPr>
          <p:nvPr/>
        </p:nvCxnSpPr>
        <p:spPr>
          <a:xfrm flipV="1">
            <a:off x="6906259" y="2707414"/>
            <a:ext cx="0" cy="243629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60" name="Connector: Elbow 1059">
            <a:extLst>
              <a:ext uri="{FF2B5EF4-FFF2-40B4-BE49-F238E27FC236}">
                <a16:creationId xmlns:a16="http://schemas.microsoft.com/office/drawing/2014/main" id="{FC2D2413-B288-5922-DE25-5B0F6C4A64FD}"/>
              </a:ext>
            </a:extLst>
          </p:cNvPr>
          <p:cNvCxnSpPr>
            <a:cxnSpLocks/>
          </p:cNvCxnSpPr>
          <p:nvPr/>
        </p:nvCxnSpPr>
        <p:spPr>
          <a:xfrm rot="16200000" flipH="1">
            <a:off x="7148100" y="3650773"/>
            <a:ext cx="2294772" cy="395764"/>
          </a:xfrm>
          <a:prstGeom prst="bentConnector2">
            <a:avLst/>
          </a:prstGeom>
          <a:ln w="25400">
            <a:solidFill>
              <a:srgbClr val="006CB6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63" name="TextBox 1062">
            <a:extLst>
              <a:ext uri="{FF2B5EF4-FFF2-40B4-BE49-F238E27FC236}">
                <a16:creationId xmlns:a16="http://schemas.microsoft.com/office/drawing/2014/main" id="{2DC7D159-4B4B-4E54-E988-D262AA450C0E}"/>
              </a:ext>
            </a:extLst>
          </p:cNvPr>
          <p:cNvSpPr txBox="1"/>
          <p:nvPr/>
        </p:nvSpPr>
        <p:spPr>
          <a:xfrm rot="16200000">
            <a:off x="7129614" y="3697564"/>
            <a:ext cx="2198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távka / aktivace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CB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65" name="Obrázek 80">
            <a:extLst>
              <a:ext uri="{FF2B5EF4-FFF2-40B4-BE49-F238E27FC236}">
                <a16:creationId xmlns:a16="http://schemas.microsoft.com/office/drawing/2014/main" id="{190C3FB0-629A-1F6C-3D8E-15D6A4D5E429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5718" y="6034632"/>
            <a:ext cx="1257801" cy="613179"/>
          </a:xfrm>
          <a:prstGeom prst="rect">
            <a:avLst/>
          </a:prstGeom>
        </p:spPr>
      </p:pic>
      <p:grpSp>
        <p:nvGrpSpPr>
          <p:cNvPr id="1067" name="Group 1066">
            <a:extLst>
              <a:ext uri="{FF2B5EF4-FFF2-40B4-BE49-F238E27FC236}">
                <a16:creationId xmlns:a16="http://schemas.microsoft.com/office/drawing/2014/main" id="{2F66B978-085C-DBE9-EE72-32D0D4F7E772}"/>
              </a:ext>
            </a:extLst>
          </p:cNvPr>
          <p:cNvGrpSpPr/>
          <p:nvPr/>
        </p:nvGrpSpPr>
        <p:grpSpPr>
          <a:xfrm>
            <a:off x="4897087" y="699079"/>
            <a:ext cx="1291431" cy="835691"/>
            <a:chOff x="3251997" y="434657"/>
            <a:chExt cx="1291431" cy="835691"/>
          </a:xfrm>
        </p:grpSpPr>
        <p:sp>
          <p:nvSpPr>
            <p:cNvPr id="1066" name="Obdélník: se zakulacenými rohy 106">
              <a:extLst>
                <a:ext uri="{FF2B5EF4-FFF2-40B4-BE49-F238E27FC236}">
                  <a16:creationId xmlns:a16="http://schemas.microsoft.com/office/drawing/2014/main" id="{878D3FF9-6829-F15C-2B78-E8243D1A8F71}"/>
                </a:ext>
              </a:extLst>
            </p:cNvPr>
            <p:cNvSpPr/>
            <p:nvPr/>
          </p:nvSpPr>
          <p:spPr>
            <a:xfrm rot="16200000">
              <a:off x="3479867" y="206787"/>
              <a:ext cx="835691" cy="1291431"/>
            </a:xfrm>
            <a:prstGeom prst="rect">
              <a:avLst/>
            </a:prstGeom>
            <a:solidFill>
              <a:srgbClr val="1C2F67"/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gregáto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200" b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61" name="Grafický objekt 60">
              <a:extLst>
                <a:ext uri="{FF2B5EF4-FFF2-40B4-BE49-F238E27FC236}">
                  <a16:creationId xmlns:a16="http://schemas.microsoft.com/office/drawing/2014/main" id="{22EF7401-E857-34C1-92F8-009B327A8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573365" y="807394"/>
              <a:ext cx="648693" cy="365125"/>
            </a:xfrm>
            <a:prstGeom prst="rect">
              <a:avLst/>
            </a:prstGeom>
          </p:spPr>
        </p:pic>
      </p:grpSp>
      <p:sp>
        <p:nvSpPr>
          <p:cNvPr id="1069" name="Obdélník: se zakulacenými rohy 106">
            <a:extLst>
              <a:ext uri="{FF2B5EF4-FFF2-40B4-BE49-F238E27FC236}">
                <a16:creationId xmlns:a16="http://schemas.microsoft.com/office/drawing/2014/main" id="{32014396-781B-0C07-3B43-D0489CF92670}"/>
              </a:ext>
            </a:extLst>
          </p:cNvPr>
          <p:cNvSpPr/>
          <p:nvPr/>
        </p:nvSpPr>
        <p:spPr>
          <a:xfrm rot="16200000">
            <a:off x="7276376" y="376509"/>
            <a:ext cx="734608" cy="147101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h </a:t>
            </a:r>
            <a:r>
              <a:rPr kumimoji="0" lang="cs-CZ" sz="1400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pS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72" name="Picture 1071">
            <a:extLst>
              <a:ext uri="{FF2B5EF4-FFF2-40B4-BE49-F238E27FC236}">
                <a16:creationId xmlns:a16="http://schemas.microsoft.com/office/drawing/2014/main" id="{7433998C-6C30-C88F-D1F9-81A4CF09671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98191" y="2817141"/>
            <a:ext cx="537225" cy="532092"/>
          </a:xfrm>
          <a:prstGeom prst="rect">
            <a:avLst/>
          </a:prstGeom>
        </p:spPr>
      </p:pic>
      <p:pic>
        <p:nvPicPr>
          <p:cNvPr id="1076" name="Picture 1075">
            <a:extLst>
              <a:ext uri="{FF2B5EF4-FFF2-40B4-BE49-F238E27FC236}">
                <a16:creationId xmlns:a16="http://schemas.microsoft.com/office/drawing/2014/main" id="{B1D62AE1-83BB-69FA-297A-F5E7BAEC8FA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62806" y="1578933"/>
            <a:ext cx="475238" cy="470697"/>
          </a:xfrm>
          <a:prstGeom prst="rect">
            <a:avLst/>
          </a:prstGeom>
        </p:spPr>
      </p:pic>
      <p:cxnSp>
        <p:nvCxnSpPr>
          <p:cNvPr id="1073" name="Connector: Elbow 190">
            <a:extLst>
              <a:ext uri="{FF2B5EF4-FFF2-40B4-BE49-F238E27FC236}">
                <a16:creationId xmlns:a16="http://schemas.microsoft.com/office/drawing/2014/main" id="{6114BE28-7CEB-7B30-EFDC-24DD0E5E0424}"/>
              </a:ext>
            </a:extLst>
          </p:cNvPr>
          <p:cNvCxnSpPr>
            <a:cxnSpLocks/>
          </p:cNvCxnSpPr>
          <p:nvPr/>
        </p:nvCxnSpPr>
        <p:spPr>
          <a:xfrm flipV="1">
            <a:off x="5275605" y="1534770"/>
            <a:ext cx="0" cy="552664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77" name="Connector: Elbow 190">
            <a:extLst>
              <a:ext uri="{FF2B5EF4-FFF2-40B4-BE49-F238E27FC236}">
                <a16:creationId xmlns:a16="http://schemas.microsoft.com/office/drawing/2014/main" id="{107510AC-E649-BE5A-4166-78D41F7B6F74}"/>
              </a:ext>
            </a:extLst>
          </p:cNvPr>
          <p:cNvCxnSpPr>
            <a:cxnSpLocks/>
          </p:cNvCxnSpPr>
          <p:nvPr/>
        </p:nvCxnSpPr>
        <p:spPr>
          <a:xfrm flipH="1">
            <a:off x="5827805" y="1544295"/>
            <a:ext cx="1245" cy="552664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1082" name="Group 1081">
            <a:extLst>
              <a:ext uri="{FF2B5EF4-FFF2-40B4-BE49-F238E27FC236}">
                <a16:creationId xmlns:a16="http://schemas.microsoft.com/office/drawing/2014/main" id="{F8A9A3C4-A00E-B81B-CCC7-806CF86C7936}"/>
              </a:ext>
            </a:extLst>
          </p:cNvPr>
          <p:cNvGrpSpPr/>
          <p:nvPr/>
        </p:nvGrpSpPr>
        <p:grpSpPr>
          <a:xfrm>
            <a:off x="8995269" y="708603"/>
            <a:ext cx="1291431" cy="835692"/>
            <a:chOff x="7674087" y="170626"/>
            <a:chExt cx="1291431" cy="835692"/>
          </a:xfrm>
        </p:grpSpPr>
        <p:sp>
          <p:nvSpPr>
            <p:cNvPr id="1083" name="Obdélník: se zakulacenými rohy 106">
              <a:extLst>
                <a:ext uri="{FF2B5EF4-FFF2-40B4-BE49-F238E27FC236}">
                  <a16:creationId xmlns:a16="http://schemas.microsoft.com/office/drawing/2014/main" id="{E5234F63-865D-DA4D-F4DB-7FBA372FA2DC}"/>
                </a:ext>
              </a:extLst>
            </p:cNvPr>
            <p:cNvSpPr/>
            <p:nvPr/>
          </p:nvSpPr>
          <p:spPr>
            <a:xfrm rot="16200000">
              <a:off x="7901957" y="-57244"/>
              <a:ext cx="835692" cy="1291431"/>
            </a:xfrm>
            <a:prstGeom prst="rect">
              <a:avLst/>
            </a:prstGeom>
            <a:solidFill>
              <a:srgbClr val="F2F2F2"/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084" name="Grafický objekt 68">
              <a:extLst>
                <a:ext uri="{FF2B5EF4-FFF2-40B4-BE49-F238E27FC236}">
                  <a16:creationId xmlns:a16="http://schemas.microsoft.com/office/drawing/2014/main" id="{4B4E7078-D855-9238-A17E-D46908AEBA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847781" y="356103"/>
              <a:ext cx="993980" cy="472746"/>
            </a:xfrm>
            <a:prstGeom prst="rect">
              <a:avLst/>
            </a:prstGeom>
          </p:spPr>
        </p:pic>
      </p:grpSp>
      <p:cxnSp>
        <p:nvCxnSpPr>
          <p:cNvPr id="1085" name="Connector: Elbow 190">
            <a:extLst>
              <a:ext uri="{FF2B5EF4-FFF2-40B4-BE49-F238E27FC236}">
                <a16:creationId xmlns:a16="http://schemas.microsoft.com/office/drawing/2014/main" id="{758DA468-C55A-EFA8-F0F7-B9515192711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253632" y="1448974"/>
            <a:ext cx="965980" cy="320930"/>
          </a:xfrm>
          <a:prstGeom prst="bentConnector2">
            <a:avLst/>
          </a:prstGeom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88" name="Connector: Elbow 190">
            <a:extLst>
              <a:ext uri="{FF2B5EF4-FFF2-40B4-BE49-F238E27FC236}">
                <a16:creationId xmlns:a16="http://schemas.microsoft.com/office/drawing/2014/main" id="{26D8255F-2B92-0F2C-12F6-FD9FA50F02C7}"/>
              </a:ext>
            </a:extLst>
          </p:cNvPr>
          <p:cNvCxnSpPr>
            <a:cxnSpLocks/>
          </p:cNvCxnSpPr>
          <p:nvPr/>
        </p:nvCxnSpPr>
        <p:spPr>
          <a:xfrm>
            <a:off x="6200349" y="973982"/>
            <a:ext cx="705909" cy="0"/>
          </a:xfrm>
          <a:prstGeom prst="straightConnector1">
            <a:avLst/>
          </a:prstGeom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91" name="Connector: Elbow 190">
            <a:extLst>
              <a:ext uri="{FF2B5EF4-FFF2-40B4-BE49-F238E27FC236}">
                <a16:creationId xmlns:a16="http://schemas.microsoft.com/office/drawing/2014/main" id="{E655C33D-C327-C903-5F22-A9536580104D}"/>
              </a:ext>
            </a:extLst>
          </p:cNvPr>
          <p:cNvCxnSpPr>
            <a:cxnSpLocks/>
          </p:cNvCxnSpPr>
          <p:nvPr/>
        </p:nvCxnSpPr>
        <p:spPr>
          <a:xfrm rot="5400000" flipH="1">
            <a:off x="7770773" y="-325918"/>
            <a:ext cx="299546" cy="3440880"/>
          </a:xfrm>
          <a:prstGeom prst="bentConnector4">
            <a:avLst>
              <a:gd name="adj1" fmla="val -76315"/>
              <a:gd name="adj2" fmla="val 88183"/>
            </a:avLst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96" name="Connector: Elbow 190">
            <a:extLst>
              <a:ext uri="{FF2B5EF4-FFF2-40B4-BE49-F238E27FC236}">
                <a16:creationId xmlns:a16="http://schemas.microsoft.com/office/drawing/2014/main" id="{418100C8-C59D-E3CB-060B-1651A66BEA2D}"/>
              </a:ext>
            </a:extLst>
          </p:cNvPr>
          <p:cNvCxnSpPr>
            <a:cxnSpLocks/>
          </p:cNvCxnSpPr>
          <p:nvPr/>
        </p:nvCxnSpPr>
        <p:spPr>
          <a:xfrm>
            <a:off x="8396068" y="924212"/>
            <a:ext cx="618251" cy="0"/>
          </a:xfrm>
          <a:prstGeom prst="straightConnector1">
            <a:avLst/>
          </a:prstGeom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99" name="Connector: Elbow 190">
            <a:extLst>
              <a:ext uri="{FF2B5EF4-FFF2-40B4-BE49-F238E27FC236}">
                <a16:creationId xmlns:a16="http://schemas.microsoft.com/office/drawing/2014/main" id="{4F3D101A-001F-832A-5F9F-A03268141FA2}"/>
              </a:ext>
            </a:extLst>
          </p:cNvPr>
          <p:cNvCxnSpPr>
            <a:cxnSpLocks/>
          </p:cNvCxnSpPr>
          <p:nvPr/>
        </p:nvCxnSpPr>
        <p:spPr>
          <a:xfrm rot="16200000" flipH="1">
            <a:off x="7587132" y="-1345251"/>
            <a:ext cx="9523" cy="4098183"/>
          </a:xfrm>
          <a:prstGeom prst="bentConnector3">
            <a:avLst>
              <a:gd name="adj1" fmla="val -3993174"/>
            </a:avLst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112" name="Obrázek 13">
            <a:extLst>
              <a:ext uri="{FF2B5EF4-FFF2-40B4-BE49-F238E27FC236}">
                <a16:creationId xmlns:a16="http://schemas.microsoft.com/office/drawing/2014/main" id="{B163CCE3-EFC1-5A4F-DF78-139698B5BBB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174349" y="735861"/>
            <a:ext cx="580806" cy="658661"/>
          </a:xfrm>
          <a:prstGeom prst="rect">
            <a:avLst/>
          </a:prstGeom>
        </p:spPr>
      </p:pic>
      <p:cxnSp>
        <p:nvCxnSpPr>
          <p:cNvPr id="1113" name="Connector: Elbow 190">
            <a:extLst>
              <a:ext uri="{FF2B5EF4-FFF2-40B4-BE49-F238E27FC236}">
                <a16:creationId xmlns:a16="http://schemas.microsoft.com/office/drawing/2014/main" id="{2C6331E7-297E-7E52-AA9E-F5A775E289B0}"/>
              </a:ext>
            </a:extLst>
          </p:cNvPr>
          <p:cNvCxnSpPr>
            <a:cxnSpLocks/>
          </p:cNvCxnSpPr>
          <p:nvPr/>
        </p:nvCxnSpPr>
        <p:spPr>
          <a:xfrm flipH="1">
            <a:off x="10286701" y="1108750"/>
            <a:ext cx="780751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15" name="TextBox 1114">
            <a:extLst>
              <a:ext uri="{FF2B5EF4-FFF2-40B4-BE49-F238E27FC236}">
                <a16:creationId xmlns:a16="http://schemas.microsoft.com/office/drawing/2014/main" id="{78FD2F00-AAD2-9F40-16E6-61156D798C82}"/>
              </a:ext>
            </a:extLst>
          </p:cNvPr>
          <p:cNvSpPr txBox="1"/>
          <p:nvPr/>
        </p:nvSpPr>
        <p:spPr>
          <a:xfrm>
            <a:off x="6267810" y="321068"/>
            <a:ext cx="27517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hodnocení dodávky služby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6" name="TextBox 1115">
            <a:extLst>
              <a:ext uri="{FF2B5EF4-FFF2-40B4-BE49-F238E27FC236}">
                <a16:creationId xmlns:a16="http://schemas.microsoft.com/office/drawing/2014/main" id="{833F1D86-6917-6900-9DAA-B4AE2E058A52}"/>
              </a:ext>
            </a:extLst>
          </p:cNvPr>
          <p:cNvSpPr txBox="1"/>
          <p:nvPr/>
        </p:nvSpPr>
        <p:spPr>
          <a:xfrm>
            <a:off x="7127810" y="1464109"/>
            <a:ext cx="27517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távka / aktivac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6CB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7" name="TextBox 1116">
            <a:extLst>
              <a:ext uri="{FF2B5EF4-FFF2-40B4-BE49-F238E27FC236}">
                <a16:creationId xmlns:a16="http://schemas.microsoft.com/office/drawing/2014/main" id="{2907FB9D-3C46-582A-7483-67BFAAD5AE20}"/>
              </a:ext>
            </a:extLst>
          </p:cNvPr>
          <p:cNvSpPr txBox="1"/>
          <p:nvPr/>
        </p:nvSpPr>
        <p:spPr>
          <a:xfrm>
            <a:off x="10261431" y="3421999"/>
            <a:ext cx="16120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ová osa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3" name="Obdélník: se zakulacenými rohy 106">
            <a:extLst>
              <a:ext uri="{FF2B5EF4-FFF2-40B4-BE49-F238E27FC236}">
                <a16:creationId xmlns:a16="http://schemas.microsoft.com/office/drawing/2014/main" id="{24169138-1082-E2F9-2CE5-547C5700E1E1}"/>
              </a:ext>
            </a:extLst>
          </p:cNvPr>
          <p:cNvSpPr/>
          <p:nvPr/>
        </p:nvSpPr>
        <p:spPr>
          <a:xfrm rot="16200000">
            <a:off x="1129842" y="3041066"/>
            <a:ext cx="1025444" cy="2585708"/>
          </a:xfrm>
          <a:prstGeom prst="rect">
            <a:avLst/>
          </a:prstGeom>
          <a:solidFill>
            <a:srgbClr val="12A1A1">
              <a:alpha val="24000"/>
            </a:srgb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4" name="TextBox 1123">
            <a:extLst>
              <a:ext uri="{FF2B5EF4-FFF2-40B4-BE49-F238E27FC236}">
                <a16:creationId xmlns:a16="http://schemas.microsoft.com/office/drawing/2014/main" id="{1B05150C-196F-3517-B8B2-354C49851ADD}"/>
              </a:ext>
            </a:extLst>
          </p:cNvPr>
          <p:cNvSpPr txBox="1"/>
          <p:nvPr/>
        </p:nvSpPr>
        <p:spPr>
          <a:xfrm rot="16200000">
            <a:off x="10951835" y="5283167"/>
            <a:ext cx="790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V1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5" name="TextBox 1124">
            <a:extLst>
              <a:ext uri="{FF2B5EF4-FFF2-40B4-BE49-F238E27FC236}">
                <a16:creationId xmlns:a16="http://schemas.microsoft.com/office/drawing/2014/main" id="{0400365F-3C20-CFC9-7E2C-9319C31EBAA2}"/>
              </a:ext>
            </a:extLst>
          </p:cNvPr>
          <p:cNvSpPr txBox="1"/>
          <p:nvPr/>
        </p:nvSpPr>
        <p:spPr>
          <a:xfrm>
            <a:off x="3312907" y="1718940"/>
            <a:ext cx="790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V2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6" name="TextBox 1125">
            <a:extLst>
              <a:ext uri="{FF2B5EF4-FFF2-40B4-BE49-F238E27FC236}">
                <a16:creationId xmlns:a16="http://schemas.microsoft.com/office/drawing/2014/main" id="{C821F556-180F-4BC3-1795-64BDB1362C32}"/>
              </a:ext>
            </a:extLst>
          </p:cNvPr>
          <p:cNvSpPr txBox="1"/>
          <p:nvPr/>
        </p:nvSpPr>
        <p:spPr>
          <a:xfrm>
            <a:off x="287811" y="4806148"/>
            <a:ext cx="18534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12A1A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otní agregační blok budov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12A1A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8" name="TextBox 1127">
            <a:extLst>
              <a:ext uri="{FF2B5EF4-FFF2-40B4-BE49-F238E27FC236}">
                <a16:creationId xmlns:a16="http://schemas.microsoft.com/office/drawing/2014/main" id="{C8925A2D-5EB6-F8EB-DDF2-3B5C8D819AF5}"/>
              </a:ext>
            </a:extLst>
          </p:cNvPr>
          <p:cNvSpPr txBox="1"/>
          <p:nvPr/>
        </p:nvSpPr>
        <p:spPr>
          <a:xfrm rot="16200000">
            <a:off x="3454001" y="723374"/>
            <a:ext cx="1702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nabídka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9" name="TextBox 1128">
            <a:extLst>
              <a:ext uri="{FF2B5EF4-FFF2-40B4-BE49-F238E27FC236}">
                <a16:creationId xmlns:a16="http://schemas.microsoft.com/office/drawing/2014/main" id="{594052A7-67FA-83C0-7BF8-9E0D1C3A381B}"/>
              </a:ext>
            </a:extLst>
          </p:cNvPr>
          <p:cNvSpPr txBox="1"/>
          <p:nvPr/>
        </p:nvSpPr>
        <p:spPr>
          <a:xfrm>
            <a:off x="1807056" y="1986638"/>
            <a:ext cx="10404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pointy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0" name="TextBox 1129">
            <a:extLst>
              <a:ext uri="{FF2B5EF4-FFF2-40B4-BE49-F238E27FC236}">
                <a16:creationId xmlns:a16="http://schemas.microsoft.com/office/drawing/2014/main" id="{311C3FF7-3F0B-7C74-B738-00BDBC3C1B3B}"/>
              </a:ext>
            </a:extLst>
          </p:cNvPr>
          <p:cNvSpPr txBox="1"/>
          <p:nvPr/>
        </p:nvSpPr>
        <p:spPr>
          <a:xfrm rot="16200000">
            <a:off x="9473420" y="3054509"/>
            <a:ext cx="10404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pointy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1" name="TextBox 1130">
            <a:extLst>
              <a:ext uri="{FF2B5EF4-FFF2-40B4-BE49-F238E27FC236}">
                <a16:creationId xmlns:a16="http://schemas.microsoft.com/office/drawing/2014/main" id="{128133F6-9A33-AB6B-8F9D-BDD38227F553}"/>
              </a:ext>
            </a:extLst>
          </p:cNvPr>
          <p:cNvSpPr txBox="1"/>
          <p:nvPr/>
        </p:nvSpPr>
        <p:spPr>
          <a:xfrm>
            <a:off x="2419497" y="2349643"/>
            <a:ext cx="10404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ěření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2" name="TextBox 1131">
            <a:extLst>
              <a:ext uri="{FF2B5EF4-FFF2-40B4-BE49-F238E27FC236}">
                <a16:creationId xmlns:a16="http://schemas.microsoft.com/office/drawing/2014/main" id="{B26931AD-C288-2333-7624-B4504CCB8C67}"/>
              </a:ext>
            </a:extLst>
          </p:cNvPr>
          <p:cNvSpPr txBox="1"/>
          <p:nvPr/>
        </p:nvSpPr>
        <p:spPr>
          <a:xfrm rot="16200000">
            <a:off x="9039163" y="2930836"/>
            <a:ext cx="10404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ěření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35" name="Connector: Elbow 1134">
            <a:extLst>
              <a:ext uri="{FF2B5EF4-FFF2-40B4-BE49-F238E27FC236}">
                <a16:creationId xmlns:a16="http://schemas.microsoft.com/office/drawing/2014/main" id="{B38D32C6-7D1D-CDCC-49EA-C5E84A80031D}"/>
              </a:ext>
            </a:extLst>
          </p:cNvPr>
          <p:cNvCxnSpPr>
            <a:cxnSpLocks/>
          </p:cNvCxnSpPr>
          <p:nvPr/>
        </p:nvCxnSpPr>
        <p:spPr>
          <a:xfrm rot="16200000" flipH="1">
            <a:off x="4738784" y="3692808"/>
            <a:ext cx="2172158" cy="189080"/>
          </a:xfrm>
          <a:prstGeom prst="bentConnector2">
            <a:avLst/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139" name="Connector: Elbow 1138">
            <a:extLst>
              <a:ext uri="{FF2B5EF4-FFF2-40B4-BE49-F238E27FC236}">
                <a16:creationId xmlns:a16="http://schemas.microsoft.com/office/drawing/2014/main" id="{93451195-33A9-59E9-2088-8041E0792E9D}"/>
              </a:ext>
            </a:extLst>
          </p:cNvPr>
          <p:cNvCxnSpPr>
            <a:cxnSpLocks/>
          </p:cNvCxnSpPr>
          <p:nvPr/>
        </p:nvCxnSpPr>
        <p:spPr>
          <a:xfrm rot="16200000" flipH="1">
            <a:off x="5183672" y="5438683"/>
            <a:ext cx="1290360" cy="181102"/>
          </a:xfrm>
          <a:prstGeom prst="bentConnector2">
            <a:avLst/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" name="Siemens Logo">
            <a:extLst>
              <a:ext uri="{FF2B5EF4-FFF2-40B4-BE49-F238E27FC236}">
                <a16:creationId xmlns:a16="http://schemas.microsoft.com/office/drawing/2014/main" id="{0DEAAD53-8AA9-6CAA-A9D9-FFCA792A50E8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 bwMode="black">
          <a:xfrm>
            <a:off x="8007972" y="2492536"/>
            <a:ext cx="905660" cy="144000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9EBC8374-30A7-5532-2664-BAF98EE53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493" y="682195"/>
            <a:ext cx="1277313" cy="385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A24A0C7A-C9AC-F0BA-0C31-73D2A71D3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107" y="251206"/>
            <a:ext cx="1617231" cy="385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D047432F-AA70-034C-F0DD-D182EB32C3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09848" y="685915"/>
            <a:ext cx="684637" cy="385356"/>
          </a:xfrm>
          <a:prstGeom prst="rect">
            <a:avLst/>
          </a:prstGeom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09746A9C-CD49-D954-5F82-86543D403F3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313838" y="212943"/>
            <a:ext cx="911514" cy="43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098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5EF71D-F383-87DB-D1DD-7B1B965E3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59A07908-9D88-498E-6C02-A064D8646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8399" y="1234800"/>
            <a:ext cx="9824753" cy="2270519"/>
          </a:xfrm>
        </p:spPr>
        <p:txBody>
          <a:bodyPr/>
          <a:lstStyle/>
          <a:p>
            <a:r>
              <a:rPr lang="cs-CZ" noProof="0" dirty="0"/>
              <a:t>Děkuji za pozornost</a:t>
            </a:r>
            <a:endParaRPr lang="en-US" noProof="0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0567B3C9-404D-4550-63B6-DE2D5E2EB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0829" y="2808201"/>
            <a:ext cx="1709967" cy="2270519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51960E57-BF37-A202-FAFD-FFBD61FA7E9A}"/>
              </a:ext>
            </a:extLst>
          </p:cNvPr>
          <p:cNvSpPr txBox="1"/>
          <p:nvPr/>
        </p:nvSpPr>
        <p:spPr>
          <a:xfrm>
            <a:off x="921549" y="5346201"/>
            <a:ext cx="32885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dirty="0">
                <a:hlinkClick r:id="rId4"/>
              </a:rPr>
              <a:t>siemens.com/</a:t>
            </a:r>
            <a:r>
              <a:rPr lang="cs-CZ" dirty="0" err="1">
                <a:hlinkClick r:id="rId4"/>
              </a:rPr>
              <a:t>building-services</a:t>
            </a:r>
            <a:r>
              <a:rPr lang="cs-CZ" dirty="0">
                <a:hlinkClick r:id="rId4"/>
              </a:rPr>
              <a:t>/</a:t>
            </a:r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E50E9A06-2FFA-1A44-BB71-1AC3F05468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5419" y="2808201"/>
            <a:ext cx="1801162" cy="2270519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22B0D4D8-E226-B16A-BFC8-AE58145113AB}"/>
              </a:ext>
            </a:extLst>
          </p:cNvPr>
          <p:cNvSpPr txBox="1"/>
          <p:nvPr/>
        </p:nvSpPr>
        <p:spPr>
          <a:xfrm>
            <a:off x="4755254" y="5349437"/>
            <a:ext cx="268149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dirty="0">
                <a:hlinkClick r:id="rId6"/>
              </a:rPr>
              <a:t>siemens.com/</a:t>
            </a:r>
            <a:r>
              <a:rPr lang="cs-CZ" dirty="0" err="1">
                <a:hlinkClick r:id="rId6"/>
              </a:rPr>
              <a:t>building</a:t>
            </a:r>
            <a:r>
              <a:rPr lang="cs-CZ" dirty="0">
                <a:hlinkClick r:id="rId6"/>
              </a:rPr>
              <a:t>-x/</a:t>
            </a:r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1A864FFD-1274-2F1D-1EEB-79E43C4C69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529135" y="2808201"/>
            <a:ext cx="1746026" cy="2270519"/>
          </a:xfrm>
          <a:prstGeom prst="rect">
            <a:avLst/>
          </a:prstGeom>
        </p:spPr>
      </p:pic>
      <p:sp>
        <p:nvSpPr>
          <p:cNvPr id="16" name="TextovéPole 15">
            <a:extLst>
              <a:ext uri="{FF2B5EF4-FFF2-40B4-BE49-F238E27FC236}">
                <a16:creationId xmlns:a16="http://schemas.microsoft.com/office/drawing/2014/main" id="{4D21A036-5DA6-7644-361B-622E8BAC675D}"/>
              </a:ext>
            </a:extLst>
          </p:cNvPr>
          <p:cNvSpPr txBox="1"/>
          <p:nvPr/>
        </p:nvSpPr>
        <p:spPr>
          <a:xfrm>
            <a:off x="8362916" y="5346201"/>
            <a:ext cx="268149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dirty="0">
                <a:hlinkClick r:id="rId8"/>
              </a:rPr>
              <a:t>siemens.com/</a:t>
            </a:r>
            <a:r>
              <a:rPr lang="cs-CZ" dirty="0" err="1">
                <a:hlinkClick r:id="rId8"/>
              </a:rPr>
              <a:t>desigo</a:t>
            </a:r>
            <a:r>
              <a:rPr lang="cs-CZ" dirty="0">
                <a:hlinkClick r:id="rId8"/>
              </a:rPr>
              <a:t>/</a:t>
            </a:r>
            <a:endParaRPr lang="cs-CZ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637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EAA55C-BA41-4D0C-E874-B5D7DD237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60972C7D-4655-43CF-9BD4-942FAEAEE2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6"/>
          <a:stretch>
            <a:fillRect/>
          </a:stretch>
        </p:blipFill>
        <p:spPr>
          <a:xfrm>
            <a:off x="3325880" y="3146885"/>
            <a:ext cx="2815710" cy="2741959"/>
          </a:xfrm>
          <a:prstGeom prst="rect">
            <a:avLst/>
          </a:prstGeom>
        </p:spPr>
      </p:pic>
      <p:pic>
        <p:nvPicPr>
          <p:cNvPr id="10" name="Picture 7" descr="A large electrical box with wires and wires&#10;&#10;AI-generated content may be incorrect.">
            <a:extLst>
              <a:ext uri="{FF2B5EF4-FFF2-40B4-BE49-F238E27FC236}">
                <a16:creationId xmlns:a16="http://schemas.microsoft.com/office/drawing/2014/main" id="{795A1F07-B975-7561-DEF3-41AEA66ABD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>
            <a:fillRect/>
          </a:stretch>
        </p:blipFill>
        <p:spPr>
          <a:xfrm>
            <a:off x="445100" y="1320123"/>
            <a:ext cx="2772249" cy="2780920"/>
          </a:xfrm>
          <a:prstGeom prst="rect">
            <a:avLst/>
          </a:prstGeom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C8664D64-528B-768F-8035-EDAD9E503D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11959" y="1320123"/>
            <a:ext cx="2780041" cy="2749103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CE3D972A-69B0-DB4E-E594-2B28259320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99"/>
          <a:stretch/>
        </p:blipFill>
        <p:spPr bwMode="auto">
          <a:xfrm>
            <a:off x="9087891" y="3114931"/>
            <a:ext cx="2784634" cy="2780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17">
            <a:extLst>
              <a:ext uri="{FF2B5EF4-FFF2-40B4-BE49-F238E27FC236}">
                <a16:creationId xmlns:a16="http://schemas.microsoft.com/office/drawing/2014/main" id="{AD61E7DE-AD91-AECB-2B64-B818D300D65B}"/>
              </a:ext>
            </a:extLst>
          </p:cNvPr>
          <p:cNvSpPr/>
          <p:nvPr/>
        </p:nvSpPr>
        <p:spPr>
          <a:xfrm>
            <a:off x="410400" y="4198401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přenosová a distribuční síť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977AEAE-552E-C31D-F97C-39BE8B6E49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977AEAE-552E-C31D-F97C-39BE8B6E4913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A8A14E4C-24E6-A6A4-AFCD-9DBF45231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7139947" cy="576000"/>
          </a:xfrm>
        </p:spPr>
        <p:txBody>
          <a:bodyPr vert="horz"/>
          <a:lstStyle/>
          <a:p>
            <a:r>
              <a:rPr lang="cs-CZ" dirty="0"/>
              <a:t>Siemens </a:t>
            </a:r>
            <a:r>
              <a:rPr lang="cs-CZ" dirty="0">
                <a:solidFill>
                  <a:srgbClr val="00FFB9"/>
                </a:solidFill>
              </a:rPr>
              <a:t>Smart</a:t>
            </a:r>
            <a:r>
              <a:rPr lang="cs-CZ" dirty="0"/>
              <a:t> </a:t>
            </a:r>
            <a:r>
              <a:rPr lang="cs-CZ" dirty="0">
                <a:solidFill>
                  <a:srgbClr val="00FFB9"/>
                </a:solidFill>
              </a:rPr>
              <a:t>Infrastructure</a:t>
            </a:r>
            <a:endParaRPr lang="cs-CZ" noProof="0" dirty="0"/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9357D78-B024-A5C8-26A2-D56EAD398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325838" y="3166538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C88BAF24-51D2-1D81-5613-2021757E3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692" y="4056691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244A6BC2-A19A-ED2D-D92A-EB0EA6D11D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09663" y="4039913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68520E7-9D91-2D62-695B-52AECE8B3D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1A3D82-44CF-3134-E2D0-254CA06A96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3</a:t>
            </a:fld>
            <a:endParaRPr lang="cs-CZ" noProof="0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4D74889-BF84-5D1A-8279-6E96A5E74F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081736" y="3141371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17">
            <a:extLst>
              <a:ext uri="{FF2B5EF4-FFF2-40B4-BE49-F238E27FC236}">
                <a16:creationId xmlns:a16="http://schemas.microsoft.com/office/drawing/2014/main" id="{483FC501-4D26-4151-93B1-E92C31F5B993}"/>
              </a:ext>
            </a:extLst>
          </p:cNvPr>
          <p:cNvSpPr/>
          <p:nvPr/>
        </p:nvSpPr>
        <p:spPr>
          <a:xfrm>
            <a:off x="3296512" y="2130053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>
              <a:lnSpc>
                <a:spcPct val="110000"/>
              </a:lnSpc>
              <a:defRPr/>
            </a:pPr>
            <a:r>
              <a:rPr lang="cs-CZ" sz="1600" dirty="0"/>
              <a:t>… rozvodny/ rozvaděče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11C4DE03-54CC-0012-348D-B225678ADB2B}"/>
              </a:ext>
            </a:extLst>
          </p:cNvPr>
          <p:cNvSpPr/>
          <p:nvPr/>
        </p:nvSpPr>
        <p:spPr>
          <a:xfrm>
            <a:off x="6215433" y="4200782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 bateriová úložiště</a:t>
            </a:r>
            <a:endParaRPr lang="cs-CZ" sz="1600" b="1" dirty="0">
              <a:solidFill>
                <a:srgbClr val="00C1B6"/>
              </a:solidFill>
            </a:endParaRPr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375E3D7A-F008-436E-018F-CB446A45EF48}"/>
              </a:ext>
            </a:extLst>
          </p:cNvPr>
          <p:cNvSpPr/>
          <p:nvPr/>
        </p:nvSpPr>
        <p:spPr>
          <a:xfrm>
            <a:off x="9092266" y="2127574"/>
            <a:ext cx="2796786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 nízkonapěťová spínací technika</a:t>
            </a:r>
            <a:endParaRPr lang="cs-CZ" sz="1600" b="1" dirty="0">
              <a:solidFill>
                <a:srgbClr val="00C1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8425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C3DCF1-AEB1-7BDD-D2BB-A6AA6EF4A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07EFA2-9897-D4AE-7900-523B1AAAD0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9" imgH="642" progId="TCLayout.ActiveDocument.1">
                  <p:embed/>
                </p:oleObj>
              </mc:Choice>
              <mc:Fallback>
                <p:oleObj name="think-cell Foli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07EFA2-9897-D4AE-7900-523B1AAAD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C0A4CB-FB33-7748-7D8B-B391AF4ED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799"/>
            <a:ext cx="9863997" cy="928417"/>
          </a:xfrm>
        </p:spPr>
        <p:txBody>
          <a:bodyPr vert="horz"/>
          <a:lstStyle/>
          <a:p>
            <a:r>
              <a:rPr lang="cs-CZ" dirty="0"/>
              <a:t>Siemens Smart Infrastructure </a:t>
            </a:r>
            <a:r>
              <a:rPr lang="en-US" dirty="0"/>
              <a:t>I</a:t>
            </a:r>
            <a:r>
              <a:rPr lang="cs-CZ" dirty="0"/>
              <a:t> </a:t>
            </a:r>
            <a:r>
              <a:rPr lang="en-US" dirty="0">
                <a:solidFill>
                  <a:srgbClr val="00FFB9"/>
                </a:solidFill>
              </a:rPr>
              <a:t>Buildings</a:t>
            </a:r>
            <a:br>
              <a:rPr lang="cs-CZ" dirty="0"/>
            </a:br>
            <a:r>
              <a:rPr lang="cs-CZ" b="0" dirty="0"/>
              <a:t>Portfolio</a:t>
            </a:r>
            <a:endParaRPr lang="en-US" b="0" dirty="0">
              <a:solidFill>
                <a:srgbClr val="00FFB9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94FD2A-A042-D0DD-F3CF-8D0C3A74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8000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190688-F2C9-0598-E52E-576695181E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na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15EBE321-CBB1-4E91-BD14-37C8D44326FB}" type="slidenum">
              <a:rPr kumimoji="0" lang="en-US" sz="9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reihandform: Form 261">
            <a:extLst>
              <a:ext uri="{FF2B5EF4-FFF2-40B4-BE49-F238E27FC236}">
                <a16:creationId xmlns:a16="http://schemas.microsoft.com/office/drawing/2014/main" id="{4CE529DA-EE3B-DCB1-2C3F-F12A10015636}"/>
              </a:ext>
            </a:extLst>
          </p:cNvPr>
          <p:cNvSpPr/>
          <p:nvPr/>
        </p:nvSpPr>
        <p:spPr>
          <a:xfrm>
            <a:off x="540000" y="2520000"/>
            <a:ext cx="1620000" cy="1260000"/>
          </a:xfrm>
          <a:prstGeom prst="rect">
            <a:avLst/>
          </a:prstGeom>
          <a:solidFill>
            <a:srgbClr val="00AF8E"/>
          </a:solidFill>
          <a:ln w="285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ěření a regulac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ihandform: Form 265">
            <a:extLst>
              <a:ext uri="{FF2B5EF4-FFF2-40B4-BE49-F238E27FC236}">
                <a16:creationId xmlns:a16="http://schemas.microsoft.com/office/drawing/2014/main" id="{5AEF6C90-4FDE-2CD5-1F9F-BCF203326BDD}"/>
              </a:ext>
            </a:extLst>
          </p:cNvPr>
          <p:cNvSpPr/>
          <p:nvPr/>
        </p:nvSpPr>
        <p:spPr>
          <a:xfrm>
            <a:off x="2340000" y="2519999"/>
            <a:ext cx="1620000" cy="1260000"/>
          </a:xfrm>
          <a:prstGeom prst="rect">
            <a:avLst/>
          </a:prstGeom>
          <a:solidFill>
            <a:srgbClr val="00BEDC"/>
          </a:solidFill>
          <a:ln w="285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Řízení osvětl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ihandform: Form 262">
            <a:extLst>
              <a:ext uri="{FF2B5EF4-FFF2-40B4-BE49-F238E27FC236}">
                <a16:creationId xmlns:a16="http://schemas.microsoft.com/office/drawing/2014/main" id="{8E68E468-3546-AC06-FAED-B1F8AB231F84}"/>
              </a:ext>
            </a:extLst>
          </p:cNvPr>
          <p:cNvSpPr/>
          <p:nvPr/>
        </p:nvSpPr>
        <p:spPr>
          <a:xfrm>
            <a:off x="4140000" y="2519998"/>
            <a:ext cx="1620000" cy="1260001"/>
          </a:xfrm>
          <a:prstGeom prst="rect">
            <a:avLst/>
          </a:prstGeom>
          <a:solidFill>
            <a:srgbClr val="553BA3"/>
          </a:solidFill>
          <a:ln w="285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Řízení stínicí techniky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ihandform: Form 263">
            <a:extLst>
              <a:ext uri="{FF2B5EF4-FFF2-40B4-BE49-F238E27FC236}">
                <a16:creationId xmlns:a16="http://schemas.microsoft.com/office/drawing/2014/main" id="{A0FD9FAB-76CF-112A-08BA-8BA7F6BE0620}"/>
              </a:ext>
            </a:extLst>
          </p:cNvPr>
          <p:cNvSpPr/>
          <p:nvPr/>
        </p:nvSpPr>
        <p:spPr>
          <a:xfrm>
            <a:off x="6432000" y="1978199"/>
            <a:ext cx="5220000" cy="1800000"/>
          </a:xfrm>
          <a:prstGeom prst="rect">
            <a:avLst/>
          </a:prstGeom>
          <a:solidFill>
            <a:srgbClr val="FF9000"/>
          </a:solidFill>
          <a:ln w="285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žární bezpečnos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ihandform: Form 264">
            <a:extLst>
              <a:ext uri="{FF2B5EF4-FFF2-40B4-BE49-F238E27FC236}">
                <a16:creationId xmlns:a16="http://schemas.microsoft.com/office/drawing/2014/main" id="{6C81DA21-C887-2CD9-4C75-168EEC171719}"/>
              </a:ext>
            </a:extLst>
          </p:cNvPr>
          <p:cNvSpPr/>
          <p:nvPr/>
        </p:nvSpPr>
        <p:spPr>
          <a:xfrm>
            <a:off x="540000" y="4140000"/>
            <a:ext cx="5220000" cy="1800000"/>
          </a:xfrm>
          <a:prstGeom prst="rect">
            <a:avLst/>
          </a:prstGeom>
          <a:solidFill>
            <a:srgbClr val="0087BE"/>
          </a:solidFill>
          <a:ln w="285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etický managemen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reihandform: Form 261">
            <a:extLst>
              <a:ext uri="{FF2B5EF4-FFF2-40B4-BE49-F238E27FC236}">
                <a16:creationId xmlns:a16="http://schemas.microsoft.com/office/drawing/2014/main" id="{EB52CB4D-FA5A-D017-AD33-F17CCD28A21F}"/>
              </a:ext>
            </a:extLst>
          </p:cNvPr>
          <p:cNvSpPr/>
          <p:nvPr/>
        </p:nvSpPr>
        <p:spPr>
          <a:xfrm>
            <a:off x="540000" y="1978199"/>
            <a:ext cx="5220000" cy="360000"/>
          </a:xfrm>
          <a:prstGeom prst="rect">
            <a:avLst/>
          </a:prstGeom>
          <a:solidFill>
            <a:srgbClr val="00646E"/>
          </a:solidFill>
          <a:ln w="285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izace budovy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ihandform: Form 262">
            <a:extLst>
              <a:ext uri="{FF2B5EF4-FFF2-40B4-BE49-F238E27FC236}">
                <a16:creationId xmlns:a16="http://schemas.microsoft.com/office/drawing/2014/main" id="{DB276667-13CC-F9E2-9414-D36E16565FE5}"/>
              </a:ext>
            </a:extLst>
          </p:cNvPr>
          <p:cNvSpPr/>
          <p:nvPr/>
        </p:nvSpPr>
        <p:spPr>
          <a:xfrm>
            <a:off x="6432000" y="4678197"/>
            <a:ext cx="1170000" cy="1260000"/>
          </a:xfrm>
          <a:prstGeom prst="rect">
            <a:avLst/>
          </a:prstGeom>
          <a:solidFill>
            <a:srgbClr val="F7C600"/>
          </a:solidFill>
          <a:ln w="28575" cap="flat">
            <a:noFill/>
            <a:prstDash val="solid"/>
            <a:miter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émy kontroly vstupu</a:t>
            </a:r>
          </a:p>
        </p:txBody>
      </p:sp>
      <p:sp>
        <p:nvSpPr>
          <p:cNvPr id="17" name="Freihandform: Form 262">
            <a:extLst>
              <a:ext uri="{FF2B5EF4-FFF2-40B4-BE49-F238E27FC236}">
                <a16:creationId xmlns:a16="http://schemas.microsoft.com/office/drawing/2014/main" id="{AB84F998-37D0-153F-8C47-A0B15152DE34}"/>
              </a:ext>
            </a:extLst>
          </p:cNvPr>
          <p:cNvSpPr/>
          <p:nvPr/>
        </p:nvSpPr>
        <p:spPr>
          <a:xfrm>
            <a:off x="6432001" y="4138197"/>
            <a:ext cx="5220000" cy="360000"/>
          </a:xfrm>
          <a:prstGeom prst="rect">
            <a:avLst/>
          </a:prstGeom>
          <a:solidFill>
            <a:srgbClr val="F7C600"/>
          </a:solidFill>
          <a:ln w="285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zpečnostní systémy</a:t>
            </a:r>
          </a:p>
        </p:txBody>
      </p:sp>
      <p:sp>
        <p:nvSpPr>
          <p:cNvPr id="18" name="Freihandform: Form 262">
            <a:extLst>
              <a:ext uri="{FF2B5EF4-FFF2-40B4-BE49-F238E27FC236}">
                <a16:creationId xmlns:a16="http://schemas.microsoft.com/office/drawing/2014/main" id="{E8D86135-CC6E-666A-8ACD-B9F0DFF41293}"/>
              </a:ext>
            </a:extLst>
          </p:cNvPr>
          <p:cNvSpPr/>
          <p:nvPr/>
        </p:nvSpPr>
        <p:spPr>
          <a:xfrm>
            <a:off x="7783201" y="4680000"/>
            <a:ext cx="1170000" cy="1260000"/>
          </a:xfrm>
          <a:prstGeom prst="rect">
            <a:avLst/>
          </a:prstGeom>
          <a:solidFill>
            <a:srgbClr val="F7C600"/>
          </a:solidFill>
          <a:ln w="28575" cap="flat">
            <a:noFill/>
            <a:prstDash val="solid"/>
            <a:miter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bezpečovac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ystémy</a:t>
            </a:r>
          </a:p>
        </p:txBody>
      </p:sp>
      <p:sp>
        <p:nvSpPr>
          <p:cNvPr id="19" name="Freihandform: Form 262">
            <a:extLst>
              <a:ext uri="{FF2B5EF4-FFF2-40B4-BE49-F238E27FC236}">
                <a16:creationId xmlns:a16="http://schemas.microsoft.com/office/drawing/2014/main" id="{42E4F070-449D-0660-0A44-2CF2F208E6D3}"/>
              </a:ext>
            </a:extLst>
          </p:cNvPr>
          <p:cNvSpPr/>
          <p:nvPr/>
        </p:nvSpPr>
        <p:spPr>
          <a:xfrm>
            <a:off x="10482001" y="4678197"/>
            <a:ext cx="1170000" cy="1251001"/>
          </a:xfrm>
          <a:prstGeom prst="rect">
            <a:avLst/>
          </a:prstGeom>
          <a:solidFill>
            <a:srgbClr val="F7C600"/>
          </a:solidFill>
          <a:ln w="28575" cap="flat">
            <a:noFill/>
            <a:prstDash val="solid"/>
            <a:miter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deodohled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reihandform: Form 262">
            <a:extLst>
              <a:ext uri="{FF2B5EF4-FFF2-40B4-BE49-F238E27FC236}">
                <a16:creationId xmlns:a16="http://schemas.microsoft.com/office/drawing/2014/main" id="{4B596884-A3DC-C6FF-57AB-83AAE01A56C1}"/>
              </a:ext>
            </a:extLst>
          </p:cNvPr>
          <p:cNvSpPr/>
          <p:nvPr/>
        </p:nvSpPr>
        <p:spPr>
          <a:xfrm>
            <a:off x="9133201" y="4678197"/>
            <a:ext cx="1170000" cy="1260000"/>
          </a:xfrm>
          <a:prstGeom prst="rect">
            <a:avLst/>
          </a:prstGeom>
          <a:solidFill>
            <a:srgbClr val="F7C600"/>
          </a:solidFill>
          <a:ln w="28575" cap="flat">
            <a:noFill/>
            <a:prstDash val="solid"/>
            <a:miter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hrana perimetru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221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88EC92-5085-2077-1CD8-3FF07959D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>
            <a:extLst>
              <a:ext uri="{FF2B5EF4-FFF2-40B4-BE49-F238E27FC236}">
                <a16:creationId xmlns:a16="http://schemas.microsoft.com/office/drawing/2014/main" id="{00398F37-0B0A-805A-187C-3B534726AA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6"/>
          <a:stretch/>
        </p:blipFill>
        <p:spPr>
          <a:xfrm>
            <a:off x="431692" y="1304883"/>
            <a:ext cx="2789946" cy="2780920"/>
          </a:xfrm>
          <a:prstGeom prst="rect">
            <a:avLst/>
          </a:prstGeom>
        </p:spPr>
      </p:pic>
      <p:pic>
        <p:nvPicPr>
          <p:cNvPr id="8" name="Obrázek 7" descr="Obsah obrázku interiér, strop, podlaha, místnost&#10;&#10;Obsah generovaný pomocí AI může být nesprávný.">
            <a:extLst>
              <a:ext uri="{FF2B5EF4-FFF2-40B4-BE49-F238E27FC236}">
                <a16:creationId xmlns:a16="http://schemas.microsoft.com/office/drawing/2014/main" id="{B4655F2D-90C5-9B65-D5B7-99C5F47A31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25814" y="3154505"/>
            <a:ext cx="2779640" cy="2741959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8ED3F79B-E7CC-1F73-0E00-06B9243C42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7518" y="1320123"/>
            <a:ext cx="2796786" cy="2739212"/>
          </a:xfrm>
          <a:prstGeom prst="rect">
            <a:avLst/>
          </a:prstGeom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5B467A82-23E8-78C5-B40F-E7859F2B60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87105" y="3120081"/>
            <a:ext cx="2780041" cy="274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17">
            <a:extLst>
              <a:ext uri="{FF2B5EF4-FFF2-40B4-BE49-F238E27FC236}">
                <a16:creationId xmlns:a16="http://schemas.microsoft.com/office/drawing/2014/main" id="{BF518D3C-A53F-AAE6-8EE8-D5293CC5CB3C}"/>
              </a:ext>
            </a:extLst>
          </p:cNvPr>
          <p:cNvSpPr/>
          <p:nvPr/>
        </p:nvSpPr>
        <p:spPr>
          <a:xfrm>
            <a:off x="410400" y="4198401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ČSOB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53B3A60-7C0B-1317-9E2C-F8FFCE9FE4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53B3A60-7C0B-1317-9E2C-F8FFCE9FE4B7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9B76AF86-33F7-EC5E-615B-521B27F75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7139947" cy="576000"/>
          </a:xfrm>
        </p:spPr>
        <p:txBody>
          <a:bodyPr vert="horz"/>
          <a:lstStyle/>
          <a:p>
            <a:r>
              <a:rPr lang="cs-CZ" dirty="0"/>
              <a:t>Siemens Smart Infrastructure </a:t>
            </a:r>
            <a:r>
              <a:rPr lang="en-US" dirty="0"/>
              <a:t>I</a:t>
            </a:r>
            <a:r>
              <a:rPr lang="cs-CZ" dirty="0"/>
              <a:t> </a:t>
            </a:r>
            <a:r>
              <a:rPr lang="en-US" dirty="0">
                <a:solidFill>
                  <a:srgbClr val="00FFB9"/>
                </a:solidFill>
              </a:rPr>
              <a:t>Buildings</a:t>
            </a:r>
            <a:br>
              <a:rPr lang="cs-CZ" dirty="0"/>
            </a:br>
            <a:endParaRPr lang="cs-CZ" noProof="0" dirty="0"/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91B19E1-472D-BBD3-1930-B77FE1BDFE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325838" y="3166538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79F650-7F2C-6BD9-DA76-47183B020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692" y="4056691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42DB0116-ED8B-B43B-842B-0CD78F9B4D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09663" y="4039913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2F718A0-D62D-1C45-2312-8FB2C07CB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0E8208-52D4-C134-DD07-A442107A55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5</a:t>
            </a:fld>
            <a:endParaRPr lang="cs-CZ" noProof="0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BB807B5F-37C7-AC7A-9585-6E750F11D4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081736" y="3141371"/>
            <a:ext cx="1277636" cy="0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17">
            <a:extLst>
              <a:ext uri="{FF2B5EF4-FFF2-40B4-BE49-F238E27FC236}">
                <a16:creationId xmlns:a16="http://schemas.microsoft.com/office/drawing/2014/main" id="{80A2E907-E3ED-0ED5-8D2A-96ACD069093A}"/>
              </a:ext>
            </a:extLst>
          </p:cNvPr>
          <p:cNvSpPr/>
          <p:nvPr/>
        </p:nvSpPr>
        <p:spPr>
          <a:xfrm>
            <a:off x="3296512" y="2130053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>
              <a:lnSpc>
                <a:spcPct val="110000"/>
              </a:lnSpc>
              <a:defRPr/>
            </a:pPr>
            <a:r>
              <a:rPr lang="cs-CZ" sz="1600" dirty="0"/>
              <a:t>… Národní muzeum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336282B0-ACA8-AEE2-2D80-9272BC48C09E}"/>
              </a:ext>
            </a:extLst>
          </p:cNvPr>
          <p:cNvSpPr/>
          <p:nvPr/>
        </p:nvSpPr>
        <p:spPr>
          <a:xfrm>
            <a:off x="6215433" y="4200782"/>
            <a:ext cx="2808942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 O2 arena &amp; universum</a:t>
            </a:r>
            <a:endParaRPr lang="cs-CZ" sz="1600" b="1" dirty="0">
              <a:solidFill>
                <a:srgbClr val="00C1B6"/>
              </a:solidFill>
            </a:endParaRPr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55B2D5F7-4DEE-E041-9AFE-1994E2D7EAFE}"/>
              </a:ext>
            </a:extLst>
          </p:cNvPr>
          <p:cNvSpPr/>
          <p:nvPr/>
        </p:nvSpPr>
        <p:spPr>
          <a:xfrm>
            <a:off x="9092266" y="2127574"/>
            <a:ext cx="2796786" cy="85325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36000" bIns="36000" rtlCol="0" anchor="ctr" anchorCtr="0"/>
          <a:lstStyle/>
          <a:p>
            <a:pPr lvl="0">
              <a:lnSpc>
                <a:spcPct val="110000"/>
              </a:lnSpc>
              <a:defRPr/>
            </a:pPr>
            <a:r>
              <a:rPr lang="cs-CZ" sz="1600" dirty="0">
                <a:solidFill>
                  <a:schemeClr val="tx1"/>
                </a:solidFill>
              </a:rPr>
              <a:t>… nové sídlo České spořitelny</a:t>
            </a:r>
            <a:endParaRPr lang="cs-CZ" sz="1600" b="1" dirty="0">
              <a:solidFill>
                <a:srgbClr val="00C1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325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EE4FA5-DB3F-BBD1-771C-8A358146C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6CBA49C-89FA-C269-5FAB-EE267184C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6CBA49C-89FA-C269-5FAB-EE267184CEA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A6B671D6-479A-36FF-C13A-8B9FB44739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66" y="-245872"/>
            <a:ext cx="12175234" cy="6333744"/>
          </a:xfrm>
          <a:prstGeom prst="rect">
            <a:avLst/>
          </a:prstGeom>
        </p:spPr>
      </p:pic>
      <p:grpSp>
        <p:nvGrpSpPr>
          <p:cNvPr id="121" name="Gruppieren 25">
            <a:extLst>
              <a:ext uri="{FF2B5EF4-FFF2-40B4-BE49-F238E27FC236}">
                <a16:creationId xmlns:a16="http://schemas.microsoft.com/office/drawing/2014/main" id="{48190179-08EA-EA16-D273-11EAC98642D8}"/>
              </a:ext>
            </a:extLst>
          </p:cNvPr>
          <p:cNvGrpSpPr/>
          <p:nvPr/>
        </p:nvGrpSpPr>
        <p:grpSpPr>
          <a:xfrm>
            <a:off x="3808207" y="2867203"/>
            <a:ext cx="8383793" cy="1487871"/>
            <a:chOff x="4346088" y="2867203"/>
            <a:chExt cx="7845912" cy="1487871"/>
          </a:xfrm>
        </p:grpSpPr>
        <p:cxnSp>
          <p:nvCxnSpPr>
            <p:cNvPr id="122" name="Gerader Verbinder 15">
              <a:extLst>
                <a:ext uri="{FF2B5EF4-FFF2-40B4-BE49-F238E27FC236}">
                  <a16:creationId xmlns:a16="http://schemas.microsoft.com/office/drawing/2014/main" id="{27D89B59-85EE-6AC6-761E-8A1390614C2C}"/>
                </a:ext>
              </a:extLst>
            </p:cNvPr>
            <p:cNvCxnSpPr>
              <a:cxnSpLocks/>
            </p:cNvCxnSpPr>
            <p:nvPr/>
          </p:nvCxnSpPr>
          <p:spPr>
            <a:xfrm>
              <a:off x="4346088" y="4355074"/>
              <a:ext cx="7845912" cy="0"/>
            </a:xfrm>
            <a:prstGeom prst="line">
              <a:avLst/>
            </a:prstGeom>
            <a:ln w="9525">
              <a:solidFill>
                <a:srgbClr val="66667E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r Verbinder 19">
              <a:extLst>
                <a:ext uri="{FF2B5EF4-FFF2-40B4-BE49-F238E27FC236}">
                  <a16:creationId xmlns:a16="http://schemas.microsoft.com/office/drawing/2014/main" id="{EED1E15A-9E97-2FA1-9183-B9E199FFC8AB}"/>
                </a:ext>
              </a:extLst>
            </p:cNvPr>
            <p:cNvCxnSpPr>
              <a:cxnSpLocks/>
            </p:cNvCxnSpPr>
            <p:nvPr/>
          </p:nvCxnSpPr>
          <p:spPr>
            <a:xfrm>
              <a:off x="4346088" y="2867203"/>
              <a:ext cx="7845912" cy="0"/>
            </a:xfrm>
            <a:prstGeom prst="line">
              <a:avLst/>
            </a:prstGeom>
            <a:ln w="9525">
              <a:solidFill>
                <a:srgbClr val="66667E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fik 35">
            <a:extLst>
              <a:ext uri="{FF2B5EF4-FFF2-40B4-BE49-F238E27FC236}">
                <a16:creationId xmlns:a16="http://schemas.microsoft.com/office/drawing/2014/main" id="{0101B0ED-6550-397F-F150-A28CE76A65A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400" y="1405676"/>
            <a:ext cx="3695795" cy="4344395"/>
          </a:xfrm>
          <a:prstGeom prst="rect">
            <a:avLst/>
          </a:prstGeom>
        </p:spPr>
      </p:pic>
      <p:sp>
        <p:nvSpPr>
          <p:cNvPr id="126" name="TextBox 98" descr="Content text frame">
            <a:extLst>
              <a:ext uri="{FF2B5EF4-FFF2-40B4-BE49-F238E27FC236}">
                <a16:creationId xmlns:a16="http://schemas.microsoft.com/office/drawing/2014/main" id="{D99C839D-C348-EE3C-DCF2-4EAF7D86F135}"/>
              </a:ext>
            </a:extLst>
          </p:cNvPr>
          <p:cNvSpPr txBox="1">
            <a:spLocks/>
          </p:cNvSpPr>
          <p:nvPr/>
        </p:nvSpPr>
        <p:spPr bwMode="black">
          <a:xfrm rot="21199325">
            <a:off x="321091" y="2019529"/>
            <a:ext cx="2444608" cy="300225"/>
          </a:xfrm>
          <a:prstGeom prst="rect">
            <a:avLst/>
          </a:prstGeom>
          <a:scene3d>
            <a:camera prst="isometricTopUp"/>
            <a:lightRig rig="threePt" dir="t"/>
          </a:scene3d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ální služb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7" name="Gruppieren 18">
            <a:extLst>
              <a:ext uri="{FF2B5EF4-FFF2-40B4-BE49-F238E27FC236}">
                <a16:creationId xmlns:a16="http://schemas.microsoft.com/office/drawing/2014/main" id="{1A616848-5004-36FE-0043-5BFF74F729C0}"/>
              </a:ext>
            </a:extLst>
          </p:cNvPr>
          <p:cNvGrpSpPr/>
          <p:nvPr/>
        </p:nvGrpSpPr>
        <p:grpSpPr>
          <a:xfrm>
            <a:off x="4861198" y="1601964"/>
            <a:ext cx="5578202" cy="1042605"/>
            <a:chOff x="4861198" y="1601964"/>
            <a:chExt cx="6264354" cy="1042605"/>
          </a:xfrm>
          <a:solidFill>
            <a:srgbClr val="333353"/>
          </a:solidFill>
        </p:grpSpPr>
        <p:sp>
          <p:nvSpPr>
            <p:cNvPr id="128" name="Rectangle 92">
              <a:extLst>
                <a:ext uri="{FF2B5EF4-FFF2-40B4-BE49-F238E27FC236}">
                  <a16:creationId xmlns:a16="http://schemas.microsoft.com/office/drawing/2014/main" id="{FA84A934-E00F-4413-7DEB-BB0BFA50CD80}"/>
                </a:ext>
              </a:extLst>
            </p:cNvPr>
            <p:cNvSpPr>
              <a:spLocks/>
            </p:cNvSpPr>
            <p:nvPr/>
          </p:nvSpPr>
          <p:spPr>
            <a:xfrm>
              <a:off x="4861198" y="1601964"/>
              <a:ext cx="3042177" cy="1042605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 anchorCtr="0"/>
            <a:lstStyle/>
            <a:p>
              <a:pPr>
                <a:defRPr/>
              </a:pPr>
              <a:r>
                <a:rPr lang="cs-CZ" sz="2000" b="1" dirty="0">
                  <a:solidFill>
                    <a:srgbClr val="00FFB9"/>
                  </a:solidFill>
                </a:rPr>
                <a:t>Digitální služby</a:t>
              </a:r>
              <a:endParaRPr lang="en-US" sz="2000" b="1" dirty="0">
                <a:solidFill>
                  <a:srgbClr val="00FFB9"/>
                </a:solidFill>
              </a:endParaRPr>
            </a:p>
          </p:txBody>
        </p:sp>
        <p:sp>
          <p:nvSpPr>
            <p:cNvPr id="129" name="Rectangle 93">
              <a:extLst>
                <a:ext uri="{FF2B5EF4-FFF2-40B4-BE49-F238E27FC236}">
                  <a16:creationId xmlns:a16="http://schemas.microsoft.com/office/drawing/2014/main" id="{0F45B755-C059-04D0-F2D5-629A5E2EE6A0}"/>
                </a:ext>
              </a:extLst>
            </p:cNvPr>
            <p:cNvSpPr>
              <a:spLocks/>
            </p:cNvSpPr>
            <p:nvPr/>
          </p:nvSpPr>
          <p:spPr>
            <a:xfrm>
              <a:off x="8083375" y="1601964"/>
              <a:ext cx="3042177" cy="1042605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FFB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al</a:t>
              </a:r>
              <a:r>
                <a:rPr lang="cs-CZ" sz="1200" b="1" dirty="0" err="1">
                  <a:solidFill>
                    <a:srgbClr val="00FFB9"/>
                  </a:solidFill>
                  <a:latin typeface="Arial"/>
                </a:rPr>
                <a:t>ýza</a:t>
              </a:r>
              <a:r>
                <a:rPr lang="cs-CZ" sz="1200" b="1" dirty="0">
                  <a:solidFill>
                    <a:srgbClr val="00FFB9"/>
                  </a:solidFill>
                  <a:latin typeface="Arial"/>
                </a:rPr>
                <a:t> systému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FFB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timalizace provozu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b="1" dirty="0">
                  <a:solidFill>
                    <a:srgbClr val="00FFB9"/>
                  </a:solidFill>
                  <a:latin typeface="Arial"/>
                </a:rPr>
                <a:t>Monitoring</a:t>
              </a:r>
              <a:endPara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>
                <a:defRPr/>
              </a:pPr>
              <a:r>
                <a:rPr lang="cs-CZ" sz="1200" b="1" dirty="0">
                  <a:solidFill>
                    <a:srgbClr val="00FFB9"/>
                  </a:solidFill>
                </a:rPr>
                <a:t>Úspora času a energie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0" name="Rectangle 92">
            <a:extLst>
              <a:ext uri="{FF2B5EF4-FFF2-40B4-BE49-F238E27FC236}">
                <a16:creationId xmlns:a16="http://schemas.microsoft.com/office/drawing/2014/main" id="{F83019C3-800F-68A3-A74E-46BCA73F75DA}"/>
              </a:ext>
            </a:extLst>
          </p:cNvPr>
          <p:cNvSpPr>
            <a:spLocks/>
          </p:cNvSpPr>
          <p:nvPr/>
        </p:nvSpPr>
        <p:spPr>
          <a:xfrm>
            <a:off x="4861198" y="3096477"/>
            <a:ext cx="5578202" cy="1042605"/>
          </a:xfrm>
          <a:prstGeom prst="rect">
            <a:avLst/>
          </a:prstGeom>
          <a:solidFill>
            <a:srgbClr val="3333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72000" rtlCol="0" anchor="ctr" anchorCtr="0"/>
          <a:lstStyle/>
          <a:p>
            <a:pPr lvl="0">
              <a:defRPr/>
            </a:pPr>
            <a:r>
              <a:rPr lang="cs-CZ" sz="2000" b="1" dirty="0">
                <a:solidFill>
                  <a:srgbClr val="00FFB9"/>
                </a:solidFill>
              </a:rPr>
              <a:t>Aplikace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ing X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form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lang="cs-CZ" sz="1200" dirty="0">
                <a:solidFill>
                  <a:prstClr val="white"/>
                </a:solidFill>
                <a:latin typeface="Arial"/>
              </a:rPr>
              <a:t>Agregace da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|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kročilá analýz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|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áv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ge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zařízení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|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dpor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PI</a:t>
            </a:r>
          </a:p>
        </p:txBody>
      </p:sp>
      <p:sp>
        <p:nvSpPr>
          <p:cNvPr id="131" name="Rectangle 92">
            <a:extLst>
              <a:ext uri="{FF2B5EF4-FFF2-40B4-BE49-F238E27FC236}">
                <a16:creationId xmlns:a16="http://schemas.microsoft.com/office/drawing/2014/main" id="{BD9A48E2-0743-E538-6A19-398104DDD01C}"/>
              </a:ext>
            </a:extLst>
          </p:cNvPr>
          <p:cNvSpPr>
            <a:spLocks/>
          </p:cNvSpPr>
          <p:nvPr/>
        </p:nvSpPr>
        <p:spPr>
          <a:xfrm>
            <a:off x="4861198" y="4577707"/>
            <a:ext cx="5578202" cy="1042605"/>
          </a:xfrm>
          <a:prstGeom prst="rect">
            <a:avLst/>
          </a:prstGeom>
          <a:solidFill>
            <a:srgbClr val="3333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ální infrastruktur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ge HW &amp; SW | Cloud-2-Cloud |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Gen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|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řipojení </a:t>
            </a:r>
            <a:r>
              <a:rPr lang="cs-CZ" sz="1200" dirty="0">
                <a:solidFill>
                  <a:prstClr val="white"/>
                </a:solidFill>
                <a:latin typeface="Arial"/>
              </a:rPr>
              <a:t>třetí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tran</a:t>
            </a:r>
            <a:r>
              <a:rPr lang="en-US" sz="1200" dirty="0">
                <a:solidFill>
                  <a:prstClr val="white"/>
                </a:solidFill>
              </a:rPr>
              <a:t> |</a:t>
            </a:r>
            <a:r>
              <a:rPr lang="cs-CZ" sz="1200" dirty="0">
                <a:solidFill>
                  <a:prstClr val="white"/>
                </a:solidFill>
              </a:rPr>
              <a:t> Vzdálený přístup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Rectangle 92">
            <a:extLst>
              <a:ext uri="{FF2B5EF4-FFF2-40B4-BE49-F238E27FC236}">
                <a16:creationId xmlns:a16="http://schemas.microsoft.com/office/drawing/2014/main" id="{0D64F423-665D-7867-865D-21A327E64EF9}"/>
              </a:ext>
            </a:extLst>
          </p:cNvPr>
          <p:cNvSpPr>
            <a:spLocks/>
          </p:cNvSpPr>
          <p:nvPr/>
        </p:nvSpPr>
        <p:spPr>
          <a:xfrm>
            <a:off x="11281594" y="1601965"/>
            <a:ext cx="505595" cy="4018348"/>
          </a:xfrm>
          <a:prstGeom prst="rect">
            <a:avLst/>
          </a:prstGeom>
          <a:solidFill>
            <a:schemeClr val="accent6"/>
          </a:solidFill>
          <a:ln w="3175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08000" tIns="72000" rIns="108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kosysté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Rectangle 92">
            <a:extLst>
              <a:ext uri="{FF2B5EF4-FFF2-40B4-BE49-F238E27FC236}">
                <a16:creationId xmlns:a16="http://schemas.microsoft.com/office/drawing/2014/main" id="{2542C9F7-9019-A100-D773-489D0AA4F2D1}"/>
              </a:ext>
            </a:extLst>
          </p:cNvPr>
          <p:cNvSpPr>
            <a:spLocks/>
          </p:cNvSpPr>
          <p:nvPr/>
        </p:nvSpPr>
        <p:spPr>
          <a:xfrm>
            <a:off x="10668001" y="1601965"/>
            <a:ext cx="505595" cy="4018348"/>
          </a:xfrm>
          <a:prstGeom prst="rect">
            <a:avLst/>
          </a:prstGeom>
          <a:solidFill>
            <a:schemeClr val="accent6"/>
          </a:solidFill>
          <a:ln w="3175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08000" tIns="72000" rIns="108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ybernetická bezpečnos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33">
            <a:extLst>
              <a:ext uri="{FF2B5EF4-FFF2-40B4-BE49-F238E27FC236}">
                <a16:creationId xmlns:a16="http://schemas.microsoft.com/office/drawing/2014/main" id="{5239997E-79CE-6190-67B1-3CC0A6D982FC}"/>
              </a:ext>
            </a:extLst>
          </p:cNvPr>
          <p:cNvSpPr txBox="1">
            <a:spLocks/>
          </p:cNvSpPr>
          <p:nvPr/>
        </p:nvSpPr>
        <p:spPr>
          <a:xfrm>
            <a:off x="320892" y="6274309"/>
            <a:ext cx="756000" cy="5472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na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t>6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00DFEB1-DFB0-67E2-86B8-49628AD08F3E}"/>
              </a:ext>
            </a:extLst>
          </p:cNvPr>
          <p:cNvSpPr txBox="1">
            <a:spLocks/>
          </p:cNvSpPr>
          <p:nvPr/>
        </p:nvSpPr>
        <p:spPr bwMode="black">
          <a:xfrm>
            <a:off x="410400" y="478800"/>
            <a:ext cx="9948972" cy="291328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Siemens Smart Infrastructure </a:t>
            </a:r>
            <a:r>
              <a:rPr lang="en-US" dirty="0"/>
              <a:t>I</a:t>
            </a:r>
            <a:r>
              <a:rPr lang="cs-CZ" dirty="0"/>
              <a:t> </a:t>
            </a:r>
            <a:r>
              <a:rPr lang="en-US" dirty="0"/>
              <a:t>Buildings I</a:t>
            </a:r>
            <a:r>
              <a:rPr lang="cs-CZ" dirty="0"/>
              <a:t> </a:t>
            </a:r>
            <a:r>
              <a:rPr lang="cs-CZ" dirty="0">
                <a:solidFill>
                  <a:srgbClr val="00FFB9"/>
                </a:solidFill>
              </a:rPr>
              <a:t>Digital </a:t>
            </a:r>
            <a:r>
              <a:rPr lang="cs-CZ" dirty="0" err="1">
                <a:solidFill>
                  <a:srgbClr val="00FFB9"/>
                </a:solidFill>
              </a:rPr>
              <a:t>Service</a:t>
            </a:r>
            <a:r>
              <a:rPr lang="cs-CZ" dirty="0">
                <a:solidFill>
                  <a:srgbClr val="00FFB9"/>
                </a:solidFill>
              </a:rPr>
              <a:t> Centre</a:t>
            </a:r>
            <a:endParaRPr lang="cs-CZ" dirty="0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3EFF3CA7-D59A-AFD8-AA57-C80F9A1A3A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</p:spTree>
    <p:extLst>
      <p:ext uri="{BB962C8B-B14F-4D97-AF65-F5344CB8AC3E}">
        <p14:creationId xmlns:p14="http://schemas.microsoft.com/office/powerpoint/2010/main" val="12555421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AA0624-FD51-DCCB-E99B-B6E948B73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85E2064-B998-5D51-ECF3-2E51C968C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85E2064-B998-5D51-ECF3-2E51C968C8AC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294E5895-C4DA-9CF7-E09C-EB9E61A6A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7139947" cy="576000"/>
          </a:xfrm>
        </p:spPr>
        <p:txBody>
          <a:bodyPr vert="horz"/>
          <a:lstStyle/>
          <a:p>
            <a:r>
              <a:rPr lang="cs-CZ" dirty="0"/>
              <a:t>Aplikace v praxi</a:t>
            </a:r>
            <a:endParaRPr lang="cs-CZ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4C6AC31-A322-4A94-7B58-64FFBC3217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EFB5B9-ADFB-6D37-F8BA-92592F587D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7</a:t>
            </a:fld>
            <a:endParaRPr lang="cs-CZ" noProof="0" dirty="0"/>
          </a:p>
        </p:txBody>
      </p:sp>
      <p:pic>
        <p:nvPicPr>
          <p:cNvPr id="5" name="Picture 2" descr="A screen shot of a tablet&#10;&#10;Description automatically generated">
            <a:extLst>
              <a:ext uri="{FF2B5EF4-FFF2-40B4-BE49-F238E27FC236}">
                <a16:creationId xmlns:a16="http://schemas.microsoft.com/office/drawing/2014/main" id="{31E20A03-9176-25F0-DB78-5566AD8940C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8556" y="0"/>
            <a:ext cx="7333109" cy="6858000"/>
          </a:xfrm>
          <a:prstGeom prst="rect">
            <a:avLst/>
          </a:prstGeom>
        </p:spPr>
      </p:pic>
      <p:pic>
        <p:nvPicPr>
          <p:cNvPr id="9" name="Picture 4" descr="Krabici a telefon&#10;&#10;Popis automaticky generován se střední jistotou">
            <a:extLst>
              <a:ext uri="{FF2B5EF4-FFF2-40B4-BE49-F238E27FC236}">
                <a16:creationId xmlns:a16="http://schemas.microsoft.com/office/drawing/2014/main" id="{13050435-054D-B3BA-725B-017A9B88835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59160" y="1246093"/>
            <a:ext cx="2661193" cy="4697507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EFCF8868-D8D5-EDAF-5243-C923839AED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1206" y="914400"/>
            <a:ext cx="11469588" cy="552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344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6F224-264B-F3DB-9BF7-C7889C24D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AA8F1BD-688B-95F6-AAFF-A6D0565A9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AA8F1BD-688B-95F6-AAFF-A6D0565A9E7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F479FC24-7C74-AE7A-A4CF-6333A4F30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7139947" cy="576000"/>
          </a:xfrm>
        </p:spPr>
        <p:txBody>
          <a:bodyPr vert="horz"/>
          <a:lstStyle/>
          <a:p>
            <a:r>
              <a:rPr lang="cs-CZ" dirty="0"/>
              <a:t>Aplikace v praxi</a:t>
            </a:r>
            <a:endParaRPr lang="cs-CZ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9DD34B6-D136-47D9-9BAC-85A20B26EF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F75A9E-C9A7-1C47-C788-CA95F8A148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8</a:t>
            </a:fld>
            <a:endParaRPr lang="cs-CZ" noProof="0" dirty="0"/>
          </a:p>
        </p:txBody>
      </p:sp>
      <p:pic>
        <p:nvPicPr>
          <p:cNvPr id="5" name="Picture 2" descr="A screen shot of a tablet&#10;&#10;Description automatically generated">
            <a:extLst>
              <a:ext uri="{FF2B5EF4-FFF2-40B4-BE49-F238E27FC236}">
                <a16:creationId xmlns:a16="http://schemas.microsoft.com/office/drawing/2014/main" id="{2E5ECAEA-E70F-AA39-272F-655913D9869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8556" y="0"/>
            <a:ext cx="7333109" cy="6858000"/>
          </a:xfrm>
          <a:prstGeom prst="rect">
            <a:avLst/>
          </a:prstGeom>
        </p:spPr>
      </p:pic>
      <p:pic>
        <p:nvPicPr>
          <p:cNvPr id="9" name="Picture 4" descr="Krabici a telefon&#10;&#10;Popis automaticky generován se střední jistotou">
            <a:extLst>
              <a:ext uri="{FF2B5EF4-FFF2-40B4-BE49-F238E27FC236}">
                <a16:creationId xmlns:a16="http://schemas.microsoft.com/office/drawing/2014/main" id="{DA6988D4-8EAA-E0C8-449C-05CE5A14D2D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59160" y="1246093"/>
            <a:ext cx="2661193" cy="4697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180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0B901-6453-17C0-E472-7F0617A94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147BD0C-6EF7-0951-140D-4192F81196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565" y="123811"/>
            <a:ext cx="5430913" cy="5261857"/>
          </a:xfrm>
          <a:prstGeom prst="rect">
            <a:avLst/>
          </a:prstGeom>
        </p:spPr>
      </p:pic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810AA224-A24C-5C2F-1C6D-72378A5209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12" imgH="514" progId="TCLayout.ActiveDocument.1">
                  <p:embed/>
                </p:oleObj>
              </mc:Choice>
              <mc:Fallback>
                <p:oleObj name="think-cell Slide" r:id="rId5" imgW="512" imgH="51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0AA224-A24C-5C2F-1C6D-72378A520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BB7A06-FE5E-4E58-B356-4261869995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>
              <a:buClr>
                <a:srgbClr val="009999"/>
              </a:buClr>
              <a:defRPr/>
            </a:pPr>
            <a:r>
              <a:rPr lang="cs-CZ" kern="0" dirty="0">
                <a:solidFill>
                  <a:prstClr val="white"/>
                </a:solidFill>
              </a:rPr>
              <a:t>Všechna práva vyhrazena</a:t>
            </a:r>
            <a:r>
              <a:rPr lang="en-US" kern="0" dirty="0">
                <a:solidFill>
                  <a:prstClr val="white"/>
                </a:solidFill>
              </a:rPr>
              <a:t> | © Siemens 2026 | </a:t>
            </a:r>
            <a:r>
              <a:rPr lang="cs-CZ" kern="0" dirty="0">
                <a:solidFill>
                  <a:prstClr val="white"/>
                </a:solidFill>
              </a:rPr>
              <a:t>Smart Infrastructure</a:t>
            </a:r>
            <a:r>
              <a:rPr lang="en-US" kern="0" dirty="0">
                <a:solidFill>
                  <a:prstClr val="white"/>
                </a:solidFill>
              </a:rPr>
              <a:t> | Buildings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6FB3167F-4C55-3193-5E18-5292D3AE8D2F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13000"/>
          </a:blip>
          <a:stretch>
            <a:fillRect/>
          </a:stretch>
        </p:blipFill>
        <p:spPr>
          <a:xfrm>
            <a:off x="6096000" y="201819"/>
            <a:ext cx="5883150" cy="2552921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6C7A2E9B-A2F7-70D0-B005-F18B4B027241}"/>
              </a:ext>
            </a:extLst>
          </p:cNvPr>
          <p:cNvSpPr/>
          <p:nvPr/>
        </p:nvSpPr>
        <p:spPr>
          <a:xfrm>
            <a:off x="239012" y="4368800"/>
            <a:ext cx="5737860" cy="1639189"/>
          </a:xfrm>
          <a:prstGeom prst="rect">
            <a:avLst/>
          </a:prstGeom>
          <a:solidFill>
            <a:srgbClr val="000028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1B5BBDD-E899-6F4D-6F4A-D8395F917B6A}"/>
              </a:ext>
            </a:extLst>
          </p:cNvPr>
          <p:cNvSpPr/>
          <p:nvPr/>
        </p:nvSpPr>
        <p:spPr>
          <a:xfrm>
            <a:off x="266190" y="194083"/>
            <a:ext cx="5737860" cy="983821"/>
          </a:xfrm>
          <a:prstGeom prst="rect">
            <a:avLst/>
          </a:prstGeom>
          <a:solidFill>
            <a:srgbClr val="00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49AAA25C-8FF3-42C0-280D-10CEA700C9BA}"/>
              </a:ext>
            </a:extLst>
          </p:cNvPr>
          <p:cNvSpPr/>
          <p:nvPr/>
        </p:nvSpPr>
        <p:spPr>
          <a:xfrm>
            <a:off x="353565" y="847834"/>
            <a:ext cx="5508755" cy="952392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accent2">
                <a:lumMod val="40000"/>
                <a:lumOff val="60000"/>
                <a:alpha val="8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57CA49F-9138-117C-4A81-C8219A99D4C6}"/>
              </a:ext>
            </a:extLst>
          </p:cNvPr>
          <p:cNvSpPr/>
          <p:nvPr/>
        </p:nvSpPr>
        <p:spPr>
          <a:xfrm>
            <a:off x="285495" y="816405"/>
            <a:ext cx="5665215" cy="3024075"/>
          </a:xfrm>
          <a:prstGeom prst="rect">
            <a:avLst/>
          </a:prstGeom>
          <a:solidFill>
            <a:srgbClr val="000028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cs-CZ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9BCB89FB-345C-5A5E-FDF1-9A02B368EE56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3000"/>
          </a:blip>
          <a:stretch>
            <a:fillRect/>
          </a:stretch>
        </p:blipFill>
        <p:spPr>
          <a:xfrm>
            <a:off x="6096000" y="1029714"/>
            <a:ext cx="5883150" cy="2133655"/>
          </a:xfrm>
          <a:prstGeom prst="rect">
            <a:avLst/>
          </a:prstGeom>
        </p:spPr>
      </p:pic>
      <p:pic>
        <p:nvPicPr>
          <p:cNvPr id="10" name="Grafik 10" descr="Ein Bild, das Grafiken, Symbol, Kreis, Grafikdesign enthält.&#10;&#10;Automatisch generierte Beschreibung">
            <a:extLst>
              <a:ext uri="{FF2B5EF4-FFF2-40B4-BE49-F238E27FC236}">
                <a16:creationId xmlns:a16="http://schemas.microsoft.com/office/drawing/2014/main" id="{9124A8C6-039D-885B-5C92-7F4DE1CED74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565" y="383221"/>
            <a:ext cx="685736" cy="685736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B7EF4852-7105-8BB4-571E-15CA2EC3C9FF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13000"/>
          </a:blip>
          <a:stretch>
            <a:fillRect/>
          </a:stretch>
        </p:blipFill>
        <p:spPr>
          <a:xfrm>
            <a:off x="6091425" y="1542749"/>
            <a:ext cx="5883150" cy="2039886"/>
          </a:xfrm>
          <a:prstGeom prst="rect">
            <a:avLst/>
          </a:prstGeom>
        </p:spPr>
      </p:pic>
      <p:sp>
        <p:nvSpPr>
          <p:cNvPr id="12" name="Titel 4">
            <a:extLst>
              <a:ext uri="{FF2B5EF4-FFF2-40B4-BE49-F238E27FC236}">
                <a16:creationId xmlns:a16="http://schemas.microsoft.com/office/drawing/2014/main" id="{F29F949D-BE86-D86D-5C25-4230CDAF12DF}"/>
              </a:ext>
            </a:extLst>
          </p:cNvPr>
          <p:cNvSpPr txBox="1">
            <a:spLocks/>
          </p:cNvSpPr>
          <p:nvPr/>
        </p:nvSpPr>
        <p:spPr bwMode="black">
          <a:xfrm>
            <a:off x="1185079" y="379116"/>
            <a:ext cx="4482081" cy="41508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Data </a:t>
            </a:r>
            <a:r>
              <a:rPr kumimoji="0" lang="cs-CZ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Visualizer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 WIDGE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0">
                <a:solidFill>
                  <a:schemeClr val="tx1"/>
                </a:solidFill>
                <a:latin typeface="Arial"/>
                <a:sym typeface="Arial"/>
              </a:rPr>
              <a:t>Table </a:t>
            </a:r>
            <a:r>
              <a:rPr lang="cs-CZ" sz="1400" b="0" err="1">
                <a:solidFill>
                  <a:schemeClr val="tx1"/>
                </a:solidFill>
                <a:latin typeface="Arial"/>
                <a:sym typeface="Arial"/>
              </a:rPr>
              <a:t>widgetD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F0417725-112F-B3E9-2DF5-B46416DF402C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13000"/>
          </a:blip>
          <a:stretch>
            <a:fillRect/>
          </a:stretch>
        </p:blipFill>
        <p:spPr>
          <a:xfrm>
            <a:off x="6095998" y="2048332"/>
            <a:ext cx="5878575" cy="3177815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5BA26E9F-EADA-35CE-5A7E-65C8B8DA95CF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13000"/>
          </a:blip>
          <a:stretch>
            <a:fillRect/>
          </a:stretch>
        </p:blipFill>
        <p:spPr>
          <a:xfrm>
            <a:off x="6248398" y="2200732"/>
            <a:ext cx="5878575" cy="3177815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000D7A87-187E-7FB4-A530-3F3DF3918D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93807" y="2858399"/>
            <a:ext cx="5880768" cy="2456851"/>
          </a:xfrm>
          <a:prstGeom prst="rect">
            <a:avLst/>
          </a:prstGeom>
        </p:spPr>
      </p:pic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38F774A5-1C54-7D33-E3BC-17473E8F39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cs-CZ" noProof="0" dirty="0"/>
              <a:t>Strana </a:t>
            </a:r>
            <a:fld id="{15EBE321-CBB1-4E91-BD14-37C8D44326FB}" type="slidenum">
              <a:rPr lang="cs-CZ" noProof="0" smtClean="0"/>
              <a:pPr/>
              <a:t>9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762650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IAAAAAAAAAAwAAAAMAAAAA/////wQAJww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y3fQGfG7REghDheryNzjUFAAAAAAADAAAAAAADAAAAAwADAAAAAAADAAAAAwADAAMA////////BAAAAAMAEAALQuea6N+Ta0KXR+hF5TWH7gUAAAABAAMAAAACAAMAAAABAAMAAAAC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y3fQGfG7REghDheryNzjUDRGF0YQAbAAAABExpbmtlZFNoYXBlRGF0YQAFAAAAAAACTmFtZQAZAAAATGlua2VkU2hhcGVzRGF0YVByb3BlcnR5ABBWZXJzaW9uAAAAAAAJTGFzdFdyaXRlAIYNHAh/AQAAAAEA/////50AnQAAAAVfaWQAEAAAAARC55ro35NrQpdH6EXlNYfuA0RhdGEAKgAAAAhQcmVzZW50YXRpb25TY2FubmVkRm9yTGlua2VkU2hhcGVzAAEAAk5hbWUAJAAAAExpbmtlZFNoYXBlUHJlc2VudGF0aW9uU2V0dGluZ3NEYXRhABBWZXJzaW9uAAAAAAAJTGFzdFdyaXRlANYNHAh/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aQheTnwvKuIDWafWof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sie-ppt-O365-16x9-standard-eng-v3-3-0.pptx" id="{FF2D73E3-CA9F-4E98-96CB-EB9FE63584C3}" vid="{F9C37FDE-CD3E-4D4F-A7DB-ACE1100ACBE5}"/>
    </a:ext>
  </a:extLst>
</a:theme>
</file>

<file path=ppt/theme/theme10.xml><?xml version="1.0" encoding="utf-8"?>
<a:theme xmlns:a="http://schemas.openxmlformats.org/drawingml/2006/main" name="24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4.potx" id="{99EA5F69-8815-4072-9B7C-FC133107D0EC}" vid="{E9CECF10-083F-4B56-B889-306B0E9C0A2F}"/>
    </a:ext>
  </a:extLst>
</a:theme>
</file>

<file path=ppt/theme/theme11.xml><?xml version="1.0" encoding="utf-8"?>
<a:theme xmlns:a="http://schemas.openxmlformats.org/drawingml/2006/main" name="sie-ppt-O365-16x9-standard-eng-2023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2023" id="{E44AF093-EED7-4AA9-BAB1-4782908F062D}" vid="{83ADEFDE-CDB4-41D2-8793-DFACAFC3922B}"/>
    </a:ext>
  </a:extLst>
</a:theme>
</file>

<file path=ppt/theme/theme12.xml><?xml version="1.0" encoding="utf-8"?>
<a:theme xmlns:a="http://schemas.openxmlformats.org/drawingml/2006/main" name="29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8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Presentation1" id="{DB412366-0BD0-6746-B2D2-28A9C90A57DC}" vid="{A116A2CC-FF45-0B47-B59E-D18DD47FD0DE}"/>
    </a:ext>
  </a:extLst>
</a:theme>
</file>

<file path=ppt/theme/theme15.xml><?xml version="1.0" encoding="utf-8"?>
<a:theme xmlns:a="http://schemas.openxmlformats.org/drawingml/2006/main" name="5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4.pptx" id="{546CC482-0BBB-4CFB-B701-E3D0627EFDB3}" vid="{22300633-0624-408C-B4D8-A1C9F6F4C759}"/>
    </a:ext>
  </a:extLst>
</a:theme>
</file>

<file path=ppt/theme/theme16.xml><?xml version="1.0" encoding="utf-8"?>
<a:theme xmlns:a="http://schemas.openxmlformats.org/drawingml/2006/main" name="12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3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3.pptx" id="{4CAFFC72-320D-4453-93DC-83BC8FC4786A}" vid="{24C4D888-5E3A-4082-83EA-D128FE4FD6C5}"/>
    </a:ext>
  </a:extLst>
</a:theme>
</file>

<file path=ppt/theme/theme18.xml><?xml version="1.0" encoding="utf-8"?>
<a:theme xmlns:a="http://schemas.openxmlformats.org/drawingml/2006/main" name="18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Petrol Light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21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23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4.potx" id="{99EA5F69-8815-4072-9B7C-FC133107D0EC}" vid="{E9CECF10-083F-4B56-B889-306B0E9C0A2F}"/>
    </a:ext>
  </a:extLst>
</a:theme>
</file>

<file path=ppt/theme/theme21.xml><?xml version="1.0" encoding="utf-8"?>
<a:theme xmlns:a="http://schemas.openxmlformats.org/drawingml/2006/main" name="26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3.pptx" id="{610F14FA-6370-4702-910B-FD07F822D983}" vid="{AA31864D-3AE4-4975-9E71-C341E134A110}"/>
    </a:ext>
  </a:extLst>
</a:theme>
</file>

<file path=ppt/theme/theme2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1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short-version-eng-v3-4-4.potx" id="{FB8FAFF5-9734-423A-9AF1-A9C18D463ABE}" vid="{06A52277-D83A-4AD4-B49A-6AD8A695E407}"/>
    </a:ext>
  </a:extLst>
</a:theme>
</file>

<file path=ppt/theme/theme5.xml><?xml version="1.0" encoding="utf-8"?>
<a:theme xmlns:a="http://schemas.openxmlformats.org/drawingml/2006/main" name="17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3.pptx" id="{4CAFFC72-320D-4453-93DC-83BC8FC4786A}" vid="{24C4D888-5E3A-4082-83EA-D128FE4FD6C5}"/>
    </a:ext>
  </a:extLst>
</a:theme>
</file>

<file path=ppt/theme/theme7.xml><?xml version="1.0" encoding="utf-8"?>
<a:theme xmlns:a="http://schemas.openxmlformats.org/drawingml/2006/main" name="2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Kurzversion-deu-v3-4-4.potx" id="{89C51C60-D8CE-4591-8735-8EDEC48667FC}" vid="{672DD01E-71F3-4B67-8385-703D85812CDD}"/>
    </a:ext>
  </a:extLst>
</a:theme>
</file>

<file path=ppt/theme/theme8.xml><?xml version="1.0" encoding="utf-8"?>
<a:theme xmlns:a="http://schemas.openxmlformats.org/drawingml/2006/main" name="4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fb_sie-ppt-O365-16x9-standard-eng-v3-4-4.potx" id="{5A84F48E-C9E2-40F1-983C-9518F768C940}" vid="{AD8706AA-35BD-4BF3-9E5B-C7EB9BC3A74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640c0f3-50bc-4424-9e61-4ef1b86116ce" xsi:nil="true"/>
    <lcf76f155ced4ddcb4097134ff3c332f xmlns="772c696e-72cc-4cd3-bb28-5fe776f213c7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7D4DA43FD873F42882D47B74B023E41" ma:contentTypeVersion="19" ma:contentTypeDescription="Vytvoří nový dokument" ma:contentTypeScope="" ma:versionID="04bd1610c08e5c026ff37809200e6f0a">
  <xsd:schema xmlns:xsd="http://www.w3.org/2001/XMLSchema" xmlns:xs="http://www.w3.org/2001/XMLSchema" xmlns:p="http://schemas.microsoft.com/office/2006/metadata/properties" xmlns:ns2="772c696e-72cc-4cd3-bb28-5fe776f213c7" xmlns:ns3="8640c0f3-50bc-4424-9e61-4ef1b86116ce" targetNamespace="http://schemas.microsoft.com/office/2006/metadata/properties" ma:root="true" ma:fieldsID="a2523806e91b1489b7430dcf58378c0d" ns2:_="" ns3:_="">
    <xsd:import namespace="772c696e-72cc-4cd3-bb28-5fe776f213c7"/>
    <xsd:import namespace="8640c0f3-50bc-4424-9e61-4ef1b86116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2c696e-72cc-4cd3-bb28-5fe776f213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Značky obrázků" ma:readOnly="false" ma:fieldId="{5cf76f15-5ced-4ddc-b409-7134ff3c332f}" ma:taxonomyMulti="true" ma:sspId="c2ae7835-4693-48eb-aa0e-48a11e2100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0c0f3-50bc-4424-9e61-4ef1b86116ce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99ee5c-a7c3-48c6-83d8-47f8230ae65f}" ma:internalName="TaxCatchAll" ma:showField="CatchAllData" ma:web="8640c0f3-50bc-4424-9e61-4ef1b86116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6C667D-B4D7-4F10-94B8-73B5A49CA681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56810815-8df0-4f10-8da7-34164765fbe3"/>
    <ds:schemaRef ds:uri="e6fe3c2d-281d-4c56-b69d-ac9c6d33dd1b"/>
    <ds:schemaRef ds:uri="http://www.w3.org/XML/1998/namespace"/>
    <ds:schemaRef ds:uri="http://purl.org/dc/dcmitype/"/>
    <ds:schemaRef ds:uri="94d9ac41-2f84-42f0-ac57-65e1a7c4dbbb"/>
  </ds:schemaRefs>
</ds:datastoreItem>
</file>

<file path=customXml/itemProps2.xml><?xml version="1.0" encoding="utf-8"?>
<ds:datastoreItem xmlns:ds="http://schemas.openxmlformats.org/officeDocument/2006/customXml" ds:itemID="{B5B8B7B2-14A5-4F50-B758-91C7EB9339AA}"/>
</file>

<file path=customXml/itemProps3.xml><?xml version="1.0" encoding="utf-8"?>
<ds:datastoreItem xmlns:ds="http://schemas.openxmlformats.org/officeDocument/2006/customXml" ds:itemID="{A121035A-415A-4A2C-8DA0-54CB6B14F13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ie-ppt-O365-16x9-standard-eng-v3-3-0</Template>
  <TotalTime>1</TotalTime>
  <Words>886</Words>
  <Application>Microsoft Office PowerPoint</Application>
  <PresentationFormat>Širokoúhlá obrazovka</PresentationFormat>
  <Paragraphs>210</Paragraphs>
  <Slides>21</Slides>
  <Notes>17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21</vt:i4>
      </vt:variant>
    </vt:vector>
  </HeadingPairs>
  <TitlesOfParts>
    <vt:vector size="49" baseType="lpstr">
      <vt:lpstr>Gulim</vt:lpstr>
      <vt:lpstr>Arial</vt:lpstr>
      <vt:lpstr>Calibri</vt:lpstr>
      <vt:lpstr>Calibri Light</vt:lpstr>
      <vt:lpstr>Wingdings</vt:lpstr>
      <vt:lpstr>Siemens 2020</vt:lpstr>
      <vt:lpstr>Siemens 2022</vt:lpstr>
      <vt:lpstr>1_Siemens 2022</vt:lpstr>
      <vt:lpstr>11_Siemens 2022</vt:lpstr>
      <vt:lpstr>17_Siemens 2022</vt:lpstr>
      <vt:lpstr>3_Siemens 2022</vt:lpstr>
      <vt:lpstr>2_Siemens 2022</vt:lpstr>
      <vt:lpstr>4_Siemens 2022</vt:lpstr>
      <vt:lpstr>6_Siemens 2022</vt:lpstr>
      <vt:lpstr>24_Siemens 2022</vt:lpstr>
      <vt:lpstr>sie-ppt-O365-16x9-standard-eng-2023</vt:lpstr>
      <vt:lpstr>29_Siemens 2022</vt:lpstr>
      <vt:lpstr>Motiv Office</vt:lpstr>
      <vt:lpstr>8_Siemens 2022</vt:lpstr>
      <vt:lpstr>5_Siemens 2022</vt:lpstr>
      <vt:lpstr>12_Siemens 2022</vt:lpstr>
      <vt:lpstr>13_Siemens 2022</vt:lpstr>
      <vt:lpstr>18_Siemens 2022</vt:lpstr>
      <vt:lpstr>21_Siemens 2022</vt:lpstr>
      <vt:lpstr>23_Siemens 2022</vt:lpstr>
      <vt:lpstr>26_Siemens 2022</vt:lpstr>
      <vt:lpstr>think-cell Folie</vt:lpstr>
      <vt:lpstr>think-cell Slide</vt:lpstr>
      <vt:lpstr>Škola a stavebnictví 4.0</vt:lpstr>
      <vt:lpstr>Siemens v České republice</vt:lpstr>
      <vt:lpstr>Siemens Smart Infrastructure</vt:lpstr>
      <vt:lpstr>Siemens Smart Infrastructure I Buildings Portfolio</vt:lpstr>
      <vt:lpstr>Siemens Smart Infrastructure I Buildings </vt:lpstr>
      <vt:lpstr>Prezentace aplikace PowerPoint</vt:lpstr>
      <vt:lpstr>Aplikace v praxi</vt:lpstr>
      <vt:lpstr>Aplikace v praxi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mart Infrastructure I Buildings</vt:lpstr>
      <vt:lpstr>Smart Infrastructure I Buildings Naše vize budoucnosti</vt:lpstr>
      <vt:lpstr>Prezentace aplikace PowerPoint</vt:lpstr>
      <vt:lpstr>Prezentace aplikace PowerPoint</vt:lpstr>
      <vt:lpstr>Prezentace aplikace PowerPoint</vt:lpstr>
      <vt:lpstr>Děkuji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_Aréna Pardubice_Ver7</dc:title>
  <dc:creator>jiri.tobolik@siemens.com</dc:creator>
  <cp:keywords>Template</cp:keywords>
  <dc:description>Version 3.3.0
March 2021</dc:description>
  <cp:lastModifiedBy>Bastl, Richard (RC-CZ SI B PS)</cp:lastModifiedBy>
  <cp:revision>94</cp:revision>
  <dcterms:created xsi:type="dcterms:W3CDTF">2022-02-14T12:44:03Z</dcterms:created>
  <dcterms:modified xsi:type="dcterms:W3CDTF">2026-03-25T18:3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D4DA43FD873F42882D47B74B023E41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3-02T14:07:06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792871fd-d12d-4804-a404-230fc50bdd02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  <property fmtid="{D5CDD505-2E9C-101B-9397-08002B2CF9AE}" pid="11" name="MediaServiceImageTags">
    <vt:lpwstr/>
  </property>
</Properties>
</file>